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4691" r:id="rId4"/>
    <p:sldMasterId id="2147484849" r:id="rId5"/>
  </p:sldMasterIdLst>
  <p:notesMasterIdLst>
    <p:notesMasterId r:id="rId24"/>
  </p:notesMasterIdLst>
  <p:handoutMasterIdLst>
    <p:handoutMasterId r:id="rId25"/>
  </p:handoutMasterIdLst>
  <p:sldIdLst>
    <p:sldId id="260" r:id="rId6"/>
    <p:sldId id="2147472827" r:id="rId7"/>
    <p:sldId id="2147472830" r:id="rId8"/>
    <p:sldId id="2147472833" r:id="rId9"/>
    <p:sldId id="2147472834" r:id="rId10"/>
    <p:sldId id="2147472835" r:id="rId11"/>
    <p:sldId id="2147472854" r:id="rId12"/>
    <p:sldId id="2147472855" r:id="rId13"/>
    <p:sldId id="1448943400" r:id="rId14"/>
    <p:sldId id="2147472837" r:id="rId15"/>
    <p:sldId id="2147472846" r:id="rId16"/>
    <p:sldId id="2147472849" r:id="rId17"/>
    <p:sldId id="2147472852" r:id="rId18"/>
    <p:sldId id="2147472853" r:id="rId19"/>
    <p:sldId id="2147472851" r:id="rId20"/>
    <p:sldId id="2147472850" r:id="rId21"/>
    <p:sldId id="2147472856" r:id="rId22"/>
    <p:sldId id="312" r:id="rId23"/>
  </p:sldIdLst>
  <p:sldSz cx="12192000" cy="6858000"/>
  <p:notesSz cx="6808788" cy="9940925"/>
  <p:custShowLst>
    <p:custShow name="Back-office" id="0">
      <p:sldLst/>
    </p:custShow>
    <p:custShow name="Integrated Multichannel" id="1">
      <p:sldLst/>
    </p:custShow>
    <p:custShow name="Inside Sales" id="2">
      <p:sldLst/>
    </p:custShow>
    <p:custShow name="Capabilities" id="3">
      <p:sldLst/>
    </p:custShow>
    <p:custShow name="Colombia" id="4">
      <p:sldLst/>
    </p:custShow>
    <p:custShow name="Guatemala" id="5">
      <p:sldLst/>
    </p:custShow>
    <p:custShow name="Mexico" id="6">
      <p:sldLst/>
    </p:custShow>
    <p:custShow name="Ending sound" id="7">
      <p:sldLst/>
    </p:custShow>
  </p:custShow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4156" userDrawn="1">
          <p15:clr>
            <a:srgbClr val="A4A3A4"/>
          </p15:clr>
        </p15:guide>
        <p15:guide id="3" orient="horz" pos="119">
          <p15:clr>
            <a:srgbClr val="A4A3A4"/>
          </p15:clr>
        </p15:guide>
        <p15:guide id="4" pos="279" userDrawn="1">
          <p15:clr>
            <a:srgbClr val="A4A3A4"/>
          </p15:clr>
        </p15:guide>
        <p15:guide id="6" pos="7537" userDrawn="1">
          <p15:clr>
            <a:srgbClr val="A4A3A4"/>
          </p15:clr>
        </p15:guide>
        <p15:guide id="7" orient="horz" pos="4201" userDrawn="1">
          <p15:clr>
            <a:srgbClr val="9AA0A6"/>
          </p15:clr>
        </p15:guide>
      </p15:sldGuideLst>
    </p:ext>
    <p:ext uri="{2D200454-40CA-4A62-9FC3-DE9A4176ACB9}">
      <p15:notes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34" roundtripDataSignature="AMtx7miOsrZLdwVSCN7STDlqKteQAGPXW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533202-9338-8AD2-839D-A04BBAC146ED}" name="Pablo Sánchez Pérez" initials="PS" userId="S::t02908189@es.atento.com::aa39a07c-0705-4115-8b0e-9cfe870cf268" providerId="AD"/>
  <p188:author id="{1B6C844F-E7EE-38D2-17DA-D78BEBBF878B}" name="Geraldine Totesaut" initials="GT" userId="S::Geraldine.Totesaut@atentousa.com::64cf5fb0-1db5-4e85-a0e0-d623975b804e" providerId="AD"/>
  <p188:author id="{CDCC2B55-DA14-6DBB-67DE-69242253E00E}" name="Eduardo José Aguirre Corbatón" initials="" userId="S::d05396200@es.atento.com::61e1a887-81bc-41b5-a9e0-d66ae2700f09" providerId="AD"/>
  <p188:author id="{1893585D-264C-9BEB-5C46-8CBA19F26ABA}" name="Pablo Sánchez Pérez" initials="PS" userId="S::pablo.sanchez@atento.com::aa39a07c-0705-4115-8b0e-9cfe870cf268" providerId="AD"/>
  <p188:author id="{7392AC7D-88B5-7FC1-FDC2-CE43EC953765}" name="Laura Perez Perez" initials="LP" userId="S::x00782054@es.atento.com::4a0a8c7c-84c6-4a80-8fec-3e8d5a4d9354" providerId="AD"/>
  <p188:author id="{3A4F9684-0F46-B8E0-7F19-9E0E907B05FA}" name="Laura Perez Perez" initials="LP" userId="S::lperez@atento.com::4a0a8c7c-84c6-4a80-8fec-3e8d5a4d9354" providerId="AD"/>
  <p188:author id="{C6F9B5C6-3E9A-9DF5-EB05-9E142EB925AA}" name="Bartolomeu Eduardo Albuquerque De Souza" initials="BE" userId="S::AB1397051@br.atento.com::55b64ed4-b6bb-4862-8350-cce014a62991" providerId="AD"/>
  <p188:author id="{873DACDF-3F45-7D3E-6436-F8D50314BA97}" name="Leonardo Medeiros de Araujo" initials="LM" userId="695728634d53c21e" providerId="Windows Live"/>
  <p188:author id="{199F79F0-5FC3-CD64-4F93-03E852394E2C}" name="Laura Perez Perez" initials="LP" userId="S::X00782054@es.atento.com::4a0a8c7c-84c6-4a80-8fec-3e8d5a4d935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Geraldine Totesaut" initials="" lastIdx="1" clrIdx="0"/>
  <p:cmAuthor id="7" name="Robert Head" initials="RH" lastIdx="1" clrIdx="7">
    <p:extLst>
      <p:ext uri="{19B8F6BF-5375-455C-9EA6-DF929625EA0E}">
        <p15:presenceInfo xmlns:p15="http://schemas.microsoft.com/office/powerpoint/2012/main" userId="S::robert.head@atentousa.com::73a9fa32-9940-4ffb-b780-4a9495fe9b56" providerId="AD"/>
      </p:ext>
    </p:extLst>
  </p:cmAuthor>
  <p:cmAuthor id="1" name="Geraldine Totesaut" initials="GT" lastIdx="65" clrIdx="1"/>
  <p:cmAuthor id="8" name="Pablo Sánchez Pérez" initials="PSP" lastIdx="21" clrIdx="8">
    <p:extLst>
      <p:ext uri="{19B8F6BF-5375-455C-9EA6-DF929625EA0E}">
        <p15:presenceInfo xmlns:p15="http://schemas.microsoft.com/office/powerpoint/2012/main" userId="Pablo Sánchez Pérez" providerId="None"/>
      </p:ext>
    </p:extLst>
  </p:cmAuthor>
  <p:cmAuthor id="2" name="Laura Perez Perez" initials="LPP" lastIdx="5" clrIdx="2"/>
  <p:cmAuthor id="9" name="Patricia Andrade" initials="PA" lastIdx="3" clrIdx="9">
    <p:extLst>
      <p:ext uri="{19B8F6BF-5375-455C-9EA6-DF929625EA0E}">
        <p15:presenceInfo xmlns:p15="http://schemas.microsoft.com/office/powerpoint/2012/main" userId="S::padasilva@br.atento.com::97e2ca83-ffa9-4219-950f-afc73f0578ce" providerId="AD"/>
      </p:ext>
    </p:extLst>
  </p:cmAuthor>
  <p:cmAuthor id="3" name="Betsaida Sedano Muñoz" initials="BM" lastIdx="6" clrIdx="3">
    <p:extLst>
      <p:ext uri="{19B8F6BF-5375-455C-9EA6-DF929625EA0E}">
        <p15:presenceInfo xmlns:p15="http://schemas.microsoft.com/office/powerpoint/2012/main" userId="S::y74674796@es.atento.com::ae3cd7f8-1479-4cda-b1ca-7f3542523223" providerId="AD"/>
      </p:ext>
    </p:extLst>
  </p:cmAuthor>
  <p:cmAuthor id="4" name="Tatiana Oliveira Barbosa" initials="TOB" lastIdx="13" clrIdx="4">
    <p:extLst>
      <p:ext uri="{19B8F6BF-5375-455C-9EA6-DF929625EA0E}">
        <p15:presenceInfo xmlns:p15="http://schemas.microsoft.com/office/powerpoint/2012/main" userId="S::AB1234774@br.atento.com::816e1778-107a-4f52-bdc1-6b47a41c0d62" providerId="AD"/>
      </p:ext>
    </p:extLst>
  </p:cmAuthor>
  <p:cmAuthor id="5" name="Jill Erika Charry Bonet" initials="JB" lastIdx="2" clrIdx="5">
    <p:extLst>
      <p:ext uri="{19B8F6BF-5375-455C-9EA6-DF929625EA0E}">
        <p15:presenceInfo xmlns:p15="http://schemas.microsoft.com/office/powerpoint/2012/main" userId="S::jill.charry@co.atento.com::2be5cf52-3665-4515-9f95-b61673c93221" providerId="AD"/>
      </p:ext>
    </p:extLst>
  </p:cmAuthor>
  <p:cmAuthor id="6" name="Marketing Mexico" initials="MM" lastIdx="7" clrIdx="6">
    <p:extLst>
      <p:ext uri="{19B8F6BF-5375-455C-9EA6-DF929625EA0E}">
        <p15:presenceInfo xmlns:p15="http://schemas.microsoft.com/office/powerpoint/2012/main" userId="S::marketingmexico@mx.atento.com::6a762e1a-53ce-40ba-af47-818a2e7b48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2A9"/>
    <a:srgbClr val="68D1CC"/>
    <a:srgbClr val="C7EEEC"/>
    <a:srgbClr val="01426A"/>
    <a:srgbClr val="00558C"/>
    <a:srgbClr val="636363"/>
    <a:srgbClr val="00B0F0"/>
    <a:srgbClr val="4619FF"/>
    <a:srgbClr val="FF7900"/>
    <a:srgbClr val="B7BF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60"/>
  </p:normalViewPr>
  <p:slideViewPr>
    <p:cSldViewPr snapToGrid="0">
      <p:cViewPr varScale="1">
        <p:scale>
          <a:sx n="68" d="100"/>
          <a:sy n="68" d="100"/>
        </p:scale>
        <p:origin x="816" y="60"/>
      </p:cViewPr>
      <p:guideLst>
        <p:guide orient="horz" pos="4156"/>
        <p:guide orient="horz" pos="119"/>
        <p:guide pos="279"/>
        <p:guide pos="7537"/>
        <p:guide orient="horz" pos="4201"/>
      </p:guideLst>
    </p:cSldViewPr>
  </p:slideViewPr>
  <p:notesTextViewPr>
    <p:cViewPr>
      <p:scale>
        <a:sx n="125" d="100"/>
        <a:sy n="125" d="100"/>
      </p:scale>
      <p:origin x="0" y="0"/>
    </p:cViewPr>
  </p:notesTextViewPr>
  <p:sorterViewPr>
    <p:cViewPr varScale="1">
      <p:scale>
        <a:sx n="1" d="1"/>
        <a:sy n="1" d="1"/>
      </p:scale>
      <p:origin x="0" y="-279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37"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0"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33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33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33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34" Type="http://customschemas.google.com/relationships/presentationmetadata" Target="NUL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338"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A47C67-AADC-42C4-9447-2336CD9CE2CA}"/>
              </a:ext>
            </a:extLst>
          </p:cNvPr>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DB951E4-4C9C-4D93-B68F-445B968DED27}"/>
              </a:ext>
            </a:extLst>
          </p:cNvPr>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11740D29-3309-4338-B3C2-65BFF8F011A3}" type="datetimeFigureOut">
              <a:rPr lang="en-US" smtClean="0"/>
              <a:t>8/7/2024</a:t>
            </a:fld>
            <a:endParaRPr lang="en-US"/>
          </a:p>
        </p:txBody>
      </p:sp>
      <p:sp>
        <p:nvSpPr>
          <p:cNvPr id="4" name="Footer Placeholder 3">
            <a:extLst>
              <a:ext uri="{FF2B5EF4-FFF2-40B4-BE49-F238E27FC236}">
                <a16:creationId xmlns:a16="http://schemas.microsoft.com/office/drawing/2014/main" id="{6D199DFE-C4F8-447A-B1EC-5C41F3D10342}"/>
              </a:ext>
            </a:extLst>
          </p:cNvPr>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87E1ACD-8816-4D75-A69D-E4FE7B83D5EE}"/>
              </a:ext>
            </a:extLst>
          </p:cNvPr>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79247169-79CE-4D87-AF1F-B97E6683F56D}" type="slidenum">
              <a:rPr lang="en-US" smtClean="0"/>
              <a:t>‹nº›</a:t>
            </a:fld>
            <a:endParaRPr lang="en-US"/>
          </a:p>
        </p:txBody>
      </p:sp>
    </p:spTree>
    <p:extLst>
      <p:ext uri="{BB962C8B-B14F-4D97-AF65-F5344CB8AC3E}">
        <p14:creationId xmlns:p14="http://schemas.microsoft.com/office/powerpoint/2010/main" val="40149458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50475" cy="49877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6737" y="0"/>
            <a:ext cx="2950475" cy="498773"/>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23863" y="1243013"/>
            <a:ext cx="5961062"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0879" y="4784070"/>
            <a:ext cx="5447030" cy="3914239"/>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42154"/>
            <a:ext cx="2950475" cy="498772"/>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6737" y="9442154"/>
            <a:ext cx="2950475" cy="498772"/>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87860657"/>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
              <a:t>INGLÊS:</a:t>
            </a:r>
          </a:p>
          <a:p>
            <a:pPr lvl="1"/>
            <a:r>
              <a:rPr lang="pt"/>
              <a:t>A Atento é líder em transformação de CX atendendo a mais de 400 empresas blue-chip em todo o mundo, com mais de 1,3 bilhão de dólares de receita.</a:t>
            </a:r>
          </a:p>
          <a:p>
            <a:pPr lvl="1"/>
            <a:r>
              <a:rPr lang="pt"/>
              <a:t>Temos uma rede global de 95 centros de prestação de serviços, escaláveis por meio de nossos recursos Work From Home, em 17 países em 24 idiomas diferentes. </a:t>
            </a:r>
          </a:p>
          <a:p>
            <a:pPr lvl="1"/>
            <a:r>
              <a:rPr lang="pt"/>
              <a:t>Graças aos nossos clientes e funcionários, a Atento tem sido consistentemente classificada como um dos melhores empregadores em diferentes geografias e como a melhor empresa de BPO em classificações ESG. </a:t>
            </a:r>
          </a:p>
          <a:p>
            <a:pPr lvl="1"/>
            <a:r>
              <a:rPr lang="pt"/>
              <a:t>A Sustainalytics, por exemplo, coloca a Atento como a melhor empresa do nosso setor, não só em políticas sociais, mas também em programas de Governança e Meio Ambiente, cuidando de nossas pessoas, do Meio Ambiente e da sociedade.</a:t>
            </a:r>
          </a:p>
          <a:p>
            <a:endParaRPr lang="en-US"/>
          </a:p>
          <a:p>
            <a:r>
              <a:rPr lang="pt"/>
              <a:t>PORTUGUÊS:</a:t>
            </a:r>
          </a:p>
          <a:p>
            <a:pPr lvl="1"/>
            <a:r>
              <a:rPr lang="pt"/>
              <a:t>A Atento é líder em transformação CX, atendendo a mais de 400 empresas de primeira linha em todo o mundo, com receitas de mais de 1,3 bilhão de dólares.</a:t>
            </a:r>
          </a:p>
          <a:p>
            <a:pPr lvl="1"/>
            <a:r>
              <a:rPr lang="pt"/>
              <a:t>Temos uma rede global de 95 centros de prestação de serviços, escaláveis através das nossas capacidades Work From Home, em 17 países e em 24 idiomas diferentes.</a:t>
            </a:r>
          </a:p>
          <a:p>
            <a:pPr lvl="1"/>
            <a:r>
              <a:rPr lang="pt"/>
              <a:t>Graças aos nossos clientes e funcionários, a Atento tem sido consistentemente classificada como um dos principais empregadores em diferentes geografias e como a melhor empresa de BPO em classificações ESG.</a:t>
            </a:r>
          </a:p>
          <a:p>
            <a:pPr lvl="1"/>
            <a:r>
              <a:rPr lang="pt"/>
              <a:t>A Sustainalytics, por exemplo, classifica a Atento como a melhor empresa do nosso setor, não só em políticas sociais, mas também em programas de governança e meio ambiente, cuidando de nossas pessoas, do meio ambiente e da sociedade.</a:t>
            </a:r>
          </a:p>
          <a:p>
            <a:endParaRPr lang="en-US"/>
          </a:p>
          <a:p>
            <a:r>
              <a:rPr lang="pt"/>
              <a:t>ESPANHOL:</a:t>
            </a:r>
          </a:p>
          <a:p>
            <a:pPr lvl="1"/>
            <a:r>
              <a:rPr lang="pt"/>
              <a:t>Atento es uno de los principales líderes en transformación de CX que presta servicios a más de 400 empresas de primer nivel en todo el mundo, con más de 1.300 millones de dólares de ingresos.
Contamos con una red global de 95 centros de prestación de servicios, escalables a través de nuestras capacidades de trabajo desde casa, en 17 países en 24 idiomas diferentes. 
Graças a nossos clientes e empleados, Atento tem sido clasificada constantemente como el mejor empleador en diferentes geografias y como la mejor empresa de BPO en calificaciones ESG. 
Sustainalytics, como ejemplo, sitúa a Atento como la mejor empresa de nuestro sector, no solo en políticas sociales, sino también en programas de gobernanza y medio ambiente, cuidando de nuestra gente, así como del medio ambiente y la sociedad.</a:t>
            </a:r>
          </a:p>
          <a:p>
            <a:r>
              <a:rPr lang="en-US"/>
              <a:t> </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1EDEAF64-84A3-48E7-8EE2-7086AB073C7F}" type="slidenum">
              <a:rPr kumimoji="0" lang="es-E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s-E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4318107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2</a:t>
            </a:fld>
            <a:endParaRPr lang="pt-BR"/>
          </a:p>
        </p:txBody>
      </p:sp>
    </p:spTree>
    <p:extLst>
      <p:ext uri="{BB962C8B-B14F-4D97-AF65-F5344CB8AC3E}">
        <p14:creationId xmlns:p14="http://schemas.microsoft.com/office/powerpoint/2010/main" val="1766049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3</a:t>
            </a:fld>
            <a:endParaRPr lang="pt-BR"/>
          </a:p>
        </p:txBody>
      </p:sp>
    </p:spTree>
    <p:extLst>
      <p:ext uri="{BB962C8B-B14F-4D97-AF65-F5344CB8AC3E}">
        <p14:creationId xmlns:p14="http://schemas.microsoft.com/office/powerpoint/2010/main" val="38638069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4</a:t>
            </a:fld>
            <a:endParaRPr lang="pt-BR"/>
          </a:p>
        </p:txBody>
      </p:sp>
    </p:spTree>
    <p:extLst>
      <p:ext uri="{BB962C8B-B14F-4D97-AF65-F5344CB8AC3E}">
        <p14:creationId xmlns:p14="http://schemas.microsoft.com/office/powerpoint/2010/main" val="4103626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5</a:t>
            </a:fld>
            <a:endParaRPr lang="pt-BR"/>
          </a:p>
        </p:txBody>
      </p:sp>
    </p:spTree>
    <p:extLst>
      <p:ext uri="{BB962C8B-B14F-4D97-AF65-F5344CB8AC3E}">
        <p14:creationId xmlns:p14="http://schemas.microsoft.com/office/powerpoint/2010/main" val="2280030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6</a:t>
            </a:fld>
            <a:endParaRPr lang="pt-BR"/>
          </a:p>
        </p:txBody>
      </p:sp>
    </p:spTree>
    <p:extLst>
      <p:ext uri="{BB962C8B-B14F-4D97-AF65-F5344CB8AC3E}">
        <p14:creationId xmlns:p14="http://schemas.microsoft.com/office/powerpoint/2010/main" val="22939531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7</a:t>
            </a:fld>
            <a:endParaRPr lang="pt-BR"/>
          </a:p>
        </p:txBody>
      </p:sp>
    </p:spTree>
    <p:extLst>
      <p:ext uri="{BB962C8B-B14F-4D97-AF65-F5344CB8AC3E}">
        <p14:creationId xmlns:p14="http://schemas.microsoft.com/office/powerpoint/2010/main" val="819013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pt" noProof="0"/>
              <a:t>INGLÊS:</a:t>
            </a:r>
          </a:p>
          <a:p>
            <a:pPr lvl="1"/>
            <a:r>
              <a:rPr lang="pt" noProof="0"/>
              <a:t>A forma como fazemos as coisas é tão importante quanto o que fazemos: Pela fusão cultural com a marca do nosso cliente e pelo respeito aos nossos 6 valores fundamentais em todos os níveis:</a:t>
            </a:r>
          </a:p>
          <a:p>
            <a:pPr lvl="1"/>
            <a:endParaRPr lang="en-US" noProof="0"/>
          </a:p>
          <a:p>
            <a:pPr lvl="1"/>
            <a:r>
              <a:rPr lang="pt" noProof="0"/>
              <a:t>- Ver o mundo com os olhos do nosso cliente, incluindo valores, marca, tom, etc.</a:t>
            </a:r>
          </a:p>
          <a:p>
            <a:pPr lvl="1"/>
            <a:r>
              <a:rPr lang="pt" noProof="0"/>
              <a:t>- Cuidar do nosso pessoal para que ele cuide dos seus clientes</a:t>
            </a:r>
          </a:p>
          <a:p>
            <a:pPr lvl="1"/>
            <a:r>
              <a:rPr lang="pt" noProof="0"/>
              <a:t>- Aprender e transformar as operações todos os dias</a:t>
            </a:r>
          </a:p>
          <a:p>
            <a:pPr lvl="1"/>
            <a:r>
              <a:rPr lang="pt" noProof="0"/>
              <a:t>- Ter a mente aberta e inovar</a:t>
            </a:r>
          </a:p>
          <a:p>
            <a:pPr lvl="1"/>
            <a:r>
              <a:rPr lang="pt" noProof="0"/>
              <a:t>- Criação de ambientes de colaboração para encontrar as melhores práticas em todo o mundo</a:t>
            </a:r>
          </a:p>
          <a:p>
            <a:pPr lvl="1"/>
            <a:r>
              <a:rPr lang="pt" noProof="0"/>
              <a:t>- Comprometimento com os resultados do negócio para sua empresa</a:t>
            </a:r>
          </a:p>
          <a:p>
            <a:pPr lvl="1"/>
            <a:endParaRPr lang="en-US" noProof="0"/>
          </a:p>
          <a:p>
            <a:pPr lvl="1"/>
            <a:r>
              <a:rPr lang="pt" noProof="0"/>
              <a:t>Como curiosidade, nosso logotipo One Atento reflete como estamos transformando as empresas com as quais trabalhamos, impulsionando a tecnologia com um toque humano para agregar valor a cada interação. (linguagem digital 0/1 embutida no logotipo)</a:t>
            </a:r>
          </a:p>
          <a:p>
            <a:pPr lvl="1"/>
            <a:endParaRPr lang="en-US" i="1" noProof="0"/>
          </a:p>
          <a:p>
            <a:r>
              <a:rPr lang="pt" i="1" noProof="0"/>
              <a:t>PORTUGUÊS:</a:t>
            </a:r>
          </a:p>
          <a:p>
            <a:pPr lvl="1"/>
            <a:r>
              <a:rPr lang="pt" i="0" noProof="0"/>
              <a:t>A forma como fazemos as coisas é tão importante quanto o que fazemos: Pela fusão cultural com a marca do nosso cliente e pelo respeito aos nossos 6 valores fundamentais em todos os níveis:</a:t>
            </a:r>
          </a:p>
          <a:p>
            <a:pPr lvl="1"/>
            <a:endParaRPr lang="pt-BR" i="0" noProof="0"/>
          </a:p>
          <a:p>
            <a:pPr lvl="1"/>
            <a:r>
              <a:rPr lang="pt" i="0" noProof="0"/>
              <a:t>- Ver o mundo com os olhos do cliente, incluindo valores, marca, tom, etc.</a:t>
            </a:r>
          </a:p>
          <a:p>
            <a:pPr lvl="1"/>
            <a:r>
              <a:rPr lang="pt" i="0" noProof="0"/>
              <a:t>- Cuidar de nosso pessoal para que eles cuidem de seus clientes</a:t>
            </a:r>
          </a:p>
          <a:p>
            <a:pPr lvl="1"/>
            <a:r>
              <a:rPr lang="pt" i="0" noProof="0"/>
              <a:t>- Aprendendo e transformando as operações todos os dias</a:t>
            </a:r>
          </a:p>
          <a:p>
            <a:pPr lvl="1"/>
            <a:r>
              <a:rPr lang="pt" i="0" noProof="0"/>
              <a:t>- Ter a mente aberta e inovadora</a:t>
            </a:r>
          </a:p>
          <a:p>
            <a:pPr lvl="1"/>
            <a:r>
              <a:rPr lang="pt" i="0" noProof="0"/>
              <a:t>- Criação de ambientes de colaboração para encontrar as melhores práticas em todo o mundo</a:t>
            </a:r>
          </a:p>
          <a:p>
            <a:pPr lvl="1"/>
            <a:r>
              <a:rPr lang="pt" i="0" noProof="0"/>
              <a:t>- Comprometer-se com os resultados de negócios da sua empresa</a:t>
            </a:r>
          </a:p>
          <a:p>
            <a:pPr lvl="1"/>
            <a:endParaRPr lang="pt-BR" i="0" noProof="0"/>
          </a:p>
          <a:p>
            <a:pPr lvl="1"/>
            <a:r>
              <a:rPr lang="pt" i="0" noProof="0"/>
              <a:t>A título de curiosidade, nosso logotipo One Atento reflete como estamos transformando as empresas com as quais trabalhamos, impulsionando a tecnologia com um toque humano para agregar valor a cada interação. (linguagem digital 0/1 incorporada no logotipo)</a:t>
            </a:r>
          </a:p>
          <a:p>
            <a:pPr lvl="1"/>
            <a:endParaRPr lang="en-US" i="0" noProof="0"/>
          </a:p>
          <a:p>
            <a:r>
              <a:rPr lang="pt" i="1" noProof="0"/>
              <a:t>ESPANHOL:</a:t>
            </a:r>
          </a:p>
          <a:p>
            <a:pPr lvl="1"/>
            <a:r>
              <a:rPr lang="pt" i="1" noProof="0"/>
              <a:t>La forma en que hacemos las cosas es tan importante como lo que hacemos: Por la fusión cultural con la marca de nuestros clientes y por el respeto de nuestros 6 valores fundamentales a todos los niveles:</a:t>
            </a:r>
          </a:p>
          <a:p>
            <a:pPr lvl="1"/>
            <a:r>
              <a:rPr lang="pt" i="1" noProof="0"/>
              <a:t>- Ver el mundo con los ojos de nuestro cliente, incluyendo valores, marca, tono, etc.
- Cuidar a nossa gente para que ellos cuiden de sus clientes
- Aprender e transformar as operações todos os dias
- Tener una mente abierta e innovadora
- Crear entornos de colaboración para encontrar las mejores prácticas en todo el mundo
- Comprometerse con los resultados de negocio para su empresa</a:t>
            </a:r>
            <a:endParaRPr lang="en-US" i="1" noProof="0"/>
          </a:p>
          <a:p>
            <a:pPr lvl="1"/>
            <a:r>
              <a:rPr lang="pt" i="1" noProof="0"/>
              <a:t>Como curiosidad, nosso logotipo de One Atento refleja cómo estamos transformando las empresas con las que trabajamos, impulsando la tecnología con toque humano para aportar valor en cada interacción. (lenguaje digital 0/1 incrustado en el logotipo)</a:t>
            </a:r>
          </a:p>
          <a:p>
            <a:endParaRPr lang="es-ES"/>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13598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pt"/>
              <a:t>INGLÊS:</a:t>
            </a:r>
          </a:p>
          <a:p>
            <a:pPr lvl="1"/>
            <a:r>
              <a:rPr lang="pt" sz="1200" kern="100" noProof="0">
                <a:effectLst/>
                <a:latin typeface="Calibri" panose="020F0502020204030204" pitchFamily="34" charset="0"/>
                <a:ea typeface="Times New Roman" panose="02020603050405020304" pitchFamily="18" charset="0"/>
                <a:cs typeface="Times New Roman" panose="02020603050405020304" pitchFamily="18" charset="0"/>
              </a:rPr>
              <a:t>Nossa conformidade e certificações são cruciais para garantir aos clientes, parceiros e órgãos reguladores que operamos dentro dos padrões estabelecidos de qualidade, segurança ou ética. </a:t>
            </a:r>
          </a:p>
          <a:p>
            <a:pPr lvl="1"/>
            <a:r>
              <a:rPr lang="pt" sz="1200" kern="100" noProof="0">
                <a:effectLst/>
                <a:latin typeface="Calibri" panose="020F0502020204030204" pitchFamily="34" charset="0"/>
                <a:ea typeface="Times New Roman" panose="02020603050405020304" pitchFamily="18" charset="0"/>
                <a:cs typeface="Times New Roman" panose="02020603050405020304" pitchFamily="18" charset="0"/>
              </a:rPr>
              <a:t>Eles ajudam a mitigar riscos associados a responsabilidades legais, violações de dados e danos à reputação, fomentando uma cultura de responsabilidade e confiança dentro da organização e de nossos clientes.</a:t>
            </a:r>
          </a:p>
          <a:p>
            <a:pPr lvl="1"/>
            <a:endParaRPr lang="en-US"/>
          </a:p>
          <a:p>
            <a:pPr lvl="0"/>
            <a:r>
              <a:rPr lang="pt"/>
              <a:t>PORTUGUÊS:</a:t>
            </a:r>
          </a:p>
          <a:p>
            <a:pPr lvl="1"/>
            <a:r>
              <a:rPr lang="pt"/>
              <a:t>Nossa conformidade e certificações são cruciais para garantir aos clientes, parceiros e órgãos reguladores que operamos dentro dos padrões estabelecidos de qualidade, segurança ou ética.</a:t>
            </a:r>
            <a:endParaRPr lang="en-US"/>
          </a:p>
          <a:p>
            <a:pPr lvl="1"/>
            <a:r>
              <a:rPr lang="pt"/>
              <a:t>Ajudam a mitigar riscos associados a responsabilidades legais, violações de dados e danos à reputação, promovendo uma cultura de responsabilidade e confiança dentro da organização e dos nossos clientes.</a:t>
            </a:r>
          </a:p>
          <a:p>
            <a:pPr lvl="1"/>
            <a:endParaRPr lang="en-US"/>
          </a:p>
          <a:p>
            <a:pPr lvl="0"/>
            <a:r>
              <a:rPr lang="pt"/>
              <a:t>ESPANHOL:</a:t>
            </a:r>
          </a:p>
          <a:p>
            <a:pPr lvl="1"/>
            <a:r>
              <a:rPr lang="pt"/>
              <a:t>Nuestro cumplimiento y certificaciones son cruciales para garantizar a los clientes, socios y organismos reguladores que operamos dentro de los estándares éticos, de calidad o de seguridad establecidos.</a:t>
            </a:r>
          </a:p>
          <a:p>
            <a:pPr lvl="1"/>
            <a:r>
              <a:rPr lang="pt"/>
              <a:t>Ayudan a mitigar los riesgos asociados con responsabilidades legales, violaciones de datos y daños a la reputación, fomentando una cultura de responsabilidad y confianza dentro de la organización y nuestros clientes.</a:t>
            </a:r>
            <a:endParaRPr lang="en-US" sz="1800" kern="100" noProof="0">
              <a:effectLst/>
              <a:latin typeface="Calibri" panose="020F0502020204030204" pitchFamily="34" charset="0"/>
              <a:ea typeface="Times New Roman" panose="02020603050405020304" pitchFamily="18" charset="0"/>
              <a:cs typeface="Times New Roman" panose="02020603050405020304" pitchFamily="18" charset="0"/>
            </a:endParaRPr>
          </a:p>
          <a:p>
            <a:endParaRPr lang="es-ES"/>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77492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pt" dirty="0"/>
              <a:t>INGLÊS:</a:t>
            </a:r>
          </a:p>
          <a:p>
            <a:pPr lvl="1"/>
            <a:r>
              <a:rPr lang="pt" noProof="0" dirty="0"/>
              <a:t>["Telco, Financeiro, Saúde e Automotivo têm um link para detalhar a oferta vertical. Outras verticais são WiP.</a:t>
            </a:r>
          </a:p>
          <a:p>
            <a:pPr lvl="1"/>
            <a:r>
              <a:rPr lang="pt" noProof="0" dirty="0"/>
              <a:t>Os slides específicos do setor podem ser trazidos aqui do backup, se necessário, ou apenas navegar clicando no ícone do setor"]</a:t>
            </a:r>
          </a:p>
          <a:p>
            <a:pPr lvl="1"/>
            <a:endParaRPr lang="en-US" noProof="0" dirty="0"/>
          </a:p>
          <a:p>
            <a:pPr lvl="1"/>
            <a:r>
              <a:rPr lang="pt" noProof="0" dirty="0"/>
              <a:t>Com base em nossa experiência, adaptamos nossa oferta por indústria para agregar valor em cada ponto de contato específico dos clientes/usuários finais.</a:t>
            </a:r>
          </a:p>
          <a:p>
            <a:pPr lvl="1"/>
            <a:r>
              <a:rPr lang="pt" noProof="0" dirty="0"/>
              <a:t>Nós temos experiência nas principais indústrias e geografias .... Com os melhores designs de jornada específicos da categoria, resolvemos seus pontos problemáticos mais comuns e elevamos seu CX para o próximo nível.</a:t>
            </a:r>
          </a:p>
          <a:p>
            <a:pPr lvl="1"/>
            <a:endParaRPr lang="en-US" dirty="0"/>
          </a:p>
          <a:p>
            <a:pPr lvl="0"/>
            <a:r>
              <a:rPr lang="pt" dirty="0"/>
              <a:t>PORTUGUÊS:</a:t>
            </a:r>
          </a:p>
          <a:p>
            <a:pPr lvl="1"/>
            <a:r>
              <a:rPr lang="pt" dirty="0"/>
              <a:t>["Telco, Financial, Healthcare e Automotive têm um link para detalhar a oferta vertical. Outras verticais são WiP.</a:t>
            </a:r>
          </a:p>
          <a:p>
            <a:pPr lvl="1"/>
            <a:r>
              <a:rPr lang="pt" dirty="0"/>
              <a:t>Os slides específicos do setor podem ser trazidos aqui a partir do backup, se necessário, ou simplesmente navegar clicando no ícone do setor"]</a:t>
            </a:r>
          </a:p>
          <a:p>
            <a:pPr lvl="1"/>
            <a:endParaRPr lang="pt-BR" dirty="0"/>
          </a:p>
          <a:p>
            <a:pPr lvl="1"/>
            <a:r>
              <a:rPr lang="pt" dirty="0"/>
              <a:t>Com base na nossa experiência, adaptamos a nossa oferta por setor para agregar valor em cada ponto de contato específico dos clientes/usuários finais.</a:t>
            </a:r>
          </a:p>
          <a:p>
            <a:pPr lvl="1"/>
            <a:r>
              <a:rPr lang="pt" dirty="0"/>
              <a:t>Temos experiência nas principais indústrias e geografias.... Com os melhores designs de jornada específicos da categoria, resolvemos seus problemas mais comuns imediatamente e elevamos seu CX para o próximo nível.</a:t>
            </a:r>
          </a:p>
          <a:p>
            <a:pPr lvl="1"/>
            <a:endParaRPr lang="en-US" dirty="0"/>
          </a:p>
          <a:p>
            <a:pPr lvl="0"/>
            <a:r>
              <a:rPr lang="pt" dirty="0"/>
              <a:t>ESPANHOL:</a:t>
            </a:r>
          </a:p>
          <a:p>
            <a:pPr lvl="1"/>
            <a:r>
              <a:rPr lang="pt" dirty="0"/>
              <a:t>["Telco, Finanzas, Salud y Automoción tienen un enlace para detallar la oferta vertical. Otras verticales filho WiP.</a:t>
            </a:r>
          </a:p>
          <a:p>
            <a:pPr lvl="1"/>
            <a:r>
              <a:rPr lang="pt" dirty="0"/>
              <a:t>Las diapositivas específicas de la industria se pueden traer aquí desde la copia de seguridad si es necesario, o simplemente navegar haciendo clic en el ícono de la industria"]</a:t>
            </a:r>
          </a:p>
          <a:p>
            <a:pPr lvl="1"/>
            <a:endParaRPr lang="es-ES" dirty="0"/>
          </a:p>
          <a:p>
            <a:pPr lvl="1"/>
            <a:r>
              <a:rPr lang="pt" dirty="0"/>
              <a:t>Basándonos en nuestra experiencia, adaptamos nuestra oferta por industria para agregar valor en cada punto de contacto específico de los clientes/usuarios finales.</a:t>
            </a:r>
          </a:p>
          <a:p>
            <a:pPr lvl="1"/>
            <a:r>
              <a:rPr lang="pt" dirty="0"/>
              <a:t>Tenemos experiencia en las industrias y geografías clave.... Con los mejores diseños de viaje específicos de su clase, solucionamos sus problemas más comunes y elevamos su CX al siguiente nivel.</a:t>
            </a:r>
            <a:endParaRPr lang="en-US" noProof="0"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67619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pt" noProof="0"/>
              <a:t>INGLÊS:</a:t>
            </a:r>
          </a:p>
          <a:p>
            <a:pPr lvl="1"/>
            <a:r>
              <a:rPr lang="pt" noProof="0"/>
              <a:t>Na Atento, priorizamos o impacto positivo que temos nas comunidades em que trabalhamos, cuidando de:</a:t>
            </a:r>
          </a:p>
          <a:p>
            <a:pPr lvl="1"/>
            <a:r>
              <a:rPr lang="pt" noProof="0"/>
              <a:t>1) Meio Ambiente:</a:t>
            </a:r>
          </a:p>
          <a:p>
            <a:pPr lvl="1"/>
            <a:r>
              <a:rPr lang="pt" noProof="0"/>
              <a:t>Nossos planos de redução da pegada de carbono iniciados em 2020 estão entregando ótimos resultados, proporcionando uma redução de +30% das emissões de GEE em menos de 2 anos.</a:t>
            </a:r>
          </a:p>
          <a:p>
            <a:pPr lvl="1"/>
            <a:r>
              <a:rPr lang="pt" noProof="0"/>
              <a:t>Além disso, o uso de energia de renovação é uma prioridade para nós, tendo um mix de mais de 60% de energia de renovação.</a:t>
            </a:r>
          </a:p>
          <a:p>
            <a:pPr lvl="1"/>
            <a:r>
              <a:rPr lang="pt" noProof="0"/>
              <a:t>2) Nossa Gente:</a:t>
            </a:r>
          </a:p>
          <a:p>
            <a:pPr lvl="1"/>
            <a:r>
              <a:rPr lang="pt" noProof="0"/>
              <a:t>Diversidade e Inclusão são os principais pilares da sociedade. Temos orgulho de ter +50% dos funcionários com menos de 30 anos, e também mais de 65% da força de trabalho são mulheres.</a:t>
            </a:r>
          </a:p>
          <a:p>
            <a:pPr lvl="1"/>
            <a:r>
              <a:rPr lang="pt" noProof="0"/>
              <a:t>3) Nossos Clientes</a:t>
            </a:r>
          </a:p>
          <a:p>
            <a:pPr lvl="1"/>
            <a:r>
              <a:rPr lang="pt" noProof="0"/>
              <a:t>Alcançando números recordes de NPS e Csat de clientes a cada ano</a:t>
            </a:r>
          </a:p>
          <a:p>
            <a:pPr lvl="1"/>
            <a:r>
              <a:rPr lang="pt" noProof="0"/>
              <a:t>Todas essas ações, e muitas outras, são valorizadas, mensuradas e analisadas por analistas externos independentes, como a Sustainalytics, que classificou a Atento com a melhor classificação de índice (menor risco) de todos os setores.</a:t>
            </a:r>
          </a:p>
          <a:p>
            <a:pPr lvl="1"/>
            <a:endParaRPr lang="en-US" noProof="0"/>
          </a:p>
          <a:p>
            <a:r>
              <a:rPr lang="pt" noProof="0"/>
              <a:t>PORTUGUÊS:</a:t>
            </a:r>
          </a:p>
          <a:p>
            <a:pPr lvl="1"/>
            <a:r>
              <a:rPr lang="pt" noProof="0"/>
              <a:t>Na Atento priorizamos o impacto positivo que temos nas comunidades onde trabalhamos, cuidando de:</a:t>
            </a:r>
          </a:p>
          <a:p>
            <a:pPr lvl="1">
              <a:buAutoNum type="arabicParenR"/>
            </a:pPr>
            <a:r>
              <a:rPr lang="pt" noProof="0"/>
              <a:t>O Meio Ambiente:</a:t>
            </a:r>
          </a:p>
          <a:p>
            <a:pPr marL="685800" lvl="1" indent="0">
              <a:buNone/>
            </a:pPr>
            <a:r>
              <a:rPr lang="pt" noProof="0"/>
              <a:t>Os nossos planos de redução da pegada de carbono iniciados em 2020 estão a produzir excelentes resultados, proporcionando uma redução de +30% nas emissões de GEE em menos de 2 anos.</a:t>
            </a:r>
          </a:p>
          <a:p>
            <a:pPr marL="685800" lvl="1" indent="0">
              <a:buNone/>
            </a:pPr>
            <a:r>
              <a:rPr lang="pt" noProof="0"/>
              <a:t>Além disso, a utilização de energia renovável é uma prioridade para nós, tendo um mix de mais de 60% de energia renovável.</a:t>
            </a:r>
          </a:p>
          <a:p>
            <a:pPr marL="685800" lvl="1" indent="0">
              <a:buNone/>
            </a:pPr>
            <a:r>
              <a:rPr lang="pt" noProof="0"/>
              <a:t>2) Nossa Gente:</a:t>
            </a:r>
          </a:p>
          <a:p>
            <a:pPr marL="685800" lvl="1" indent="0">
              <a:buNone/>
            </a:pPr>
            <a:r>
              <a:rPr lang="pt" noProof="0"/>
              <a:t>Diversidade e Inclusão são os principais pilares da sociedade. Temos orgulho de ter mais de 50% de colaboradores com menos de 30 anos e também de mais de 65% da força de trabalho ser feminina.</a:t>
            </a:r>
          </a:p>
          <a:p>
            <a:pPr marL="685800" lvl="1" indent="0">
              <a:buNone/>
            </a:pPr>
            <a:r>
              <a:rPr lang="pt" noProof="0"/>
              <a:t>3) Nossos clientes</a:t>
            </a:r>
          </a:p>
          <a:p>
            <a:pPr marL="685800" lvl="1" indent="0">
              <a:buNone/>
            </a:pPr>
            <a:r>
              <a:rPr lang="pt" noProof="0"/>
              <a:t>Alcançar números recordes de NPS e Csat do Cliente todos os anos</a:t>
            </a:r>
          </a:p>
          <a:p>
            <a:pPr marL="685800" lvl="1" indent="0">
              <a:buNone/>
            </a:pPr>
            <a:r>
              <a:rPr lang="pt" noProof="0"/>
              <a:t>Todas essas ações e muitas outras são avaliadas, medidas e analisadas por analistas externos independentes, como a Sustainalytics, que classificou a Atento com a melhor classificação de índice (menor risco) de todos os setores.</a:t>
            </a:r>
            <a:endParaRPr lang="en-US" noProof="0"/>
          </a:p>
          <a:p>
            <a:endParaRPr lang="en-US" noProof="0"/>
          </a:p>
          <a:p>
            <a:r>
              <a:rPr lang="pt" noProof="0"/>
              <a:t>ESPANHOL:</a:t>
            </a:r>
          </a:p>
          <a:p>
            <a:pPr lvl="1"/>
            <a:r>
              <a:rPr lang="pt" noProof="0"/>
              <a:t>En Atento priorizamos el impacto positivo que tenemos en las comunidades para las que trabajamos, cuidando:</a:t>
            </a:r>
          </a:p>
          <a:p>
            <a:pPr lvl="1">
              <a:buAutoNum type="arabicParenR"/>
            </a:pPr>
            <a:r>
              <a:rPr lang="pt" noProof="0"/>
              <a:t>El Medio Ambiente:</a:t>
            </a:r>
          </a:p>
          <a:p>
            <a:pPr marL="685800" lvl="1" indent="0">
              <a:buNone/>
            </a:pPr>
            <a:r>
              <a:rPr lang="pt" noProof="0"/>
              <a:t>Nuestros planes de reducción de la huella de carbono iniciados en 2020 están dando grandes resultados, proporcionando una reducción de +30% de las emisiones de GEI en menos de 2 años.</a:t>
            </a:r>
          </a:p>
          <a:p>
            <a:pPr marL="685800" lvl="1" indent="0">
              <a:buNone/>
            </a:pPr>
            <a:r>
              <a:rPr lang="pt" noProof="0"/>
              <a:t>Además, el uso de energía renovable es una prioridad para nosotros, ya que tenemos una combinación de energía renovable de más del 60 %.</a:t>
            </a:r>
          </a:p>
          <a:p>
            <a:pPr marL="685800" lvl="1" indent="0">
              <a:buNone/>
            </a:pPr>
            <a:r>
              <a:rPr lang="pt" noProof="0"/>
              <a:t>2) Nossa Gente:</a:t>
            </a:r>
          </a:p>
          <a:p>
            <a:pPr marL="685800" lvl="1" indent="0">
              <a:buNone/>
            </a:pPr>
            <a:r>
              <a:rPr lang="pt" noProof="0"/>
              <a:t>La Diversidad y la Inclusión son los principales pilares de la sociedad. Estamos orgullosos de tener +50% de empleados menores de 30 anos, y además más del 65% de la plantilla son mujeres.</a:t>
            </a:r>
          </a:p>
          <a:p>
            <a:pPr marL="685800" lvl="1" indent="0">
              <a:buNone/>
            </a:pPr>
            <a:r>
              <a:rPr lang="pt" noProof="0"/>
              <a:t>3) Nuestros Clientes</a:t>
            </a:r>
          </a:p>
          <a:p>
            <a:pPr marL="685800" lvl="1" indent="0">
              <a:buNone/>
            </a:pPr>
            <a:r>
              <a:rPr lang="pt" noProof="0"/>
              <a:t>Alcanzar cifras récord de NPS y Csat de clientes cada año</a:t>
            </a:r>
          </a:p>
          <a:p>
            <a:pPr marL="685800" lvl="1" indent="0">
              <a:buNone/>
            </a:pPr>
            <a:r>
              <a:rPr lang="pt" noProof="0"/>
              <a:t>Todas estas acciones y muchas más son valoradas, medidas y analizadas por analistas externos independientes como Sustainalytics, que sitúan a Atento con la mejor calificación ratio (menor riesgo) de todas las industrias.</a:t>
            </a:r>
            <a:endParaRPr lang="en-US" noProof="0"/>
          </a:p>
        </p:txBody>
      </p:sp>
      <p:sp>
        <p:nvSpPr>
          <p:cNvPr id="4" name="Marcador de número de diapositiva 3"/>
          <p:cNvSpPr>
            <a:spLocks noGrp="1"/>
          </p:cNvSpPr>
          <p:nvPr>
            <p:ph type="sldNum" sz="quarter" idx="5"/>
          </p:nvPr>
        </p:nvSpPr>
        <p:spPr/>
        <p:txBody>
          <a:bodyPr/>
          <a:lstStyle/>
          <a:p>
            <a:fld id="{1EDEAF64-84A3-48E7-8EE2-7086AB073C7F}" type="slidenum">
              <a:rPr lang="es-ES" smtClean="0"/>
              <a:t>6</a:t>
            </a:fld>
            <a:endParaRPr lang="es-ES"/>
          </a:p>
        </p:txBody>
      </p:sp>
    </p:spTree>
    <p:extLst>
      <p:ext uri="{BB962C8B-B14F-4D97-AF65-F5344CB8AC3E}">
        <p14:creationId xmlns:p14="http://schemas.microsoft.com/office/powerpoint/2010/main" val="3380604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pt" noProof="0"/>
              <a:t>INGLÊS:</a:t>
            </a:r>
          </a:p>
          <a:p>
            <a:pPr lvl="1"/>
            <a:r>
              <a:rPr lang="pt" noProof="0"/>
              <a:t>Na Atento, priorizamos o impacto positivo que temos nas comunidades em que trabalhamos, cuidando de:</a:t>
            </a:r>
          </a:p>
          <a:p>
            <a:pPr lvl="1"/>
            <a:r>
              <a:rPr lang="pt" noProof="0"/>
              <a:t>1) Meio Ambiente:</a:t>
            </a:r>
          </a:p>
          <a:p>
            <a:pPr lvl="1"/>
            <a:r>
              <a:rPr lang="pt" noProof="0"/>
              <a:t>Nossos planos de redução da pegada de carbono iniciados em 2020 estão entregando ótimos resultados, proporcionando uma redução de +30% das emissões de GEE em menos de 2 anos.</a:t>
            </a:r>
          </a:p>
          <a:p>
            <a:pPr lvl="1"/>
            <a:r>
              <a:rPr lang="pt" noProof="0"/>
              <a:t>Além disso, o uso de energia de renovação é uma prioridade para nós, tendo um mix de mais de 60% de energia de renovação.</a:t>
            </a:r>
          </a:p>
          <a:p>
            <a:pPr lvl="1"/>
            <a:r>
              <a:rPr lang="pt" noProof="0"/>
              <a:t>2) Nossa Gente:</a:t>
            </a:r>
          </a:p>
          <a:p>
            <a:pPr lvl="1"/>
            <a:r>
              <a:rPr lang="pt" noProof="0"/>
              <a:t>Diversidade e Inclusão são os principais pilares da sociedade. Temos orgulho de ter +50% dos funcionários com menos de 30 anos, e também mais de 65% da força de trabalho são mulheres.</a:t>
            </a:r>
          </a:p>
          <a:p>
            <a:pPr lvl="1"/>
            <a:r>
              <a:rPr lang="pt" noProof="0"/>
              <a:t>3) Nossos Clientes</a:t>
            </a:r>
          </a:p>
          <a:p>
            <a:pPr lvl="1"/>
            <a:r>
              <a:rPr lang="pt" noProof="0"/>
              <a:t>Alcançando números recordes de NPS e Csat de clientes a cada ano</a:t>
            </a:r>
          </a:p>
          <a:p>
            <a:pPr lvl="1"/>
            <a:r>
              <a:rPr lang="pt" noProof="0"/>
              <a:t>Todas essas ações, e muitas outras, são valorizadas, mensuradas e analisadas por analistas externos independentes, como a Sustainalytics, que classificou a Atento com a melhor classificação de índice (menor risco) de todos os setores.</a:t>
            </a:r>
          </a:p>
          <a:p>
            <a:pPr lvl="1"/>
            <a:endParaRPr lang="en-US" noProof="0"/>
          </a:p>
          <a:p>
            <a:r>
              <a:rPr lang="pt" noProof="0"/>
              <a:t>PORTUGUÊS:</a:t>
            </a:r>
          </a:p>
          <a:p>
            <a:pPr lvl="1"/>
            <a:r>
              <a:rPr lang="pt" noProof="0"/>
              <a:t>Na Atento priorizamos o impacto positivo que temos nas comunidades onde trabalhamos, cuidando de:</a:t>
            </a:r>
          </a:p>
          <a:p>
            <a:pPr lvl="1">
              <a:buAutoNum type="arabicParenR"/>
            </a:pPr>
            <a:r>
              <a:rPr lang="pt" noProof="0"/>
              <a:t>O Meio Ambiente:</a:t>
            </a:r>
          </a:p>
          <a:p>
            <a:pPr marL="685800" lvl="1" indent="0">
              <a:buNone/>
            </a:pPr>
            <a:r>
              <a:rPr lang="pt" noProof="0"/>
              <a:t>Os nossos planos de redução da pegada de carbono iniciados em 2020 estão a produzir excelentes resultados, proporcionando uma redução de +30% nas emissões de GEE em menos de 2 anos.</a:t>
            </a:r>
          </a:p>
          <a:p>
            <a:pPr marL="685800" lvl="1" indent="0">
              <a:buNone/>
            </a:pPr>
            <a:r>
              <a:rPr lang="pt" noProof="0"/>
              <a:t>Além disso, a utilização de energia renovável é uma prioridade para nós, tendo um mix de mais de 60% de energia renovável.</a:t>
            </a:r>
          </a:p>
          <a:p>
            <a:pPr marL="685800" lvl="1" indent="0">
              <a:buNone/>
            </a:pPr>
            <a:r>
              <a:rPr lang="pt" noProof="0"/>
              <a:t>2) Nossa Gente:</a:t>
            </a:r>
          </a:p>
          <a:p>
            <a:pPr marL="685800" lvl="1" indent="0">
              <a:buNone/>
            </a:pPr>
            <a:r>
              <a:rPr lang="pt" noProof="0"/>
              <a:t>Diversidade e Inclusão são os principais pilares da sociedade. Temos orgulho de ter mais de 50% de colaboradores com menos de 30 anos e também de mais de 65% da força de trabalho ser feminina.</a:t>
            </a:r>
          </a:p>
          <a:p>
            <a:pPr marL="685800" lvl="1" indent="0">
              <a:buNone/>
            </a:pPr>
            <a:r>
              <a:rPr lang="pt" noProof="0"/>
              <a:t>3) Nossos clientes</a:t>
            </a:r>
          </a:p>
          <a:p>
            <a:pPr marL="685800" lvl="1" indent="0">
              <a:buNone/>
            </a:pPr>
            <a:r>
              <a:rPr lang="pt" noProof="0"/>
              <a:t>Alcançar números recordes de NPS e Csat do Cliente todos os anos</a:t>
            </a:r>
          </a:p>
          <a:p>
            <a:pPr marL="685800" lvl="1" indent="0">
              <a:buNone/>
            </a:pPr>
            <a:r>
              <a:rPr lang="pt" noProof="0"/>
              <a:t>Todas essas ações e muitas outras são avaliadas, medidas e analisadas por analistas externos independentes, como a Sustainalytics, que classificou a Atento com a melhor classificação de índice (menor risco) de todos os setores.</a:t>
            </a:r>
            <a:endParaRPr lang="en-US" noProof="0"/>
          </a:p>
          <a:p>
            <a:endParaRPr lang="en-US" noProof="0"/>
          </a:p>
          <a:p>
            <a:r>
              <a:rPr lang="pt" noProof="0"/>
              <a:t>ESPANHOL:</a:t>
            </a:r>
          </a:p>
          <a:p>
            <a:pPr lvl="1"/>
            <a:r>
              <a:rPr lang="pt" noProof="0"/>
              <a:t>En Atento priorizamos el impacto positivo que tenemos en las comunidades para las que trabajamos, cuidando:</a:t>
            </a:r>
          </a:p>
          <a:p>
            <a:pPr lvl="1">
              <a:buAutoNum type="arabicParenR"/>
            </a:pPr>
            <a:r>
              <a:rPr lang="pt" noProof="0"/>
              <a:t>El Medio Ambiente:</a:t>
            </a:r>
          </a:p>
          <a:p>
            <a:pPr marL="685800" lvl="1" indent="0">
              <a:buNone/>
            </a:pPr>
            <a:r>
              <a:rPr lang="pt" noProof="0"/>
              <a:t>Nuestros planes de reducción de la huella de carbono iniciados en 2020 están dando grandes resultados, proporcionando una reducción de +30% de las emisiones de GEI en menos de 2 años.</a:t>
            </a:r>
          </a:p>
          <a:p>
            <a:pPr marL="685800" lvl="1" indent="0">
              <a:buNone/>
            </a:pPr>
            <a:r>
              <a:rPr lang="pt" noProof="0"/>
              <a:t>Además, el uso de energía renovable es una prioridad para nosotros, ya que tenemos una combinación de energía renovable de más del 60 %.</a:t>
            </a:r>
          </a:p>
          <a:p>
            <a:pPr marL="685800" lvl="1" indent="0">
              <a:buNone/>
            </a:pPr>
            <a:r>
              <a:rPr lang="pt" noProof="0"/>
              <a:t>2) Nossa Gente:</a:t>
            </a:r>
          </a:p>
          <a:p>
            <a:pPr marL="685800" lvl="1" indent="0">
              <a:buNone/>
            </a:pPr>
            <a:r>
              <a:rPr lang="pt" noProof="0"/>
              <a:t>La Diversidad y la Inclusión son los principales pilares de la sociedad. Estamos orgullosos de tener +50% de empleados menores de 30 anos, y además más del 65% de la plantilla son mujeres.</a:t>
            </a:r>
          </a:p>
          <a:p>
            <a:pPr marL="685800" lvl="1" indent="0">
              <a:buNone/>
            </a:pPr>
            <a:r>
              <a:rPr lang="pt" noProof="0"/>
              <a:t>3) Nuestros Clientes</a:t>
            </a:r>
          </a:p>
          <a:p>
            <a:pPr marL="685800" lvl="1" indent="0">
              <a:buNone/>
            </a:pPr>
            <a:r>
              <a:rPr lang="pt" noProof="0"/>
              <a:t>Alcanzar cifras récord de NPS y Csat de clientes cada año</a:t>
            </a:r>
          </a:p>
          <a:p>
            <a:pPr marL="685800" lvl="1" indent="0">
              <a:buNone/>
            </a:pPr>
            <a:r>
              <a:rPr lang="pt" noProof="0"/>
              <a:t>Todas estas acciones y muchas más son valoradas, medidas y analizadas por analistas externos independientes como Sustainalytics, que sitúan a Atento con la mejor calificación ratio (menor riesgo) de todas las industrias.</a:t>
            </a:r>
            <a:endParaRPr lang="en-US" noProof="0"/>
          </a:p>
        </p:txBody>
      </p:sp>
      <p:sp>
        <p:nvSpPr>
          <p:cNvPr id="4" name="Marcador de número de diapositiva 3"/>
          <p:cNvSpPr>
            <a:spLocks noGrp="1"/>
          </p:cNvSpPr>
          <p:nvPr>
            <p:ph type="sldNum" sz="quarter" idx="5"/>
          </p:nvPr>
        </p:nvSpPr>
        <p:spPr/>
        <p:txBody>
          <a:bodyPr/>
          <a:lstStyle/>
          <a:p>
            <a:fld id="{1EDEAF64-84A3-48E7-8EE2-7086AB073C7F}" type="slidenum">
              <a:rPr lang="es-ES" smtClean="0"/>
              <a:t>7</a:t>
            </a:fld>
            <a:endParaRPr lang="es-ES"/>
          </a:p>
        </p:txBody>
      </p:sp>
    </p:spTree>
    <p:extLst>
      <p:ext uri="{BB962C8B-B14F-4D97-AF65-F5344CB8AC3E}">
        <p14:creationId xmlns:p14="http://schemas.microsoft.com/office/powerpoint/2010/main" val="588369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pt" noProof="0"/>
              <a:t>INGLÊS:</a:t>
            </a:r>
          </a:p>
          <a:p>
            <a:pPr lvl="1"/>
            <a:r>
              <a:rPr lang="pt" noProof="0"/>
              <a:t>Na Atento, priorizamos o impacto positivo que temos nas comunidades em que trabalhamos, cuidando de:</a:t>
            </a:r>
          </a:p>
          <a:p>
            <a:pPr lvl="1"/>
            <a:r>
              <a:rPr lang="pt" noProof="0"/>
              <a:t>1) Meio Ambiente:</a:t>
            </a:r>
          </a:p>
          <a:p>
            <a:pPr lvl="1"/>
            <a:r>
              <a:rPr lang="pt" noProof="0"/>
              <a:t>Nossos planos de redução da pegada de carbono iniciados em 2020 estão entregando ótimos resultados, proporcionando uma redução de +30% das emissões de GEE em menos de 2 anos.</a:t>
            </a:r>
          </a:p>
          <a:p>
            <a:pPr lvl="1"/>
            <a:r>
              <a:rPr lang="pt" noProof="0"/>
              <a:t>Além disso, o uso de energia de renovação é uma prioridade para nós, tendo um mix de mais de 60% de energia de renovação.</a:t>
            </a:r>
          </a:p>
          <a:p>
            <a:pPr lvl="1"/>
            <a:r>
              <a:rPr lang="pt" noProof="0"/>
              <a:t>2) Nossa Gente:</a:t>
            </a:r>
          </a:p>
          <a:p>
            <a:pPr lvl="1"/>
            <a:r>
              <a:rPr lang="pt" noProof="0"/>
              <a:t>Diversidade e Inclusão são os principais pilares da sociedade. Temos orgulho de ter +50% dos funcionários com menos de 30 anos, e também mais de 65% da força de trabalho são mulheres.</a:t>
            </a:r>
          </a:p>
          <a:p>
            <a:pPr lvl="1"/>
            <a:r>
              <a:rPr lang="pt" noProof="0"/>
              <a:t>3) Nossos Clientes</a:t>
            </a:r>
          </a:p>
          <a:p>
            <a:pPr lvl="1"/>
            <a:r>
              <a:rPr lang="pt" noProof="0"/>
              <a:t>Alcançando números recordes de NPS e Csat de clientes a cada ano</a:t>
            </a:r>
          </a:p>
          <a:p>
            <a:pPr lvl="1"/>
            <a:r>
              <a:rPr lang="pt" noProof="0"/>
              <a:t>Todas essas ações, e muitas outras, são valorizadas, mensuradas e analisadas por analistas externos independentes, como a Sustainalytics, que classificou a Atento com a melhor classificação de índice (menor risco) de todos os setores.</a:t>
            </a:r>
          </a:p>
          <a:p>
            <a:pPr lvl="1"/>
            <a:endParaRPr lang="en-US" noProof="0"/>
          </a:p>
          <a:p>
            <a:r>
              <a:rPr lang="pt" noProof="0"/>
              <a:t>PORTUGUÊS:</a:t>
            </a:r>
          </a:p>
          <a:p>
            <a:pPr lvl="1"/>
            <a:r>
              <a:rPr lang="pt" noProof="0"/>
              <a:t>Na Atento priorizamos o impacto positivo que temos nas comunidades onde trabalhamos, cuidando de:</a:t>
            </a:r>
          </a:p>
          <a:p>
            <a:pPr lvl="1">
              <a:buAutoNum type="arabicParenR"/>
            </a:pPr>
            <a:r>
              <a:rPr lang="pt" noProof="0"/>
              <a:t>O Meio Ambiente:</a:t>
            </a:r>
          </a:p>
          <a:p>
            <a:pPr marL="685800" lvl="1" indent="0">
              <a:buNone/>
            </a:pPr>
            <a:r>
              <a:rPr lang="pt" noProof="0"/>
              <a:t>Os nossos planos de redução da pegada de carbono iniciados em 2020 estão a produzir excelentes resultados, proporcionando uma redução de +30% nas emissões de GEE em menos de 2 anos.</a:t>
            </a:r>
          </a:p>
          <a:p>
            <a:pPr marL="685800" lvl="1" indent="0">
              <a:buNone/>
            </a:pPr>
            <a:r>
              <a:rPr lang="pt" noProof="0"/>
              <a:t>Além disso, a utilização de energia renovável é uma prioridade para nós, tendo um mix de mais de 60% de energia renovável.</a:t>
            </a:r>
          </a:p>
          <a:p>
            <a:pPr marL="685800" lvl="1" indent="0">
              <a:buNone/>
            </a:pPr>
            <a:r>
              <a:rPr lang="pt" noProof="0"/>
              <a:t>2) Nossa Gente:</a:t>
            </a:r>
          </a:p>
          <a:p>
            <a:pPr marL="685800" lvl="1" indent="0">
              <a:buNone/>
            </a:pPr>
            <a:r>
              <a:rPr lang="pt" noProof="0"/>
              <a:t>Diversidade e Inclusão são os principais pilares da sociedade. Temos orgulho de ter mais de 50% de colaboradores com menos de 30 anos e também de mais de 65% da força de trabalho ser feminina.</a:t>
            </a:r>
          </a:p>
          <a:p>
            <a:pPr marL="685800" lvl="1" indent="0">
              <a:buNone/>
            </a:pPr>
            <a:r>
              <a:rPr lang="pt" noProof="0"/>
              <a:t>3) Nossos clientes</a:t>
            </a:r>
          </a:p>
          <a:p>
            <a:pPr marL="685800" lvl="1" indent="0">
              <a:buNone/>
            </a:pPr>
            <a:r>
              <a:rPr lang="pt" noProof="0"/>
              <a:t>Alcançar números recordes de NPS e Csat do Cliente todos os anos</a:t>
            </a:r>
          </a:p>
          <a:p>
            <a:pPr marL="685800" lvl="1" indent="0">
              <a:buNone/>
            </a:pPr>
            <a:r>
              <a:rPr lang="pt" noProof="0"/>
              <a:t>Todas essas ações e muitas outras são avaliadas, medidas e analisadas por analistas externos independentes, como a Sustainalytics, que classificou a Atento com a melhor classificação de índice (menor risco) de todos os setores.</a:t>
            </a:r>
            <a:endParaRPr lang="en-US" noProof="0"/>
          </a:p>
          <a:p>
            <a:endParaRPr lang="en-US" noProof="0"/>
          </a:p>
          <a:p>
            <a:r>
              <a:rPr lang="pt" noProof="0"/>
              <a:t>ESPANHOL:</a:t>
            </a:r>
          </a:p>
          <a:p>
            <a:pPr lvl="1"/>
            <a:r>
              <a:rPr lang="pt" noProof="0"/>
              <a:t>En Atento priorizamos el impacto positivo que tenemos en las comunidades para las que trabajamos, cuidando:</a:t>
            </a:r>
          </a:p>
          <a:p>
            <a:pPr lvl="1">
              <a:buAutoNum type="arabicParenR"/>
            </a:pPr>
            <a:r>
              <a:rPr lang="pt" noProof="0"/>
              <a:t>El Medio Ambiente:</a:t>
            </a:r>
          </a:p>
          <a:p>
            <a:pPr marL="685800" lvl="1" indent="0">
              <a:buNone/>
            </a:pPr>
            <a:r>
              <a:rPr lang="pt" noProof="0"/>
              <a:t>Nuestros planes de reducción de la huella de carbono iniciados en 2020 están dando grandes resultados, proporcionando una reducción de +30% de las emisiones de GEI en menos de 2 años.</a:t>
            </a:r>
          </a:p>
          <a:p>
            <a:pPr marL="685800" lvl="1" indent="0">
              <a:buNone/>
            </a:pPr>
            <a:r>
              <a:rPr lang="pt" noProof="0"/>
              <a:t>Además, el uso de energía renovable es una prioridad para nosotros, ya que tenemos una combinación de energía renovable de más del 60 %.</a:t>
            </a:r>
          </a:p>
          <a:p>
            <a:pPr marL="685800" lvl="1" indent="0">
              <a:buNone/>
            </a:pPr>
            <a:r>
              <a:rPr lang="pt" noProof="0"/>
              <a:t>2) Nossa Gente:</a:t>
            </a:r>
          </a:p>
          <a:p>
            <a:pPr marL="685800" lvl="1" indent="0">
              <a:buNone/>
            </a:pPr>
            <a:r>
              <a:rPr lang="pt" noProof="0"/>
              <a:t>La Diversidad y la Inclusión son los principales pilares de la sociedad. Estamos orgullosos de tener +50% de empleados menores de 30 anos, y además más del 65% de la plantilla son mujeres.</a:t>
            </a:r>
          </a:p>
          <a:p>
            <a:pPr marL="685800" lvl="1" indent="0">
              <a:buNone/>
            </a:pPr>
            <a:r>
              <a:rPr lang="pt" noProof="0"/>
              <a:t>3) Nuestros Clientes</a:t>
            </a:r>
          </a:p>
          <a:p>
            <a:pPr marL="685800" lvl="1" indent="0">
              <a:buNone/>
            </a:pPr>
            <a:r>
              <a:rPr lang="pt" noProof="0"/>
              <a:t>Alcanzar cifras récord de NPS y Csat de clientes cada año</a:t>
            </a:r>
          </a:p>
          <a:p>
            <a:pPr marL="685800" lvl="1" indent="0">
              <a:buNone/>
            </a:pPr>
            <a:r>
              <a:rPr lang="pt" noProof="0"/>
              <a:t>Todas estas acciones y muchas más son valoradas, medidas y analizadas por analistas externos independientes como Sustainalytics, que sitúan a Atento con la mejor calificación ratio (menor riesgo) de todas las industrias.</a:t>
            </a:r>
            <a:endParaRPr lang="en-US" noProof="0"/>
          </a:p>
        </p:txBody>
      </p:sp>
      <p:sp>
        <p:nvSpPr>
          <p:cNvPr id="4" name="Marcador de número de diapositiva 3"/>
          <p:cNvSpPr>
            <a:spLocks noGrp="1"/>
          </p:cNvSpPr>
          <p:nvPr>
            <p:ph type="sldNum" sz="quarter" idx="5"/>
          </p:nvPr>
        </p:nvSpPr>
        <p:spPr/>
        <p:txBody>
          <a:bodyPr/>
          <a:lstStyle/>
          <a:p>
            <a:fld id="{1EDEAF64-84A3-48E7-8EE2-7086AB073C7F}" type="slidenum">
              <a:rPr lang="es-ES" smtClean="0"/>
              <a:t>8</a:t>
            </a:fld>
            <a:endParaRPr lang="es-ES"/>
          </a:p>
        </p:txBody>
      </p:sp>
    </p:spTree>
    <p:extLst>
      <p:ext uri="{BB962C8B-B14F-4D97-AF65-F5344CB8AC3E}">
        <p14:creationId xmlns:p14="http://schemas.microsoft.com/office/powerpoint/2010/main" val="794392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9"/>
        <p:cNvGrpSpPr/>
        <p:nvPr/>
      </p:nvGrpSpPr>
      <p:grpSpPr>
        <a:xfrm>
          <a:off x="0" y="0"/>
          <a:ext cx="0" cy="0"/>
          <a:chOff x="0" y="0"/>
          <a:chExt cx="0" cy="0"/>
        </a:xfrm>
      </p:grpSpPr>
      <p:sp>
        <p:nvSpPr>
          <p:cNvPr id="3290" name="Google Shape;3290;p6:notes"/>
          <p:cNvSpPr txBox="1">
            <a:spLocks noGrp="1"/>
          </p:cNvSpPr>
          <p:nvPr>
            <p:ph type="body" idx="1"/>
          </p:nvPr>
        </p:nvSpPr>
        <p:spPr>
          <a:xfrm>
            <a:off x="680879" y="4784070"/>
            <a:ext cx="5447030" cy="391423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91" name="Google Shape;3291;p6:notes"/>
          <p:cNvSpPr>
            <a:spLocks noGrp="1" noRot="1" noChangeAspect="1"/>
          </p:cNvSpPr>
          <p:nvPr>
            <p:ph type="sldImg" idx="2"/>
          </p:nvPr>
        </p:nvSpPr>
        <p:spPr>
          <a:xfrm>
            <a:off x="423863" y="1243013"/>
            <a:ext cx="5961062"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10013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
              <a:t>INGLÊS:</a:t>
            </a:r>
          </a:p>
          <a:p>
            <a:pPr lvl="1"/>
            <a:r>
              <a:rPr lang="pt"/>
              <a:t>Hoje em dia, a segurança é provavelmente o requisito #1 para a maioria dos nossos clientes, e para nós mesmos. Portanto, implementamos governança e padrões de segurança baseados em NIST para todos os nossos clientes, sem exceção. Essa visão holística é baseada em quatro elementos que se complementam:</a:t>
            </a:r>
          </a:p>
          <a:p>
            <a:pPr lvl="1"/>
            <a:endParaRPr lang="en-US"/>
          </a:p>
          <a:p>
            <a:pPr lvl="1"/>
            <a:r>
              <a:rPr lang="pt"/>
              <a:t>- Nossas operações de segurança cibernética garantem que nossos clientes, funcionários e infraestruturas estejam seguros sempre e em todos os lugares. </a:t>
            </a:r>
          </a:p>
          <a:p>
            <a:pPr lvl="1"/>
            <a:r>
              <a:rPr lang="pt"/>
              <a:t>- Nossos processos de continuidade de negócios são projetados para gerenciar qualquer tipo de contingência e garantir que as operações de negócios de nossos clientes estejam protegidas em quaisquer circunstâncias.</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s e problemas de segurança.</a:t>
            </a:r>
          </a:p>
          <a:p>
            <a:pPr lvl="1"/>
            <a:endParaRPr lang="pt-BR"/>
          </a:p>
          <a:p>
            <a:pPr lvl="0"/>
            <a:r>
              <a:rPr lang="pt"/>
              <a:t>PORTUGUÊS:</a:t>
            </a:r>
          </a:p>
          <a:p>
            <a:pPr lvl="1"/>
            <a:r>
              <a:rPr lang="pt"/>
              <a:t>Hoje em dia, a segurança é provavelmente o requisito número 1 para a maioria de nossos clientes e para nós mesmos. Portanto, implementamos padrões e governança de segurança baseados no NIST para todos os nossos clientes, sem exceção. Esta visão holística é baseada em quatro elementos que se complementam:</a:t>
            </a:r>
          </a:p>
          <a:p>
            <a:pPr lvl="1"/>
            <a:endParaRPr lang="pt-BR"/>
          </a:p>
          <a:p>
            <a:pPr lvl="1"/>
            <a:r>
              <a:rPr lang="pt"/>
              <a:t>- Nossas operações de segurança cibernética garantem que nossos clientes, funcionários e infraestruturas estejam seguros sempre e em qualquer lugar.</a:t>
            </a:r>
          </a:p>
          <a:p>
            <a:pPr lvl="1"/>
            <a:r>
              <a:rPr lang="pt"/>
              <a:t>- Nossos processos de continuidade de negócios são projetados para gerenciar qualquer tipo de contingência e garantir que as operações comerciais de nossos clientes estejam protegidas em qualquer circunstância.</a:t>
            </a:r>
          </a:p>
          <a:p>
            <a:pPr lvl="1"/>
            <a:r>
              <a:rPr lang="pt"/>
              <a:t>- Nossos métodos de auditoria e conformidade garantem a integridade, confidencialidade e disponibilidade dos dados de nossos clientes, de acordo com os mais altos padrões da indústria, por exemplo, ISO 27001, PCI DSS e muitos outros</a:t>
            </a:r>
          </a:p>
          <a:p>
            <a:pPr lvl="1"/>
            <a:r>
              <a:rPr lang="pt"/>
              <a:t>- Nossas unidades de negócios de Segurança avaliam e recomendam planos de ação para aprimorar os processos de nossos clientes e reduzir o risco de fraude e problemas de segurança.</a:t>
            </a:r>
          </a:p>
          <a:p>
            <a:pPr lvl="0"/>
            <a:endParaRPr lang="pt-BR"/>
          </a:p>
          <a:p>
            <a:pPr lvl="0"/>
            <a:r>
              <a:rPr lang="pt"/>
              <a:t>ESPANHOL:</a:t>
            </a:r>
          </a:p>
          <a:p>
            <a:pPr lvl="1"/>
            <a:r>
              <a:rPr lang="pt"/>
              <a:t>Hoy en día, la seguridad es probablemente el requisito número uno para la mayoría de nuestros clientes y para Atento. Por lo tanto, implementamos estándares y gobernanza de seguridad basados en NIST para todos nuestros clientes, sin excepción. Esta visión holística se basa en cuatro elementos que se complementan entre sí:</a:t>
            </a:r>
          </a:p>
          <a:p>
            <a:pPr lvl="1"/>
            <a:endParaRPr lang="es-ES"/>
          </a:p>
          <a:p>
            <a:pPr lvl="1"/>
            <a:r>
              <a:rPr lang="pt"/>
              <a:t>- Nuestras operaciones de ciberseguridad garantizan que nuestros clientes, empleados e infraestructuras estén seguros en todo momento y en todas partes.</a:t>
            </a:r>
          </a:p>
          <a:p>
            <a:pPr lvl="1"/>
            <a:r>
              <a:rPr lang="pt"/>
              <a:t>- Nuestros procesos de continuidad del negocio están diseñados para gestionar cualquier tipo de contingencia y garantizar que las operaciones comerciales de nuestros clientes estén protegidas bajo cualquier circunstancia.</a:t>
            </a:r>
          </a:p>
          <a:p>
            <a:pPr lvl="1"/>
            <a:r>
              <a:rPr lang="pt"/>
              <a:t>- Nuestros métodos de auditoría y cumplimiento garantizan la integridad, confidencialidad y disponibilidad de los datos de nuestros clientes, de acuerdo con los más altos estándares de la industria, por ejemplo, ISO 27001, PCI DSS y muchos otros.</a:t>
            </a:r>
          </a:p>
          <a:p>
            <a:pPr lvl="1"/>
            <a:r>
              <a:rPr lang="pt"/>
              <a:t>- Nuestras unidades de negocio de Seguridad evalúan y recomiendan planes de acción para mejorar los procesos de nuestros clientes y reducir su riesgo de fraude y problemas de seguridad.</a:t>
            </a:r>
            <a:endParaRPr lang="pt-BR"/>
          </a:p>
        </p:txBody>
      </p:sp>
      <p:sp>
        <p:nvSpPr>
          <p:cNvPr id="4" name="Espaço Reservado para Número de Slide 3"/>
          <p:cNvSpPr>
            <a:spLocks noGrp="1"/>
          </p:cNvSpPr>
          <p:nvPr>
            <p:ph type="sldNum" sz="quarter" idx="5"/>
          </p:nvPr>
        </p:nvSpPr>
        <p:spPr/>
        <p:txBody>
          <a:bodyPr/>
          <a:lstStyle/>
          <a:p>
            <a:fld id="{6ED7CC55-AE76-0D44-A900-84087F88E8D9}" type="slidenum">
              <a:rPr lang="pt-BR" smtClean="0"/>
              <a:t>11</a:t>
            </a:fld>
            <a:endParaRPr lang="pt-BR"/>
          </a:p>
        </p:txBody>
      </p:sp>
    </p:spTree>
    <p:extLst>
      <p:ext uri="{BB962C8B-B14F-4D97-AF65-F5344CB8AC3E}">
        <p14:creationId xmlns:p14="http://schemas.microsoft.com/office/powerpoint/2010/main" val="2310885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3.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8.jpg"/><Relationship Id="rId1" Type="http://schemas.openxmlformats.org/officeDocument/2006/relationships/slideMaster" Target="../slideMasters/slideMaster1.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51.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90.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89.png"/><Relationship Id="rId5" Type="http://schemas.openxmlformats.org/officeDocument/2006/relationships/image" Target="../media/image19.svg"/><Relationship Id="rId4" Type="http://schemas.openxmlformats.org/officeDocument/2006/relationships/image" Target="../media/image16.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90.svg"/><Relationship Id="rId4" Type="http://schemas.openxmlformats.org/officeDocument/2006/relationships/image" Target="../media/image89.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xml"/><Relationship Id="rId5" Type="http://schemas.openxmlformats.org/officeDocument/2006/relationships/image" Target="../media/image92.svg"/><Relationship Id="rId4" Type="http://schemas.openxmlformats.org/officeDocument/2006/relationships/image" Target="../media/image91.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7.png"/><Relationship Id="rId1" Type="http://schemas.openxmlformats.org/officeDocument/2006/relationships/slideMaster" Target="../slideMasters/slideMaster1.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7.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g"/><Relationship Id="rId1" Type="http://schemas.openxmlformats.org/officeDocument/2006/relationships/slideMaster" Target="../slideMasters/slideMaster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jpg"/><Relationship Id="rId1" Type="http://schemas.openxmlformats.org/officeDocument/2006/relationships/slideMaster" Target="../slideMasters/slideMaster1.xml"/><Relationship Id="rId6" Type="http://schemas.openxmlformats.org/officeDocument/2006/relationships/image" Target="../media/image19.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98.png"/><Relationship Id="rId2" Type="http://schemas.openxmlformats.org/officeDocument/2006/relationships/image" Target="../media/image95.jpe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97.png"/><Relationship Id="rId4" Type="http://schemas.microsoft.com/office/2007/relationships/hdphoto" Target="../media/hdphoto1.wdp"/></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9.jp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0.jp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1.jpg"/><Relationship Id="rId1" Type="http://schemas.openxmlformats.org/officeDocument/2006/relationships/slideMaster" Target="../slideMasters/slideMaster2.xml"/><Relationship Id="rId6" Type="http://schemas.openxmlformats.org/officeDocument/2006/relationships/image" Target="../media/image102.svg"/><Relationship Id="rId5" Type="http://schemas.openxmlformats.org/officeDocument/2006/relationships/image" Target="../media/image42.png"/><Relationship Id="rId4" Type="http://schemas.openxmlformats.org/officeDocument/2006/relationships/image" Target="../media/image7.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3.jpg"/><Relationship Id="rId1" Type="http://schemas.openxmlformats.org/officeDocument/2006/relationships/slideMaster" Target="../slideMasters/slideMaster2.xml"/><Relationship Id="rId6" Type="http://schemas.openxmlformats.org/officeDocument/2006/relationships/image" Target="../media/image102.svg"/><Relationship Id="rId5" Type="http://schemas.openxmlformats.org/officeDocument/2006/relationships/image" Target="../media/image42.png"/><Relationship Id="rId4" Type="http://schemas.openxmlformats.org/officeDocument/2006/relationships/image" Target="../media/image7.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g"/><Relationship Id="rId1" Type="http://schemas.openxmlformats.org/officeDocument/2006/relationships/slideMaster" Target="../slideMasters/slideMaster2.xml"/><Relationship Id="rId6" Type="http://schemas.openxmlformats.org/officeDocument/2006/relationships/image" Target="../media/image35.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7.jp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2.xml"/><Relationship Id="rId5" Type="http://schemas.openxmlformats.org/officeDocument/2006/relationships/image" Target="../media/image74.svg"/><Relationship Id="rId4" Type="http://schemas.openxmlformats.org/officeDocument/2006/relationships/image" Target="../media/image1.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42.png"/><Relationship Id="rId1" Type="http://schemas.openxmlformats.org/officeDocument/2006/relationships/slideMaster" Target="../slideMasters/slideMaster2.xml"/><Relationship Id="rId6" Type="http://schemas.openxmlformats.org/officeDocument/2006/relationships/image" Target="../media/image74.svg"/><Relationship Id="rId5" Type="http://schemas.openxmlformats.org/officeDocument/2006/relationships/image" Target="../media/image1.png"/><Relationship Id="rId4" Type="http://schemas.openxmlformats.org/officeDocument/2006/relationships/image" Target="../media/image75.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4.jpg"/><Relationship Id="rId1" Type="http://schemas.openxmlformats.org/officeDocument/2006/relationships/slideMaster" Target="../slideMasters/slideMaster2.xml"/><Relationship Id="rId6" Type="http://schemas.openxmlformats.org/officeDocument/2006/relationships/image" Target="../media/image102.svg"/><Relationship Id="rId5" Type="http://schemas.openxmlformats.org/officeDocument/2006/relationships/image" Target="../media/image42.png"/><Relationship Id="rId4" Type="http://schemas.openxmlformats.org/officeDocument/2006/relationships/image" Target="../media/image51.sv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42.png"/><Relationship Id="rId1" Type="http://schemas.openxmlformats.org/officeDocument/2006/relationships/slideMaster" Target="../slideMasters/slideMaster2.xml"/><Relationship Id="rId6" Type="http://schemas.openxmlformats.org/officeDocument/2006/relationships/image" Target="../media/image74.svg"/><Relationship Id="rId5" Type="http://schemas.openxmlformats.org/officeDocument/2006/relationships/image" Target="../media/image1.png"/><Relationship Id="rId4" Type="http://schemas.openxmlformats.org/officeDocument/2006/relationships/image" Target="../media/image50.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5.jp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6.jp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7.jp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8.jp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9.jp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0.jp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6.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g"/><Relationship Id="rId1" Type="http://schemas.openxmlformats.org/officeDocument/2006/relationships/slideMaster" Target="../slideMasters/slideMaster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4.jpg"/><Relationship Id="rId1" Type="http://schemas.openxmlformats.org/officeDocument/2006/relationships/slideMaster" Target="../slideMasters/slideMaster1.xml"/><Relationship Id="rId6" Type="http://schemas.openxmlformats.org/officeDocument/2006/relationships/image" Target="../media/image35.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6.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7.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9.svg"/><Relationship Id="rId4" Type="http://schemas.openxmlformats.org/officeDocument/2006/relationships/image" Target="../media/image3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1.svg"/><Relationship Id="rId4" Type="http://schemas.openxmlformats.org/officeDocument/2006/relationships/image" Target="../media/image4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1.svg"/><Relationship Id="rId4" Type="http://schemas.openxmlformats.org/officeDocument/2006/relationships/image" Target="../media/image40.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3.svg"/><Relationship Id="rId4" Type="http://schemas.openxmlformats.org/officeDocument/2006/relationships/image" Target="../media/image4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4.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5.png"/><Relationship Id="rId1" Type="http://schemas.openxmlformats.org/officeDocument/2006/relationships/slideMaster" Target="../slideMasters/slideMaster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7.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51.svg"/><Relationship Id="rId5" Type="http://schemas.openxmlformats.org/officeDocument/2006/relationships/image" Target="../media/image6.png"/><Relationship Id="rId4" Type="http://schemas.openxmlformats.org/officeDocument/2006/relationships/image" Target="../media/image5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2.pn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3.jpg"/><Relationship Id="rId1" Type="http://schemas.openxmlformats.org/officeDocument/2006/relationships/slideMaster" Target="../slideMasters/slideMaster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4.jpg"/><Relationship Id="rId1" Type="http://schemas.openxmlformats.org/officeDocument/2006/relationships/slideMaster" Target="../slideMasters/slideMaster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7.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5.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6.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7.jpg"/><Relationship Id="rId1" Type="http://schemas.openxmlformats.org/officeDocument/2006/relationships/slideMaster" Target="../slideMasters/slideMaster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8.jpg"/><Relationship Id="rId1" Type="http://schemas.openxmlformats.org/officeDocument/2006/relationships/slideMaster" Target="../slideMasters/slideMaster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9.jpg"/><Relationship Id="rId1" Type="http://schemas.openxmlformats.org/officeDocument/2006/relationships/slideMaster" Target="../slideMasters/slideMaster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0.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1.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2.jpg"/><Relationship Id="rId1" Type="http://schemas.openxmlformats.org/officeDocument/2006/relationships/slideMaster" Target="../slideMasters/slideMaster1.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7.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5.jpg"/><Relationship Id="rId1" Type="http://schemas.openxmlformats.org/officeDocument/2006/relationships/slideMaster" Target="../slideMasters/slideMaster1.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7.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6.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7.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0.jpg"/><Relationship Id="rId1" Type="http://schemas.openxmlformats.org/officeDocument/2006/relationships/slideMaster" Target="../slideMasters/slideMaster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1.jpg"/><Relationship Id="rId1" Type="http://schemas.openxmlformats.org/officeDocument/2006/relationships/slideMaster" Target="../slideMasters/slideMaster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7.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2.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3.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xml"/><Relationship Id="rId6" Type="http://schemas.openxmlformats.org/officeDocument/2006/relationships/image" Target="../media/image74.svg"/><Relationship Id="rId5" Type="http://schemas.openxmlformats.org/officeDocument/2006/relationships/image" Target="../media/image1.png"/><Relationship Id="rId4" Type="http://schemas.openxmlformats.org/officeDocument/2006/relationships/image" Target="../media/image7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xml"/><Relationship Id="rId6" Type="http://schemas.openxmlformats.org/officeDocument/2006/relationships/image" Target="../media/image74.svg"/><Relationship Id="rId5" Type="http://schemas.openxmlformats.org/officeDocument/2006/relationships/image" Target="../media/image1.png"/><Relationship Id="rId4" Type="http://schemas.openxmlformats.org/officeDocument/2006/relationships/image" Target="../media/image7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xml"/><Relationship Id="rId6" Type="http://schemas.openxmlformats.org/officeDocument/2006/relationships/image" Target="../media/image77.png"/><Relationship Id="rId5" Type="http://schemas.openxmlformats.org/officeDocument/2006/relationships/image" Target="../media/image74.svg"/><Relationship Id="rId4" Type="http://schemas.openxmlformats.org/officeDocument/2006/relationships/image" Target="../media/image1.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8.jpg"/><Relationship Id="rId1" Type="http://schemas.openxmlformats.org/officeDocument/2006/relationships/slideMaster" Target="../slideMasters/slideMaster1.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5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xml"/><Relationship Id="rId6" Type="http://schemas.openxmlformats.org/officeDocument/2006/relationships/image" Target="../media/image74.svg"/><Relationship Id="rId5" Type="http://schemas.openxmlformats.org/officeDocument/2006/relationships/image" Target="../media/image1.png"/><Relationship Id="rId4" Type="http://schemas.openxmlformats.org/officeDocument/2006/relationships/image" Target="../media/image5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9.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0.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1.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2.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3.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4.jpeg"/><Relationship Id="rId1" Type="http://schemas.openxmlformats.org/officeDocument/2006/relationships/slideMaster" Target="../slideMasters/slideMaster1.xml"/><Relationship Id="rId4" Type="http://schemas.openxmlformats.org/officeDocument/2006/relationships/image" Target="../media/image85.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6.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7.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1.jpg"/><Relationship Id="rId1" Type="http://schemas.openxmlformats.org/officeDocument/2006/relationships/slideMaster" Target="../slideMasters/slideMaster1.xml"/><Relationship Id="rId4" Type="http://schemas.openxmlformats.org/officeDocument/2006/relationships/image" Target="../media/image51.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mplet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427341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HAPTER DIVIDER 1_1">
    <p:spTree>
      <p:nvGrpSpPr>
        <p:cNvPr id="1" name=""/>
        <p:cNvGrpSpPr/>
        <p:nvPr/>
      </p:nvGrpSpPr>
      <p:grpSpPr>
        <a:xfrm>
          <a:off x="0" y="0"/>
          <a:ext cx="0" cy="0"/>
          <a:chOff x="0" y="0"/>
          <a:chExt cx="0" cy="0"/>
        </a:xfrm>
      </p:grpSpPr>
      <p:pic>
        <p:nvPicPr>
          <p:cNvPr id="4" name="Imagem 3" descr="Interface gráfica do usuário&#10;&#10;Descrição gerada automaticamente">
            <a:extLst>
              <a:ext uri="{FF2B5EF4-FFF2-40B4-BE49-F238E27FC236}">
                <a16:creationId xmlns:a16="http://schemas.microsoft.com/office/drawing/2014/main" id="{A5FD5AFD-E99D-521F-A9ED-20F629B81C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C9AEC75B-B2E4-B06B-3452-A06E168E26E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50938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lide standar sin flecha" preserve="1">
  <p:cSld name="1_slide standar sin flecha">
    <p:spTree>
      <p:nvGrpSpPr>
        <p:cNvPr id="1" name="Shape 2628"/>
        <p:cNvGrpSpPr/>
        <p:nvPr/>
      </p:nvGrpSpPr>
      <p:grpSpPr>
        <a:xfrm>
          <a:off x="0" y="0"/>
          <a:ext cx="0" cy="0"/>
          <a:chOff x="0" y="0"/>
          <a:chExt cx="0" cy="0"/>
        </a:xfrm>
      </p:grpSpPr>
      <p:pic>
        <p:nvPicPr>
          <p:cNvPr id="2" name="Imagem 1">
            <a:extLst>
              <a:ext uri="{FF2B5EF4-FFF2-40B4-BE49-F238E27FC236}">
                <a16:creationId xmlns:a16="http://schemas.microsoft.com/office/drawing/2014/main" id="{EC91B323-46A3-3902-4108-E6D3124E81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áfico 3">
            <a:extLst>
              <a:ext uri="{FF2B5EF4-FFF2-40B4-BE49-F238E27FC236}">
                <a16:creationId xmlns:a16="http://schemas.microsoft.com/office/drawing/2014/main" id="{06CC7112-282F-A3B2-333C-2B5583518C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5" name="Espaço Reservado para Número de Slide 5">
            <a:extLst>
              <a:ext uri="{FF2B5EF4-FFF2-40B4-BE49-F238E27FC236}">
                <a16:creationId xmlns:a16="http://schemas.microsoft.com/office/drawing/2014/main" id="{6D625B49-19F7-D6A9-18A5-D72E63F4AC4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254248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foto7" preserve="1">
  <p:cSld name="1_foto7">
    <p:spTree>
      <p:nvGrpSpPr>
        <p:cNvPr id="1" name="Shape 2949"/>
        <p:cNvGrpSpPr/>
        <p:nvPr/>
      </p:nvGrpSpPr>
      <p:grpSpPr>
        <a:xfrm>
          <a:off x="0" y="0"/>
          <a:ext cx="0" cy="0"/>
          <a:chOff x="0" y="0"/>
          <a:chExt cx="0" cy="0"/>
        </a:xfrm>
      </p:grpSpPr>
      <p:pic>
        <p:nvPicPr>
          <p:cNvPr id="6" name="Imagem 5" descr="Homem sentado na cadeira&#10;&#10;Descrição gerada automaticamente">
            <a:extLst>
              <a:ext uri="{FF2B5EF4-FFF2-40B4-BE49-F238E27FC236}">
                <a16:creationId xmlns:a16="http://schemas.microsoft.com/office/drawing/2014/main" id="{A9FBA4F1-8A59-7334-001E-F807643A72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4ACFFA2-A729-0FA7-3FFF-72649852085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8" name="Espaço Reservado para Número de Slide 5">
            <a:extLst>
              <a:ext uri="{FF2B5EF4-FFF2-40B4-BE49-F238E27FC236}">
                <a16:creationId xmlns:a16="http://schemas.microsoft.com/office/drawing/2014/main" id="{2F02390E-269C-8B15-8657-1BB23E2FECD5}"/>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9" name="Gráfico 8">
            <a:extLst>
              <a:ext uri="{FF2B5EF4-FFF2-40B4-BE49-F238E27FC236}">
                <a16:creationId xmlns:a16="http://schemas.microsoft.com/office/drawing/2014/main" id="{BB2BD362-04E1-36D9-921C-F51C40F2F6C0}"/>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1" t="-1" r="-688" b="-17072"/>
          <a:stretch/>
        </p:blipFill>
        <p:spPr>
          <a:xfrm>
            <a:off x="1046375" y="6283779"/>
            <a:ext cx="4335250" cy="510265"/>
          </a:xfrm>
          <a:prstGeom prst="rect">
            <a:avLst/>
          </a:prstGeom>
        </p:spPr>
      </p:pic>
    </p:spTree>
    <p:extLst>
      <p:ext uri="{BB962C8B-B14F-4D97-AF65-F5344CB8AC3E}">
        <p14:creationId xmlns:p14="http://schemas.microsoft.com/office/powerpoint/2010/main" val="127498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ráfico 2">
            <a:extLst>
              <a:ext uri="{FF2B5EF4-FFF2-40B4-BE49-F238E27FC236}">
                <a16:creationId xmlns:a16="http://schemas.microsoft.com/office/drawing/2014/main" id="{E9F9859F-4326-7ECD-A4F4-F471095124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49700" y="3699756"/>
            <a:ext cx="4292600" cy="872246"/>
          </a:xfrm>
          <a:prstGeom prst="rect">
            <a:avLst/>
          </a:prstGeom>
        </p:spPr>
      </p:pic>
      <p:pic>
        <p:nvPicPr>
          <p:cNvPr id="4" name="Gráfico 3">
            <a:extLst>
              <a:ext uri="{FF2B5EF4-FFF2-40B4-BE49-F238E27FC236}">
                <a16:creationId xmlns:a16="http://schemas.microsoft.com/office/drawing/2014/main" id="{3EEE3070-70A2-2696-E59A-4D5012527B1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1781"/>
          <a:stretch/>
        </p:blipFill>
        <p:spPr>
          <a:xfrm>
            <a:off x="0" y="6015706"/>
            <a:ext cx="1974850" cy="414596"/>
          </a:xfrm>
          <a:prstGeom prst="rect">
            <a:avLst/>
          </a:prstGeom>
        </p:spPr>
      </p:pic>
      <p:pic>
        <p:nvPicPr>
          <p:cNvPr id="5" name="Gráfico 4">
            <a:extLst>
              <a:ext uri="{FF2B5EF4-FFF2-40B4-BE49-F238E27FC236}">
                <a16:creationId xmlns:a16="http://schemas.microsoft.com/office/drawing/2014/main" id="{C3BEDC68-E47C-394A-E34E-8F2E80BA94C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1974850" y="6015706"/>
            <a:ext cx="4095591" cy="414596"/>
          </a:xfrm>
          <a:prstGeom prst="rect">
            <a:avLst/>
          </a:prstGeom>
        </p:spPr>
      </p:pic>
      <p:pic>
        <p:nvPicPr>
          <p:cNvPr id="6" name="Gráfico 5">
            <a:extLst>
              <a:ext uri="{FF2B5EF4-FFF2-40B4-BE49-F238E27FC236}">
                <a16:creationId xmlns:a16="http://schemas.microsoft.com/office/drawing/2014/main" id="{732F5A17-73A0-DC32-6830-EE61044E9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559" y="6015706"/>
            <a:ext cx="4095591" cy="414596"/>
          </a:xfrm>
          <a:prstGeom prst="rect">
            <a:avLst/>
          </a:prstGeom>
        </p:spPr>
      </p:pic>
      <p:pic>
        <p:nvPicPr>
          <p:cNvPr id="7" name="Gráfico 6">
            <a:extLst>
              <a:ext uri="{FF2B5EF4-FFF2-40B4-BE49-F238E27FC236}">
                <a16:creationId xmlns:a16="http://schemas.microsoft.com/office/drawing/2014/main" id="{73B3C80C-90EA-381D-4568-327422D2246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1781"/>
          <a:stretch/>
        </p:blipFill>
        <p:spPr>
          <a:xfrm rot="10800000">
            <a:off x="10217150" y="6015706"/>
            <a:ext cx="1974850" cy="414596"/>
          </a:xfrm>
          <a:prstGeom prst="rect">
            <a:avLst/>
          </a:prstGeom>
        </p:spPr>
      </p:pic>
      <p:sp>
        <p:nvSpPr>
          <p:cNvPr id="12" name="Retângulo 11">
            <a:extLst>
              <a:ext uri="{FF2B5EF4-FFF2-40B4-BE49-F238E27FC236}">
                <a16:creationId xmlns:a16="http://schemas.microsoft.com/office/drawing/2014/main" id="{157ACFF3-AFF2-ABF0-2EFE-F0C4AEAF49A8}"/>
              </a:ext>
            </a:extLst>
          </p:cNvPr>
          <p:cNvSpPr/>
          <p:nvPr userDrawn="1"/>
        </p:nvSpPr>
        <p:spPr>
          <a:xfrm>
            <a:off x="4024314" y="5653346"/>
            <a:ext cx="4133850" cy="962025"/>
          </a:xfrm>
          <a:prstGeom prst="rect">
            <a:avLst/>
          </a:prstGeom>
          <a:solidFill>
            <a:srgbClr val="4619FF"/>
          </a:solidFill>
          <a:ln>
            <a:solidFill>
              <a:srgbClr val="4619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6" name="Gráfico 15">
            <a:extLst>
              <a:ext uri="{FF2B5EF4-FFF2-40B4-BE49-F238E27FC236}">
                <a16:creationId xmlns:a16="http://schemas.microsoft.com/office/drawing/2014/main" id="{99130A59-88AA-273E-B679-851CDBE323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019" y="5794042"/>
            <a:ext cx="2725962" cy="756000"/>
          </a:xfrm>
          <a:prstGeom prst="rect">
            <a:avLst/>
          </a:prstGeom>
        </p:spPr>
      </p:pic>
    </p:spTree>
    <p:extLst>
      <p:ext uri="{BB962C8B-B14F-4D97-AF65-F5344CB8AC3E}">
        <p14:creationId xmlns:p14="http://schemas.microsoft.com/office/powerpoint/2010/main" val="28500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Gráfico 3">
            <a:extLst>
              <a:ext uri="{FF2B5EF4-FFF2-40B4-BE49-F238E27FC236}">
                <a16:creationId xmlns:a16="http://schemas.microsoft.com/office/drawing/2014/main" id="{3EEE3070-70A2-2696-E59A-4D5012527B1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1781"/>
          <a:stretch/>
        </p:blipFill>
        <p:spPr>
          <a:xfrm>
            <a:off x="0" y="6015706"/>
            <a:ext cx="1974850" cy="414596"/>
          </a:xfrm>
          <a:prstGeom prst="rect">
            <a:avLst/>
          </a:prstGeom>
        </p:spPr>
      </p:pic>
      <p:pic>
        <p:nvPicPr>
          <p:cNvPr id="5" name="Gráfico 4">
            <a:extLst>
              <a:ext uri="{FF2B5EF4-FFF2-40B4-BE49-F238E27FC236}">
                <a16:creationId xmlns:a16="http://schemas.microsoft.com/office/drawing/2014/main" id="{C3BEDC68-E47C-394A-E34E-8F2E80BA94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1974850" y="6015706"/>
            <a:ext cx="4095591" cy="414596"/>
          </a:xfrm>
          <a:prstGeom prst="rect">
            <a:avLst/>
          </a:prstGeom>
        </p:spPr>
      </p:pic>
      <p:pic>
        <p:nvPicPr>
          <p:cNvPr id="6" name="Gráfico 5">
            <a:extLst>
              <a:ext uri="{FF2B5EF4-FFF2-40B4-BE49-F238E27FC236}">
                <a16:creationId xmlns:a16="http://schemas.microsoft.com/office/drawing/2014/main" id="{732F5A17-73A0-DC32-6830-EE61044E99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21559" y="6015706"/>
            <a:ext cx="4095591" cy="414596"/>
          </a:xfrm>
          <a:prstGeom prst="rect">
            <a:avLst/>
          </a:prstGeom>
        </p:spPr>
      </p:pic>
      <p:pic>
        <p:nvPicPr>
          <p:cNvPr id="7" name="Gráfico 6">
            <a:extLst>
              <a:ext uri="{FF2B5EF4-FFF2-40B4-BE49-F238E27FC236}">
                <a16:creationId xmlns:a16="http://schemas.microsoft.com/office/drawing/2014/main" id="{73B3C80C-90EA-381D-4568-327422D2246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1781"/>
          <a:stretch/>
        </p:blipFill>
        <p:spPr>
          <a:xfrm rot="10800000">
            <a:off x="10217150" y="6015706"/>
            <a:ext cx="1974850" cy="414596"/>
          </a:xfrm>
          <a:prstGeom prst="rect">
            <a:avLst/>
          </a:prstGeom>
        </p:spPr>
      </p:pic>
      <p:pic>
        <p:nvPicPr>
          <p:cNvPr id="9" name="Gráfico 8">
            <a:extLst>
              <a:ext uri="{FF2B5EF4-FFF2-40B4-BE49-F238E27FC236}">
                <a16:creationId xmlns:a16="http://schemas.microsoft.com/office/drawing/2014/main" id="{99130A59-88AA-273E-B679-851CDBE323B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32717" y="2875811"/>
            <a:ext cx="3926566" cy="1088968"/>
          </a:xfrm>
          <a:prstGeom prst="rect">
            <a:avLst/>
          </a:prstGeom>
        </p:spPr>
      </p:pic>
    </p:spTree>
    <p:extLst>
      <p:ext uri="{BB962C8B-B14F-4D97-AF65-F5344CB8AC3E}">
        <p14:creationId xmlns:p14="http://schemas.microsoft.com/office/powerpoint/2010/main" val="96666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BACKCOVER_1">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3EEE3070-70A2-2696-E59A-4D5012527B1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1781"/>
          <a:stretch/>
        </p:blipFill>
        <p:spPr>
          <a:xfrm>
            <a:off x="0" y="6015706"/>
            <a:ext cx="1974850" cy="414596"/>
          </a:xfrm>
          <a:prstGeom prst="rect">
            <a:avLst/>
          </a:prstGeom>
        </p:spPr>
      </p:pic>
      <p:pic>
        <p:nvPicPr>
          <p:cNvPr id="5" name="Gráfico 4">
            <a:extLst>
              <a:ext uri="{FF2B5EF4-FFF2-40B4-BE49-F238E27FC236}">
                <a16:creationId xmlns:a16="http://schemas.microsoft.com/office/drawing/2014/main" id="{C3BEDC68-E47C-394A-E34E-8F2E80BA94C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1974850" y="6015706"/>
            <a:ext cx="4095591" cy="414596"/>
          </a:xfrm>
          <a:prstGeom prst="rect">
            <a:avLst/>
          </a:prstGeom>
        </p:spPr>
      </p:pic>
      <p:pic>
        <p:nvPicPr>
          <p:cNvPr id="6" name="Gráfico 5">
            <a:extLst>
              <a:ext uri="{FF2B5EF4-FFF2-40B4-BE49-F238E27FC236}">
                <a16:creationId xmlns:a16="http://schemas.microsoft.com/office/drawing/2014/main" id="{732F5A17-73A0-DC32-6830-EE61044E99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21559" y="6015706"/>
            <a:ext cx="4095591" cy="414596"/>
          </a:xfrm>
          <a:prstGeom prst="rect">
            <a:avLst/>
          </a:prstGeom>
        </p:spPr>
      </p:pic>
      <p:pic>
        <p:nvPicPr>
          <p:cNvPr id="7" name="Gráfico 6">
            <a:extLst>
              <a:ext uri="{FF2B5EF4-FFF2-40B4-BE49-F238E27FC236}">
                <a16:creationId xmlns:a16="http://schemas.microsoft.com/office/drawing/2014/main" id="{73B3C80C-90EA-381D-4568-327422D2246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1781"/>
          <a:stretch/>
        </p:blipFill>
        <p:spPr>
          <a:xfrm rot="10800000">
            <a:off x="10217150" y="6015706"/>
            <a:ext cx="1974850" cy="414596"/>
          </a:xfrm>
          <a:prstGeom prst="rect">
            <a:avLst/>
          </a:prstGeom>
        </p:spPr>
      </p:pic>
      <p:pic>
        <p:nvPicPr>
          <p:cNvPr id="10" name="Gráfico 9">
            <a:extLst>
              <a:ext uri="{FF2B5EF4-FFF2-40B4-BE49-F238E27FC236}">
                <a16:creationId xmlns:a16="http://schemas.microsoft.com/office/drawing/2014/main" id="{CD89BF56-377F-F01A-0F85-0FEC864EDCE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132717" y="2884516"/>
            <a:ext cx="3926566" cy="1088968"/>
          </a:xfrm>
          <a:prstGeom prst="rect">
            <a:avLst/>
          </a:prstGeom>
        </p:spPr>
      </p:pic>
    </p:spTree>
    <p:extLst>
      <p:ext uri="{BB962C8B-B14F-4D97-AF65-F5344CB8AC3E}">
        <p14:creationId xmlns:p14="http://schemas.microsoft.com/office/powerpoint/2010/main" val="413963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BACKCOVER_1">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CFBFE0D8-F770-1EB6-D4F5-5F7B6508F70E}"/>
              </a:ext>
            </a:extLst>
          </p:cNvPr>
          <p:cNvSpPr/>
          <p:nvPr userDrawn="1"/>
        </p:nvSpPr>
        <p:spPr>
          <a:xfrm>
            <a:off x="0" y="0"/>
            <a:ext cx="12192000" cy="6858000"/>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Imagem 5" descr="Texto&#10;&#10;Descrição gerada automaticamente">
            <a:extLst>
              <a:ext uri="{FF2B5EF4-FFF2-40B4-BE49-F238E27FC236}">
                <a16:creationId xmlns:a16="http://schemas.microsoft.com/office/drawing/2014/main" id="{B4D8D7CC-EBD3-C5CC-AF1A-7FAB74FC17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4619FF"/>
          </a:solidFill>
        </p:spPr>
      </p:pic>
      <p:sp>
        <p:nvSpPr>
          <p:cNvPr id="7" name="Retângulo 6">
            <a:extLst>
              <a:ext uri="{FF2B5EF4-FFF2-40B4-BE49-F238E27FC236}">
                <a16:creationId xmlns:a16="http://schemas.microsoft.com/office/drawing/2014/main" id="{AEC07367-63D5-18A3-F9ED-420B94BF00EA}"/>
              </a:ext>
            </a:extLst>
          </p:cNvPr>
          <p:cNvSpPr/>
          <p:nvPr userDrawn="1"/>
        </p:nvSpPr>
        <p:spPr>
          <a:xfrm>
            <a:off x="0" y="0"/>
            <a:ext cx="12192000" cy="16256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Gráfico 8">
            <a:extLst>
              <a:ext uri="{FF2B5EF4-FFF2-40B4-BE49-F238E27FC236}">
                <a16:creationId xmlns:a16="http://schemas.microsoft.com/office/drawing/2014/main" id="{ED845398-7E49-1702-84F5-37D9817E3C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49700" y="2397141"/>
            <a:ext cx="4292600" cy="872246"/>
          </a:xfrm>
          <a:prstGeom prst="rect">
            <a:avLst/>
          </a:prstGeom>
        </p:spPr>
      </p:pic>
      <p:pic>
        <p:nvPicPr>
          <p:cNvPr id="12" name="Gráfico 11">
            <a:extLst>
              <a:ext uri="{FF2B5EF4-FFF2-40B4-BE49-F238E27FC236}">
                <a16:creationId xmlns:a16="http://schemas.microsoft.com/office/drawing/2014/main" id="{9CA4A6DA-D8E3-D427-5734-ADFF0FEC304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33019" y="3702432"/>
            <a:ext cx="2725962" cy="756000"/>
          </a:xfrm>
          <a:prstGeom prst="rect">
            <a:avLst/>
          </a:prstGeom>
        </p:spPr>
      </p:pic>
    </p:spTree>
    <p:extLst>
      <p:ext uri="{BB962C8B-B14F-4D97-AF65-F5344CB8AC3E}">
        <p14:creationId xmlns:p14="http://schemas.microsoft.com/office/powerpoint/2010/main" val="186137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7_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 name="Imagem 4" descr="Texto&#10;&#10;Descrição gerada automaticamente">
            <a:extLst>
              <a:ext uri="{FF2B5EF4-FFF2-40B4-BE49-F238E27FC236}">
                <a16:creationId xmlns:a16="http://schemas.microsoft.com/office/drawing/2014/main" id="{B589486D-A73A-4A73-B4F5-1D5AAD3FB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1143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FOTO2" preserve="1">
  <p:cSld name="1_FOTO2">
    <p:spTree>
      <p:nvGrpSpPr>
        <p:cNvPr id="1" name="Shape 22"/>
        <p:cNvGrpSpPr/>
        <p:nvPr/>
      </p:nvGrpSpPr>
      <p:grpSpPr>
        <a:xfrm>
          <a:off x="0" y="0"/>
          <a:ext cx="0" cy="0"/>
          <a:chOff x="0" y="0"/>
          <a:chExt cx="0" cy="0"/>
        </a:xfrm>
      </p:grpSpPr>
    </p:spTree>
    <p:extLst>
      <p:ext uri="{BB962C8B-B14F-4D97-AF65-F5344CB8AC3E}">
        <p14:creationId xmlns:p14="http://schemas.microsoft.com/office/powerpoint/2010/main" val="403929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Diapositiva de título" type="title" preserve="1">
  <p:cSld name="1_Diapositiva de título">
    <p:spTree>
      <p:nvGrpSpPr>
        <p:cNvPr id="1" name="Shape 977"/>
        <p:cNvGrpSpPr/>
        <p:nvPr/>
      </p:nvGrpSpPr>
      <p:grpSpPr>
        <a:xfrm>
          <a:off x="0" y="0"/>
          <a:ext cx="0" cy="0"/>
          <a:chOff x="0" y="0"/>
          <a:chExt cx="0" cy="0"/>
        </a:xfrm>
      </p:grpSpPr>
      <p:sp>
        <p:nvSpPr>
          <p:cNvPr id="978" name="Google Shape;978;g9a9e5acae6_0_1914"/>
          <p:cNvSpPr txBox="1">
            <a:spLocks noGrp="1"/>
          </p:cNvSpPr>
          <p:nvPr>
            <p:ph type="ctrTitle"/>
          </p:nvPr>
        </p:nvSpPr>
        <p:spPr>
          <a:xfrm>
            <a:off x="1524000" y="1122363"/>
            <a:ext cx="9144000" cy="2387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979" name="Google Shape;979;g9a9e5acae6_0_1914"/>
          <p:cNvSpPr txBox="1">
            <a:spLocks noGrp="1"/>
          </p:cNvSpPr>
          <p:nvPr>
            <p:ph type="subTitle" idx="1"/>
          </p:nvPr>
        </p:nvSpPr>
        <p:spPr>
          <a:xfrm>
            <a:off x="1524000" y="3602038"/>
            <a:ext cx="9144000" cy="1655700"/>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980" name="Google Shape;980;g9a9e5acae6_0_1914"/>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81" name="Google Shape;981;g9a9e5acae6_0_1914"/>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82" name="Google Shape;982;g9a9e5acae6_0_1914"/>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nº›</a:t>
            </a:fld>
            <a:endParaRPr/>
          </a:p>
        </p:txBody>
      </p:sp>
    </p:spTree>
    <p:extLst>
      <p:ext uri="{BB962C8B-B14F-4D97-AF65-F5344CB8AC3E}">
        <p14:creationId xmlns:p14="http://schemas.microsoft.com/office/powerpoint/2010/main" val="7698645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New Layout jan 23">
    <p:spTree>
      <p:nvGrpSpPr>
        <p:cNvPr id="1" name=""/>
        <p:cNvGrpSpPr/>
        <p:nvPr/>
      </p:nvGrpSpPr>
      <p:grpSpPr>
        <a:xfrm>
          <a:off x="0" y="0"/>
          <a:ext cx="0" cy="0"/>
          <a:chOff x="0" y="0"/>
          <a:chExt cx="0" cy="0"/>
        </a:xfrm>
      </p:grpSpPr>
      <p:pic>
        <p:nvPicPr>
          <p:cNvPr id="3" name="Gráfico 2">
            <a:extLst>
              <a:ext uri="{FF2B5EF4-FFF2-40B4-BE49-F238E27FC236}">
                <a16:creationId xmlns:a16="http://schemas.microsoft.com/office/drawing/2014/main" id="{FD02E212-ABD3-2004-5FEE-B8F9CA1EDD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4" name="Espaço Reservado para Número de Slide 5">
            <a:extLst>
              <a:ext uri="{FF2B5EF4-FFF2-40B4-BE49-F238E27FC236}">
                <a16:creationId xmlns:a16="http://schemas.microsoft.com/office/drawing/2014/main" id="{91113902-44C3-EB5F-6316-65175A516E2B}"/>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1" name="Gráfico 10">
            <a:extLst>
              <a:ext uri="{FF2B5EF4-FFF2-40B4-BE49-F238E27FC236}">
                <a16:creationId xmlns:a16="http://schemas.microsoft.com/office/drawing/2014/main" id="{C2A0D289-0D27-547B-6DE2-69640D0FA23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210133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HAPTER DIVIDER 2_1">
    <p:spTree>
      <p:nvGrpSpPr>
        <p:cNvPr id="1" name=""/>
        <p:cNvGrpSpPr/>
        <p:nvPr/>
      </p:nvGrpSpPr>
      <p:grpSpPr>
        <a:xfrm>
          <a:off x="0" y="0"/>
          <a:ext cx="0" cy="0"/>
          <a:chOff x="0" y="0"/>
          <a:chExt cx="0" cy="0"/>
        </a:xfrm>
      </p:grpSpPr>
      <p:pic>
        <p:nvPicPr>
          <p:cNvPr id="4" name="Imagem 3" descr="Interface gráfica do usuário, Aplicativo&#10;&#10;Descrição gerada automaticamente">
            <a:extLst>
              <a:ext uri="{FF2B5EF4-FFF2-40B4-BE49-F238E27FC236}">
                <a16:creationId xmlns:a16="http://schemas.microsoft.com/office/drawing/2014/main" id="{A84F176E-E61A-A45A-9A44-78E3806FFC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4580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Somente Título - Seção 5, 8">
    <p:spTree>
      <p:nvGrpSpPr>
        <p:cNvPr id="1" name=""/>
        <p:cNvGrpSpPr/>
        <p:nvPr/>
      </p:nvGrpSpPr>
      <p:grpSpPr>
        <a:xfrm>
          <a:off x="0" y="0"/>
          <a:ext cx="0" cy="0"/>
          <a:chOff x="0" y="0"/>
          <a:chExt cx="0" cy="0"/>
        </a:xfrm>
      </p:grpSpPr>
      <p:sp>
        <p:nvSpPr>
          <p:cNvPr id="9" name="Espaço Reservado para Número de Slide 2">
            <a:extLst>
              <a:ext uri="{FF2B5EF4-FFF2-40B4-BE49-F238E27FC236}">
                <a16:creationId xmlns:a16="http://schemas.microsoft.com/office/drawing/2014/main" id="{4F2684CE-D657-4F34-BC54-247E47B4C55E}"/>
              </a:ext>
            </a:extLst>
          </p:cNvPr>
          <p:cNvSpPr txBox="1">
            <a:spLocks/>
          </p:cNvSpPr>
          <p:nvPr/>
        </p:nvSpPr>
        <p:spPr>
          <a:xfrm>
            <a:off x="11703519" y="6454358"/>
            <a:ext cx="391206" cy="331124"/>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3952CB8-C724-4CF5-8F79-0DA4B43FAA2B}" type="slidenum">
              <a:rPr lang="pt-BR" sz="800" b="1" smtClean="0">
                <a:solidFill>
                  <a:schemeClr val="bg1">
                    <a:lumMod val="50000"/>
                  </a:schemeClr>
                </a:solidFill>
              </a:rPr>
              <a:pPr algn="r"/>
              <a:t>‹nº›</a:t>
            </a:fld>
            <a:endParaRPr lang="pt-BR" sz="800" b="1">
              <a:solidFill>
                <a:schemeClr val="bg1">
                  <a:lumMod val="50000"/>
                </a:schemeClr>
              </a:solidFill>
            </a:endParaRPr>
          </a:p>
        </p:txBody>
      </p:sp>
      <p:sp>
        <p:nvSpPr>
          <p:cNvPr id="12" name="Título 11">
            <a:extLst>
              <a:ext uri="{FF2B5EF4-FFF2-40B4-BE49-F238E27FC236}">
                <a16:creationId xmlns:a16="http://schemas.microsoft.com/office/drawing/2014/main" id="{9E5012D1-954F-449F-81AC-4F24E94FD365}"/>
              </a:ext>
            </a:extLst>
          </p:cNvPr>
          <p:cNvSpPr>
            <a:spLocks noGrp="1"/>
          </p:cNvSpPr>
          <p:nvPr>
            <p:ph type="title"/>
          </p:nvPr>
        </p:nvSpPr>
        <p:spPr>
          <a:xfrm>
            <a:off x="647424" y="611547"/>
            <a:ext cx="9273810" cy="403056"/>
          </a:xfrm>
          <a:prstGeom prst="rect">
            <a:avLst/>
          </a:prstGeom>
        </p:spPr>
        <p:txBody>
          <a:bodyPr vert="horz" lIns="91440" tIns="45720" rIns="91440" bIns="45720" rtlCol="0" anchor="ctr">
            <a:noAutofit/>
          </a:bodyPr>
          <a:lstStyle>
            <a:lvl1pPr>
              <a:defRPr lang="en-US" sz="2400" b="1">
                <a:solidFill>
                  <a:srgbClr val="01426A"/>
                </a:solidFill>
                <a:latin typeface="+mn-lt"/>
                <a:ea typeface="+mn-ea"/>
                <a:cs typeface="+mn-cs"/>
              </a:defRPr>
            </a:lvl1pPr>
          </a:lstStyle>
          <a:p>
            <a:pPr marL="0" lvl="0" indent="0">
              <a:spcBef>
                <a:spcPts val="1000"/>
              </a:spcBef>
              <a:buFont typeface="Arial" panose="020B0604020202020204" pitchFamily="34" charset="0"/>
            </a:pPr>
            <a:r>
              <a:rPr lang="pt-BR" dirty="0"/>
              <a:t>Clique para editar o título Mestre</a:t>
            </a:r>
            <a:endParaRPr lang="en-US" dirty="0"/>
          </a:p>
        </p:txBody>
      </p:sp>
    </p:spTree>
    <p:extLst>
      <p:ext uri="{BB962C8B-B14F-4D97-AF65-F5344CB8AC3E}">
        <p14:creationId xmlns:p14="http://schemas.microsoft.com/office/powerpoint/2010/main" val="1456217313"/>
      </p:ext>
    </p:extLst>
  </p:cSld>
  <p:clrMapOvr>
    <a:masterClrMapping/>
  </p:clrMapOvr>
  <p:transition spd="slow">
    <p:wipe/>
  </p:transition>
  <p:extLst>
    <p:ext uri="{DCECCB84-F9BA-43D5-87BE-67443E8EF086}">
      <p15:sldGuideLst xmlns:p15="http://schemas.microsoft.com/office/powerpoint/2012/main">
        <p15:guide id="1" pos="393">
          <p15:clr>
            <a:srgbClr val="FBAE40"/>
          </p15:clr>
        </p15:guide>
        <p15:guide id="2" pos="7446">
          <p15:clr>
            <a:srgbClr val="FBAE40"/>
          </p15:clr>
        </p15:guide>
        <p15:guide id="3" orient="horz" pos="73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omente Título - Seção 1, 2, 13">
    <p:spTree>
      <p:nvGrpSpPr>
        <p:cNvPr id="1" name=""/>
        <p:cNvGrpSpPr/>
        <p:nvPr/>
      </p:nvGrpSpPr>
      <p:grpSpPr>
        <a:xfrm>
          <a:off x="0" y="0"/>
          <a:ext cx="0" cy="0"/>
          <a:chOff x="0" y="0"/>
          <a:chExt cx="0" cy="0"/>
        </a:xfrm>
      </p:grpSpPr>
      <p:cxnSp>
        <p:nvCxnSpPr>
          <p:cNvPr id="6" name="Conector Reto 5">
            <a:extLst>
              <a:ext uri="{FF2B5EF4-FFF2-40B4-BE49-F238E27FC236}">
                <a16:creationId xmlns:a16="http://schemas.microsoft.com/office/drawing/2014/main" id="{AE460A7B-3426-4584-9437-0F125277DEE0}"/>
              </a:ext>
            </a:extLst>
          </p:cNvPr>
          <p:cNvCxnSpPr/>
          <p:nvPr userDrawn="1"/>
        </p:nvCxnSpPr>
        <p:spPr>
          <a:xfrm>
            <a:off x="647424" y="6994358"/>
            <a:ext cx="0" cy="336884"/>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Conector Reto 5">
            <a:extLst>
              <a:ext uri="{FF2B5EF4-FFF2-40B4-BE49-F238E27FC236}">
                <a16:creationId xmlns:a16="http://schemas.microsoft.com/office/drawing/2014/main" id="{D7553414-3A77-43AE-B607-1E647DBA2D2C}"/>
              </a:ext>
            </a:extLst>
          </p:cNvPr>
          <p:cNvCxnSpPr/>
          <p:nvPr userDrawn="1"/>
        </p:nvCxnSpPr>
        <p:spPr>
          <a:xfrm>
            <a:off x="647424" y="-485942"/>
            <a:ext cx="0" cy="336884"/>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Espaço Reservado para Número de Slide 2">
            <a:extLst>
              <a:ext uri="{FF2B5EF4-FFF2-40B4-BE49-F238E27FC236}">
                <a16:creationId xmlns:a16="http://schemas.microsoft.com/office/drawing/2014/main" id="{4F2684CE-D657-4F34-BC54-247E47B4C55E}"/>
              </a:ext>
            </a:extLst>
          </p:cNvPr>
          <p:cNvSpPr txBox="1">
            <a:spLocks/>
          </p:cNvSpPr>
          <p:nvPr userDrawn="1"/>
        </p:nvSpPr>
        <p:spPr>
          <a:xfrm>
            <a:off x="11703519" y="6454358"/>
            <a:ext cx="391206" cy="331124"/>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3952CB8-C724-4CF5-8F79-0DA4B43FAA2B}" type="slidenum">
              <a:rPr lang="pt-BR" sz="800" b="1" smtClean="0">
                <a:solidFill>
                  <a:schemeClr val="bg1">
                    <a:lumMod val="50000"/>
                  </a:schemeClr>
                </a:solidFill>
              </a:rPr>
              <a:pPr algn="r"/>
              <a:t>‹nº›</a:t>
            </a:fld>
            <a:endParaRPr lang="pt-BR" sz="800" b="1">
              <a:solidFill>
                <a:schemeClr val="bg1">
                  <a:lumMod val="50000"/>
                </a:schemeClr>
              </a:solidFill>
            </a:endParaRPr>
          </a:p>
        </p:txBody>
      </p:sp>
      <p:sp>
        <p:nvSpPr>
          <p:cNvPr id="12" name="Título 11">
            <a:extLst>
              <a:ext uri="{FF2B5EF4-FFF2-40B4-BE49-F238E27FC236}">
                <a16:creationId xmlns:a16="http://schemas.microsoft.com/office/drawing/2014/main" id="{9E5012D1-954F-449F-81AC-4F24E94FD365}"/>
              </a:ext>
            </a:extLst>
          </p:cNvPr>
          <p:cNvSpPr>
            <a:spLocks noGrp="1"/>
          </p:cNvSpPr>
          <p:nvPr>
            <p:ph type="title"/>
          </p:nvPr>
        </p:nvSpPr>
        <p:spPr>
          <a:xfrm>
            <a:off x="647424" y="611547"/>
            <a:ext cx="9273810" cy="403056"/>
          </a:xfrm>
          <a:prstGeom prst="rect">
            <a:avLst/>
          </a:prstGeom>
        </p:spPr>
        <p:txBody>
          <a:bodyPr vert="horz" lIns="91440" tIns="45720" rIns="91440" bIns="45720" rtlCol="0" anchor="ctr">
            <a:noAutofit/>
          </a:bodyPr>
          <a:lstStyle>
            <a:lvl1pPr>
              <a:defRPr lang="en-US" sz="2400" b="1">
                <a:solidFill>
                  <a:srgbClr val="01426A"/>
                </a:solidFill>
                <a:latin typeface="+mn-lt"/>
                <a:ea typeface="+mn-ea"/>
                <a:cs typeface="+mn-cs"/>
              </a:defRPr>
            </a:lvl1pPr>
          </a:lstStyle>
          <a:p>
            <a:pPr marL="0" lvl="0" indent="0">
              <a:spcBef>
                <a:spcPts val="1000"/>
              </a:spcBef>
              <a:buFont typeface="Arial" panose="020B0604020202020204" pitchFamily="34" charset="0"/>
            </a:pPr>
            <a:r>
              <a:rPr lang="pt-BR" dirty="0"/>
              <a:t>Clique para editar o título mestre</a:t>
            </a:r>
            <a:endParaRPr lang="en-US" dirty="0"/>
          </a:p>
        </p:txBody>
      </p:sp>
    </p:spTree>
    <p:extLst>
      <p:ext uri="{BB962C8B-B14F-4D97-AF65-F5344CB8AC3E}">
        <p14:creationId xmlns:p14="http://schemas.microsoft.com/office/powerpoint/2010/main" val="1353311322"/>
      </p:ext>
    </p:extLst>
  </p:cSld>
  <p:clrMapOvr>
    <a:masterClrMapping/>
  </p:clrMapOvr>
  <p:transition spd="slow">
    <p:wipe/>
  </p:transition>
  <p:extLst>
    <p:ext uri="{DCECCB84-F9BA-43D5-87BE-67443E8EF086}">
      <p15:sldGuideLst xmlns:p15="http://schemas.microsoft.com/office/powerpoint/2012/main">
        <p15:guide id="1" pos="415">
          <p15:clr>
            <a:srgbClr val="FBAE40"/>
          </p15:clr>
        </p15:guide>
        <p15:guide id="2" pos="7446">
          <p15:clr>
            <a:srgbClr val="FBAE40"/>
          </p15:clr>
        </p15:guide>
        <p15:guide id="3" orient="horz" pos="73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fotogrande2">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564777B-6BD4-4CE7-85D8-35F5C4243E59}"/>
              </a:ext>
            </a:extLst>
          </p:cNvPr>
          <p:cNvSpPr>
            <a:spLocks noGrp="1"/>
          </p:cNvSpPr>
          <p:nvPr>
            <p:ph type="title"/>
          </p:nvPr>
        </p:nvSpPr>
        <p:spPr>
          <a:xfrm>
            <a:off x="647700" y="134483"/>
            <a:ext cx="11224890" cy="614684"/>
          </a:xfrm>
          <a:prstGeom prst="rect">
            <a:avLst/>
          </a:prstGeom>
        </p:spPr>
        <p:txBody>
          <a:bodyPr anchor="ctr">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pic>
        <p:nvPicPr>
          <p:cNvPr id="5" name="Gráfico 4">
            <a:extLst>
              <a:ext uri="{FF2B5EF4-FFF2-40B4-BE49-F238E27FC236}">
                <a16:creationId xmlns:a16="http://schemas.microsoft.com/office/drawing/2014/main" id="{153BED9A-CC01-A302-B3F9-7925BE950E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2C8A6F1E-6202-2367-F18A-EC246F579648}"/>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4" name="Gráfico 13">
            <a:extLst>
              <a:ext uri="{FF2B5EF4-FFF2-40B4-BE49-F238E27FC236}">
                <a16:creationId xmlns:a16="http://schemas.microsoft.com/office/drawing/2014/main" id="{7E4794C2-5337-2916-CA40-8D5E302DC27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Retângulo 1">
            <a:extLst>
              <a:ext uri="{FF2B5EF4-FFF2-40B4-BE49-F238E27FC236}">
                <a16:creationId xmlns:a16="http://schemas.microsoft.com/office/drawing/2014/main" id="{C122C80B-672B-A402-917F-3504D96F0391}"/>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21838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White back">
    <p:spTree>
      <p:nvGrpSpPr>
        <p:cNvPr id="1" name=""/>
        <p:cNvGrpSpPr/>
        <p:nvPr/>
      </p:nvGrpSpPr>
      <p:grpSpPr>
        <a:xfrm>
          <a:off x="0" y="0"/>
          <a:ext cx="0" cy="0"/>
          <a:chOff x="0" y="0"/>
          <a:chExt cx="0" cy="0"/>
        </a:xfrm>
      </p:grpSpPr>
      <p:pic>
        <p:nvPicPr>
          <p:cNvPr id="3" name="Gráfico 2">
            <a:extLst>
              <a:ext uri="{FF2B5EF4-FFF2-40B4-BE49-F238E27FC236}">
                <a16:creationId xmlns:a16="http://schemas.microsoft.com/office/drawing/2014/main" id="{37FEEF7E-B563-8084-78AA-2FAE455A1D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4" name="Espaço Reservado para Número de Slide 5">
            <a:extLst>
              <a:ext uri="{FF2B5EF4-FFF2-40B4-BE49-F238E27FC236}">
                <a16:creationId xmlns:a16="http://schemas.microsoft.com/office/drawing/2014/main" id="{F0AB396B-C059-CF1E-82E0-485959291EAB}"/>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5" name="Gráfico 4">
            <a:extLst>
              <a:ext uri="{FF2B5EF4-FFF2-40B4-BE49-F238E27FC236}">
                <a16:creationId xmlns:a16="http://schemas.microsoft.com/office/drawing/2014/main" id="{7FA0314A-4B9C-4357-5ED2-258CA266882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Retângulo 1">
            <a:extLst>
              <a:ext uri="{FF2B5EF4-FFF2-40B4-BE49-F238E27FC236}">
                <a16:creationId xmlns:a16="http://schemas.microsoft.com/office/drawing/2014/main" id="{9AFB5560-2F51-806D-536D-ACA0372BA028}"/>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544693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Diapositiva de título" preserve="1" userDrawn="1">
  <p:cSld name="1_Diapositiva de título">
    <p:spTree>
      <p:nvGrpSpPr>
        <p:cNvPr id="1" name="Shape 1552"/>
        <p:cNvGrpSpPr/>
        <p:nvPr/>
      </p:nvGrpSpPr>
      <p:grpSpPr>
        <a:xfrm>
          <a:off x="0" y="0"/>
          <a:ext cx="0" cy="0"/>
          <a:chOff x="0" y="0"/>
          <a:chExt cx="0" cy="0"/>
        </a:xfrm>
      </p:grpSpPr>
      <p:pic>
        <p:nvPicPr>
          <p:cNvPr id="2" name="Gráfico 1">
            <a:extLst>
              <a:ext uri="{FF2B5EF4-FFF2-40B4-BE49-F238E27FC236}">
                <a16:creationId xmlns:a16="http://schemas.microsoft.com/office/drawing/2014/main" id="{BDF1832D-292B-CC9D-A531-D5FFBF4B1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3" name="Espaço Reservado para Número de Slide 5">
            <a:extLst>
              <a:ext uri="{FF2B5EF4-FFF2-40B4-BE49-F238E27FC236}">
                <a16:creationId xmlns:a16="http://schemas.microsoft.com/office/drawing/2014/main" id="{B7900DB8-DD72-3E8C-2D0F-11720D203DA5}"/>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FA3417B1-9BCA-D172-625E-2634ACDB54C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5" name="Retângulo 4">
            <a:extLst>
              <a:ext uri="{FF2B5EF4-FFF2-40B4-BE49-F238E27FC236}">
                <a16:creationId xmlns:a16="http://schemas.microsoft.com/office/drawing/2014/main" id="{2B52E834-4EED-78D4-C330-A938AE5858C0}"/>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44856022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onteúdo com Legenda">
    <p:spTree>
      <p:nvGrpSpPr>
        <p:cNvPr id="1" name=""/>
        <p:cNvGrpSpPr/>
        <p:nvPr/>
      </p:nvGrpSpPr>
      <p:grpSpPr>
        <a:xfrm>
          <a:off x="0" y="0"/>
          <a:ext cx="0" cy="0"/>
          <a:chOff x="0" y="0"/>
          <a:chExt cx="0" cy="0"/>
        </a:xfrm>
      </p:grpSpPr>
      <p:pic>
        <p:nvPicPr>
          <p:cNvPr id="2" name="Gráfico 1">
            <a:extLst>
              <a:ext uri="{FF2B5EF4-FFF2-40B4-BE49-F238E27FC236}">
                <a16:creationId xmlns:a16="http://schemas.microsoft.com/office/drawing/2014/main" id="{1A333B64-CBB6-E3C8-8D14-AF715E7A13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6" name="Espaço Reservado para Número de Slide 5">
            <a:extLst>
              <a:ext uri="{FF2B5EF4-FFF2-40B4-BE49-F238E27FC236}">
                <a16:creationId xmlns:a16="http://schemas.microsoft.com/office/drawing/2014/main" id="{7FC66D09-03F7-BE60-28B1-51BBA6D38B5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7" name="Gráfico 6">
            <a:extLst>
              <a:ext uri="{FF2B5EF4-FFF2-40B4-BE49-F238E27FC236}">
                <a16:creationId xmlns:a16="http://schemas.microsoft.com/office/drawing/2014/main" id="{94A184F8-01BC-8594-1F0B-D0234D8651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3" name="Retângulo 2">
            <a:extLst>
              <a:ext uri="{FF2B5EF4-FFF2-40B4-BE49-F238E27FC236}">
                <a16:creationId xmlns:a16="http://schemas.microsoft.com/office/drawing/2014/main" id="{936812BA-1F5D-D05F-4DE0-A289AD357B97}"/>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541904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ULO + AREA VAZIA">
    <p:spTree>
      <p:nvGrpSpPr>
        <p:cNvPr id="1" name=""/>
        <p:cNvGrpSpPr/>
        <p:nvPr/>
      </p:nvGrpSpPr>
      <p:grpSpPr>
        <a:xfrm>
          <a:off x="0" y="0"/>
          <a:ext cx="0" cy="0"/>
          <a:chOff x="0" y="0"/>
          <a:chExt cx="0" cy="0"/>
        </a:xfrm>
      </p:grpSpPr>
      <p:sp>
        <p:nvSpPr>
          <p:cNvPr id="17" name="Espaço Reservado para Texto 23">
            <a:extLst>
              <a:ext uri="{FF2B5EF4-FFF2-40B4-BE49-F238E27FC236}">
                <a16:creationId xmlns:a16="http://schemas.microsoft.com/office/drawing/2014/main" id="{8699BC3B-10C2-1141-A251-ECECA11929C8}"/>
              </a:ext>
            </a:extLst>
          </p:cNvPr>
          <p:cNvSpPr>
            <a:spLocks noGrp="1"/>
          </p:cNvSpPr>
          <p:nvPr>
            <p:ph type="body" sz="quarter" idx="13" hasCustomPrompt="1"/>
          </p:nvPr>
        </p:nvSpPr>
        <p:spPr>
          <a:xfrm>
            <a:off x="-96552" y="611546"/>
            <a:ext cx="520980" cy="403057"/>
          </a:xfrm>
          <a:prstGeom prst="rect">
            <a:avLst/>
          </a:prstGeom>
        </p:spPr>
        <p:txBody>
          <a:bodyPr anchor="ctr">
            <a:noAutofit/>
          </a:bodyPr>
          <a:lstStyle>
            <a:lvl1pPr marL="0" indent="0" algn="r">
              <a:buNone/>
              <a:defRPr sz="1400" b="1">
                <a:solidFill>
                  <a:schemeClr val="bg1"/>
                </a:solidFill>
              </a:defRPr>
            </a:lvl1pPr>
          </a:lstStyle>
          <a:p>
            <a:r>
              <a:rPr lang="pt-BR"/>
              <a:t>00</a:t>
            </a:r>
          </a:p>
        </p:txBody>
      </p:sp>
      <p:sp>
        <p:nvSpPr>
          <p:cNvPr id="18" name="Espaço Reservado para Texto 28">
            <a:extLst>
              <a:ext uri="{FF2B5EF4-FFF2-40B4-BE49-F238E27FC236}">
                <a16:creationId xmlns:a16="http://schemas.microsoft.com/office/drawing/2014/main" id="{0FD5BC8D-530C-4743-A211-3BD4CA63385B}"/>
              </a:ext>
            </a:extLst>
          </p:cNvPr>
          <p:cNvSpPr>
            <a:spLocks noGrp="1"/>
          </p:cNvSpPr>
          <p:nvPr>
            <p:ph type="body" sz="quarter" idx="15" hasCustomPrompt="1"/>
          </p:nvPr>
        </p:nvSpPr>
        <p:spPr>
          <a:xfrm>
            <a:off x="647424" y="611546"/>
            <a:ext cx="9273815" cy="403057"/>
          </a:xfrm>
          <a:prstGeom prst="rect">
            <a:avLst/>
          </a:prstGeom>
        </p:spPr>
        <p:txBody>
          <a:bodyPr anchor="ctr">
            <a:noAutofit/>
          </a:bodyPr>
          <a:lstStyle>
            <a:lvl1pPr marL="0" indent="0">
              <a:buNone/>
              <a:defRPr sz="2400" b="1">
                <a:solidFill>
                  <a:srgbClr val="01426A"/>
                </a:solidFill>
              </a:defRPr>
            </a:lvl1pPr>
          </a:lstStyle>
          <a:p>
            <a:r>
              <a:rPr lang="pt-BR" dirty="0"/>
              <a:t>[Título]</a:t>
            </a:r>
          </a:p>
        </p:txBody>
      </p:sp>
      <p:pic>
        <p:nvPicPr>
          <p:cNvPr id="2" name="Gráfico 1">
            <a:extLst>
              <a:ext uri="{FF2B5EF4-FFF2-40B4-BE49-F238E27FC236}">
                <a16:creationId xmlns:a16="http://schemas.microsoft.com/office/drawing/2014/main" id="{2B640BFF-4CA0-F45C-407C-6252FDF2F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3" name="Espaço Reservado para Número de Slide 5">
            <a:extLst>
              <a:ext uri="{FF2B5EF4-FFF2-40B4-BE49-F238E27FC236}">
                <a16:creationId xmlns:a16="http://schemas.microsoft.com/office/drawing/2014/main" id="{2081555F-303A-314D-70C3-F95BD093AE28}"/>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EA367A1B-CD8F-207B-E6A4-8984636894F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28134090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ulo  + texto maior">
    <p:spTree>
      <p:nvGrpSpPr>
        <p:cNvPr id="1" name=""/>
        <p:cNvGrpSpPr/>
        <p:nvPr/>
      </p:nvGrpSpPr>
      <p:grpSpPr>
        <a:xfrm>
          <a:off x="0" y="0"/>
          <a:ext cx="0" cy="0"/>
          <a:chOff x="0" y="0"/>
          <a:chExt cx="0" cy="0"/>
        </a:xfrm>
      </p:grpSpPr>
      <p:sp>
        <p:nvSpPr>
          <p:cNvPr id="29" name="Espaço Reservado para Texto 28">
            <a:extLst>
              <a:ext uri="{FF2B5EF4-FFF2-40B4-BE49-F238E27FC236}">
                <a16:creationId xmlns:a16="http://schemas.microsoft.com/office/drawing/2014/main" id="{63091E80-B839-2F4E-A84F-81AB79F22B93}"/>
              </a:ext>
            </a:extLst>
          </p:cNvPr>
          <p:cNvSpPr>
            <a:spLocks noGrp="1"/>
          </p:cNvSpPr>
          <p:nvPr>
            <p:ph type="body" sz="quarter" idx="14" hasCustomPrompt="1"/>
          </p:nvPr>
        </p:nvSpPr>
        <p:spPr>
          <a:xfrm>
            <a:off x="647425" y="1185771"/>
            <a:ext cx="10834123" cy="5067111"/>
          </a:xfrm>
          <a:prstGeom prst="rect">
            <a:avLst/>
          </a:prstGeom>
        </p:spPr>
        <p:txBody>
          <a:bodyPr>
            <a:normAutofit/>
          </a:bodyPr>
          <a:lstStyle>
            <a:lvl1pPr marL="0" indent="0">
              <a:buNone/>
              <a:defRPr sz="1800">
                <a:solidFill>
                  <a:srgbClr val="262626"/>
                </a:solidFill>
                <a:latin typeface="+mj-lt"/>
              </a:defRPr>
            </a:lvl1pPr>
          </a:lstStyle>
          <a:p>
            <a:r>
              <a:rPr lang="pt-BR"/>
              <a:t>Texto maior </a:t>
            </a:r>
          </a:p>
        </p:txBody>
      </p:sp>
      <p:sp>
        <p:nvSpPr>
          <p:cNvPr id="21" name="Espaço Reservado para Texto 28">
            <a:extLst>
              <a:ext uri="{FF2B5EF4-FFF2-40B4-BE49-F238E27FC236}">
                <a16:creationId xmlns:a16="http://schemas.microsoft.com/office/drawing/2014/main" id="{4631C074-FA11-F442-ABED-FFFD9503F8F1}"/>
              </a:ext>
            </a:extLst>
          </p:cNvPr>
          <p:cNvSpPr>
            <a:spLocks noGrp="1"/>
          </p:cNvSpPr>
          <p:nvPr>
            <p:ph type="body" sz="quarter" idx="15" hasCustomPrompt="1"/>
          </p:nvPr>
        </p:nvSpPr>
        <p:spPr>
          <a:xfrm>
            <a:off x="647424" y="611546"/>
            <a:ext cx="9273815" cy="403057"/>
          </a:xfrm>
          <a:prstGeom prst="rect">
            <a:avLst/>
          </a:prstGeom>
        </p:spPr>
        <p:txBody>
          <a:bodyPr anchor="ctr">
            <a:noAutofit/>
          </a:bodyPr>
          <a:lstStyle>
            <a:lvl1pPr marL="0" indent="0">
              <a:buNone/>
              <a:defRPr sz="2400" b="1">
                <a:solidFill>
                  <a:srgbClr val="01426A"/>
                </a:solidFill>
              </a:defRPr>
            </a:lvl1pPr>
          </a:lstStyle>
          <a:p>
            <a:r>
              <a:rPr lang="pt-BR" dirty="0"/>
              <a:t>[Título]</a:t>
            </a:r>
          </a:p>
        </p:txBody>
      </p:sp>
      <p:pic>
        <p:nvPicPr>
          <p:cNvPr id="2" name="Gráfico 1">
            <a:extLst>
              <a:ext uri="{FF2B5EF4-FFF2-40B4-BE49-F238E27FC236}">
                <a16:creationId xmlns:a16="http://schemas.microsoft.com/office/drawing/2014/main" id="{6E7E8954-A475-1BEF-C291-C7B4472297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3" name="Espaço Reservado para Número de Slide 5">
            <a:extLst>
              <a:ext uri="{FF2B5EF4-FFF2-40B4-BE49-F238E27FC236}">
                <a16:creationId xmlns:a16="http://schemas.microsoft.com/office/drawing/2014/main" id="{79D529C8-C43C-421C-3645-6BD6E96AF32B}"/>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46338C7B-55FA-FFD6-244A-67825521F2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41992011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New Layout jan 23">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5B1A57A-2CAF-EDAA-4E30-A6827203F5AB}"/>
              </a:ext>
            </a:extLst>
          </p:cNvPr>
          <p:cNvSpPr>
            <a:spLocks noGrp="1"/>
          </p:cNvSpPr>
          <p:nvPr>
            <p:ph type="title" hasCustomPrompt="1"/>
          </p:nvPr>
        </p:nvSpPr>
        <p:spPr>
          <a:xfrm>
            <a:off x="190817" y="151440"/>
            <a:ext cx="11553177"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a:t>Clique para editar o título Mestre</a:t>
            </a:r>
          </a:p>
        </p:txBody>
      </p:sp>
      <p:pic>
        <p:nvPicPr>
          <p:cNvPr id="11" name="Gráfico 10">
            <a:extLst>
              <a:ext uri="{FF2B5EF4-FFF2-40B4-BE49-F238E27FC236}">
                <a16:creationId xmlns:a16="http://schemas.microsoft.com/office/drawing/2014/main" id="{53051C7B-D295-7820-F147-BCBF624884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12" name="Espaço Reservado para Número de Slide 5">
            <a:extLst>
              <a:ext uri="{FF2B5EF4-FFF2-40B4-BE49-F238E27FC236}">
                <a16:creationId xmlns:a16="http://schemas.microsoft.com/office/drawing/2014/main" id="{469CF49D-0B3E-4483-3450-73573BEFF48A}"/>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6" name="Gráfico 15">
            <a:extLst>
              <a:ext uri="{FF2B5EF4-FFF2-40B4-BE49-F238E27FC236}">
                <a16:creationId xmlns:a16="http://schemas.microsoft.com/office/drawing/2014/main" id="{8AC1EEE3-3E1B-80AD-B285-6684E99C31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108522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New Layout jan 23">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5B1A57A-2CAF-EDAA-4E30-A6827203F5AB}"/>
              </a:ext>
            </a:extLst>
          </p:cNvPr>
          <p:cNvSpPr>
            <a:spLocks noGrp="1"/>
          </p:cNvSpPr>
          <p:nvPr>
            <p:ph type="title" hasCustomPrompt="1"/>
          </p:nvPr>
        </p:nvSpPr>
        <p:spPr>
          <a:xfrm>
            <a:off x="190817" y="151440"/>
            <a:ext cx="11553177"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pic>
        <p:nvPicPr>
          <p:cNvPr id="11" name="Gráfico 10">
            <a:extLst>
              <a:ext uri="{FF2B5EF4-FFF2-40B4-BE49-F238E27FC236}">
                <a16:creationId xmlns:a16="http://schemas.microsoft.com/office/drawing/2014/main" id="{84400BA7-F18E-5B9E-2CAA-72B5565E41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12" name="Espaço Reservado para Número de Slide 5">
            <a:extLst>
              <a:ext uri="{FF2B5EF4-FFF2-40B4-BE49-F238E27FC236}">
                <a16:creationId xmlns:a16="http://schemas.microsoft.com/office/drawing/2014/main" id="{B0F691E2-6F46-0720-723C-A0D8B85B5CEF}"/>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6" name="Gráfico 15">
            <a:extLst>
              <a:ext uri="{FF2B5EF4-FFF2-40B4-BE49-F238E27FC236}">
                <a16:creationId xmlns:a16="http://schemas.microsoft.com/office/drawing/2014/main" id="{B35F3064-D4DD-2A10-B99C-BA958610DC0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3316886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CHAPTER DIVIDER 3_1">
    <p:spTree>
      <p:nvGrpSpPr>
        <p:cNvPr id="1" name=""/>
        <p:cNvGrpSpPr/>
        <p:nvPr/>
      </p:nvGrpSpPr>
      <p:grpSpPr>
        <a:xfrm>
          <a:off x="0" y="0"/>
          <a:ext cx="0" cy="0"/>
          <a:chOff x="0" y="0"/>
          <a:chExt cx="0" cy="0"/>
        </a:xfrm>
      </p:grpSpPr>
      <p:pic>
        <p:nvPicPr>
          <p:cNvPr id="5" name="Imagem 4" descr="Interface gráfica do usuário&#10;&#10;Descrição gerada automaticamente">
            <a:extLst>
              <a:ext uri="{FF2B5EF4-FFF2-40B4-BE49-F238E27FC236}">
                <a16:creationId xmlns:a16="http://schemas.microsoft.com/office/drawing/2014/main" id="{812320F5-0B2E-549D-EF08-8172CF25A7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229681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0_New Layout jan 23">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5B1A57A-2CAF-EDAA-4E30-A6827203F5AB}"/>
              </a:ext>
            </a:extLst>
          </p:cNvPr>
          <p:cNvSpPr>
            <a:spLocks noGrp="1"/>
          </p:cNvSpPr>
          <p:nvPr>
            <p:ph type="title" hasCustomPrompt="1"/>
          </p:nvPr>
        </p:nvSpPr>
        <p:spPr>
          <a:xfrm>
            <a:off x="190817" y="151440"/>
            <a:ext cx="11553177"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pic>
        <p:nvPicPr>
          <p:cNvPr id="11" name="Gráfico 10">
            <a:extLst>
              <a:ext uri="{FF2B5EF4-FFF2-40B4-BE49-F238E27FC236}">
                <a16:creationId xmlns:a16="http://schemas.microsoft.com/office/drawing/2014/main" id="{EF7202EE-5BA9-D8CA-B718-938DA5B81B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12" name="Espaço Reservado para Número de Slide 5">
            <a:extLst>
              <a:ext uri="{FF2B5EF4-FFF2-40B4-BE49-F238E27FC236}">
                <a16:creationId xmlns:a16="http://schemas.microsoft.com/office/drawing/2014/main" id="{8AFAFC45-FD86-4541-1B3E-9405318C17C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6" name="Gráfico 15">
            <a:extLst>
              <a:ext uri="{FF2B5EF4-FFF2-40B4-BE49-F238E27FC236}">
                <a16:creationId xmlns:a16="http://schemas.microsoft.com/office/drawing/2014/main" id="{1A32C124-9CB4-731B-69FE-E04C27AFB2D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8234715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1_New Layout jan 23">
    <p:spTree>
      <p:nvGrpSpPr>
        <p:cNvPr id="1" name=""/>
        <p:cNvGrpSpPr/>
        <p:nvPr/>
      </p:nvGrpSpPr>
      <p:grpSpPr>
        <a:xfrm>
          <a:off x="0" y="0"/>
          <a:ext cx="0" cy="0"/>
          <a:chOff x="0" y="0"/>
          <a:chExt cx="0" cy="0"/>
        </a:xfrm>
      </p:grpSpPr>
      <p:pic>
        <p:nvPicPr>
          <p:cNvPr id="11" name="Gráfico 10">
            <a:extLst>
              <a:ext uri="{FF2B5EF4-FFF2-40B4-BE49-F238E27FC236}">
                <a16:creationId xmlns:a16="http://schemas.microsoft.com/office/drawing/2014/main" id="{EF7202EE-5BA9-D8CA-B718-938DA5B81B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12" name="Espaço Reservado para Número de Slide 5">
            <a:extLst>
              <a:ext uri="{FF2B5EF4-FFF2-40B4-BE49-F238E27FC236}">
                <a16:creationId xmlns:a16="http://schemas.microsoft.com/office/drawing/2014/main" id="{8AFAFC45-FD86-4541-1B3E-9405318C17C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sp>
        <p:nvSpPr>
          <p:cNvPr id="2" name="Título 2">
            <a:extLst>
              <a:ext uri="{FF2B5EF4-FFF2-40B4-BE49-F238E27FC236}">
                <a16:creationId xmlns:a16="http://schemas.microsoft.com/office/drawing/2014/main" id="{6F86BA80-F41B-E28E-FCD0-3714D7A445B5}"/>
              </a:ext>
            </a:extLst>
          </p:cNvPr>
          <p:cNvSpPr>
            <a:spLocks noGrp="1"/>
          </p:cNvSpPr>
          <p:nvPr>
            <p:ph type="title"/>
          </p:nvPr>
        </p:nvSpPr>
        <p:spPr>
          <a:xfrm>
            <a:off x="622300" y="134483"/>
            <a:ext cx="11250290" cy="614684"/>
          </a:xfrm>
          <a:prstGeom prst="rect">
            <a:avLst/>
          </a:prstGeom>
        </p:spPr>
        <p:txBody>
          <a:bodyPr anchor="ctr">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
        <p:nvSpPr>
          <p:cNvPr id="3" name="Retângulo 2">
            <a:extLst>
              <a:ext uri="{FF2B5EF4-FFF2-40B4-BE49-F238E27FC236}">
                <a16:creationId xmlns:a16="http://schemas.microsoft.com/office/drawing/2014/main" id="{2FE12E4C-6C47-C1CE-2AC4-50537A0750EB}"/>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785796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New Layout jan 23">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5B1A57A-2CAF-EDAA-4E30-A6827203F5AB}"/>
              </a:ext>
            </a:extLst>
          </p:cNvPr>
          <p:cNvSpPr>
            <a:spLocks noGrp="1"/>
          </p:cNvSpPr>
          <p:nvPr>
            <p:ph type="title" hasCustomPrompt="1"/>
          </p:nvPr>
        </p:nvSpPr>
        <p:spPr>
          <a:xfrm>
            <a:off x="190817" y="151440"/>
            <a:ext cx="11553177"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pic>
        <p:nvPicPr>
          <p:cNvPr id="11" name="Gráfico 10">
            <a:extLst>
              <a:ext uri="{FF2B5EF4-FFF2-40B4-BE49-F238E27FC236}">
                <a16:creationId xmlns:a16="http://schemas.microsoft.com/office/drawing/2014/main" id="{CFAC8370-2D32-B20E-C3D9-BE347E5A20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12" name="Espaço Reservado para Número de Slide 5">
            <a:extLst>
              <a:ext uri="{FF2B5EF4-FFF2-40B4-BE49-F238E27FC236}">
                <a16:creationId xmlns:a16="http://schemas.microsoft.com/office/drawing/2014/main" id="{0EFECA3B-70B2-3297-5E06-A5892AEC8E82}"/>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6" name="Gráfico 15">
            <a:extLst>
              <a:ext uri="{FF2B5EF4-FFF2-40B4-BE49-F238E27FC236}">
                <a16:creationId xmlns:a16="http://schemas.microsoft.com/office/drawing/2014/main" id="{9FD3264B-4AE4-1D82-229D-919F94D10CF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26734786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067254-98D2-45A3-B42B-41B097BBB2B3}"/>
              </a:ext>
            </a:extLst>
          </p:cNvPr>
          <p:cNvSpPr>
            <a:spLocks noGrp="1"/>
          </p:cNvSpPr>
          <p:nvPr>
            <p:ph type="title"/>
          </p:nvPr>
        </p:nvSpPr>
        <p:spPr>
          <a:xfrm>
            <a:off x="838200" y="365125"/>
            <a:ext cx="10515600" cy="1325563"/>
          </a:xfrm>
          <a:prstGeom prst="rect">
            <a:avLst/>
          </a:prstGeom>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659F7C5-F87C-4E8D-B200-72EA33ADFB5A}"/>
              </a:ext>
            </a:extLst>
          </p:cNvPr>
          <p:cNvSpPr>
            <a:spLocks noGrp="1"/>
          </p:cNvSpPr>
          <p:nvPr>
            <p:ph idx="1"/>
          </p:nvPr>
        </p:nvSpPr>
        <p:spPr>
          <a:xfrm>
            <a:off x="838200" y="1825625"/>
            <a:ext cx="10515600" cy="4351338"/>
          </a:xfrm>
          <a:prstGeom prst="rect">
            <a:avLst/>
          </a:prstGeo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F0187255-7EFB-4B40-97D2-D0CCF9B82B2F}"/>
              </a:ext>
            </a:extLst>
          </p:cNvPr>
          <p:cNvSpPr>
            <a:spLocks noGrp="1"/>
          </p:cNvSpPr>
          <p:nvPr>
            <p:ph type="dt" sz="half" idx="10"/>
          </p:nvPr>
        </p:nvSpPr>
        <p:spPr>
          <a:xfrm>
            <a:off x="838200" y="6356350"/>
            <a:ext cx="2743200" cy="365125"/>
          </a:xfrm>
          <a:prstGeom prst="rect">
            <a:avLst/>
          </a:prstGeom>
        </p:spPr>
        <p:txBody>
          <a:bodyPr/>
          <a:lstStyle/>
          <a:p>
            <a:fld id="{C9FFC541-1285-4B18-A100-D9DF0CBB0C7A}" type="datetimeFigureOut">
              <a:rPr lang="pt-BR" smtClean="0"/>
              <a:t>07/08/2024</a:t>
            </a:fld>
            <a:endParaRPr lang="pt-BR"/>
          </a:p>
        </p:txBody>
      </p:sp>
      <p:sp>
        <p:nvSpPr>
          <p:cNvPr id="5" name="Espaço Reservado para Rodapé 4">
            <a:extLst>
              <a:ext uri="{FF2B5EF4-FFF2-40B4-BE49-F238E27FC236}">
                <a16:creationId xmlns:a16="http://schemas.microsoft.com/office/drawing/2014/main" id="{3B75DD9D-004E-4BB9-8241-6318619C4E26}"/>
              </a:ext>
            </a:extLst>
          </p:cNvPr>
          <p:cNvSpPr>
            <a:spLocks noGrp="1"/>
          </p:cNvSpPr>
          <p:nvPr>
            <p:ph type="ftr" sz="quarter" idx="11"/>
          </p:nvPr>
        </p:nvSpPr>
        <p:spPr>
          <a:xfrm>
            <a:off x="4038600" y="6356350"/>
            <a:ext cx="4114800" cy="365125"/>
          </a:xfrm>
          <a:prstGeom prst="rect">
            <a:avLst/>
          </a:prstGeom>
        </p:spPr>
        <p:txBody>
          <a:bodyPr/>
          <a:lstStyle/>
          <a:p>
            <a:endParaRPr lang="pt-BR"/>
          </a:p>
        </p:txBody>
      </p:sp>
      <p:sp>
        <p:nvSpPr>
          <p:cNvPr id="6" name="Espaço Reservado para Número de Slide 5">
            <a:extLst>
              <a:ext uri="{FF2B5EF4-FFF2-40B4-BE49-F238E27FC236}">
                <a16:creationId xmlns:a16="http://schemas.microsoft.com/office/drawing/2014/main" id="{C99EC06E-70CC-42ED-AB62-14F109E8B0E8}"/>
              </a:ext>
            </a:extLst>
          </p:cNvPr>
          <p:cNvSpPr>
            <a:spLocks noGrp="1"/>
          </p:cNvSpPr>
          <p:nvPr>
            <p:ph type="sldNum" sz="quarter" idx="12"/>
          </p:nvPr>
        </p:nvSpPr>
        <p:spPr>
          <a:xfrm>
            <a:off x="8610600" y="6356350"/>
            <a:ext cx="2743200" cy="365125"/>
          </a:xfrm>
          <a:prstGeom prst="rect">
            <a:avLst/>
          </a:prstGeom>
        </p:spPr>
        <p:txBody>
          <a:bodyPr/>
          <a:lstStyle/>
          <a:p>
            <a:fld id="{6DB271F7-9925-4A92-A1D5-3E77896AF453}" type="slidenum">
              <a:rPr lang="pt-BR" smtClean="0"/>
              <a:t>‹nº›</a:t>
            </a:fld>
            <a:endParaRPr lang="pt-BR"/>
          </a:p>
        </p:txBody>
      </p:sp>
    </p:spTree>
    <p:extLst>
      <p:ext uri="{BB962C8B-B14F-4D97-AF65-F5344CB8AC3E}">
        <p14:creationId xmlns:p14="http://schemas.microsoft.com/office/powerpoint/2010/main" val="17646361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omente Título - Seção 9">
    <p:spTree>
      <p:nvGrpSpPr>
        <p:cNvPr id="1" name=""/>
        <p:cNvGrpSpPr/>
        <p:nvPr/>
      </p:nvGrpSpPr>
      <p:grpSpPr>
        <a:xfrm>
          <a:off x="0" y="0"/>
          <a:ext cx="0" cy="0"/>
          <a:chOff x="0" y="0"/>
          <a:chExt cx="0" cy="0"/>
        </a:xfrm>
      </p:grpSpPr>
      <p:sp>
        <p:nvSpPr>
          <p:cNvPr id="9" name="Espaço Reservado para Número de Slide 2">
            <a:extLst>
              <a:ext uri="{FF2B5EF4-FFF2-40B4-BE49-F238E27FC236}">
                <a16:creationId xmlns:a16="http://schemas.microsoft.com/office/drawing/2014/main" id="{4F2684CE-D657-4F34-BC54-247E47B4C55E}"/>
              </a:ext>
            </a:extLst>
          </p:cNvPr>
          <p:cNvSpPr txBox="1">
            <a:spLocks/>
          </p:cNvSpPr>
          <p:nvPr userDrawn="1"/>
        </p:nvSpPr>
        <p:spPr>
          <a:xfrm>
            <a:off x="11703519" y="6454358"/>
            <a:ext cx="391206" cy="331124"/>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3952CB8-C724-4CF5-8F79-0DA4B43FAA2B}" type="slidenum">
              <a:rPr lang="pt-BR" sz="800" b="1" smtClean="0">
                <a:solidFill>
                  <a:schemeClr val="bg1">
                    <a:lumMod val="50000"/>
                  </a:schemeClr>
                </a:solidFill>
              </a:rPr>
              <a:pPr algn="r"/>
              <a:t>‹nº›</a:t>
            </a:fld>
            <a:endParaRPr lang="pt-BR" sz="800" b="1">
              <a:solidFill>
                <a:schemeClr val="bg1">
                  <a:lumMod val="50000"/>
                </a:schemeClr>
              </a:solidFill>
            </a:endParaRPr>
          </a:p>
        </p:txBody>
      </p:sp>
      <p:pic>
        <p:nvPicPr>
          <p:cNvPr id="10" name="Picture 8" descr="Atento_Logo_RGB_AtentoBlue.png">
            <a:extLst>
              <a:ext uri="{FF2B5EF4-FFF2-40B4-BE49-F238E27FC236}">
                <a16:creationId xmlns:a16="http://schemas.microsoft.com/office/drawing/2014/main" id="{1E0E6A81-4EC4-41DF-BF74-1AD9E25DE8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72913" y="167242"/>
            <a:ext cx="1258146" cy="504150"/>
          </a:xfrm>
          <a:prstGeom prst="rect">
            <a:avLst/>
          </a:prstGeom>
        </p:spPr>
      </p:pic>
      <p:sp>
        <p:nvSpPr>
          <p:cNvPr id="12" name="Título 11">
            <a:extLst>
              <a:ext uri="{FF2B5EF4-FFF2-40B4-BE49-F238E27FC236}">
                <a16:creationId xmlns:a16="http://schemas.microsoft.com/office/drawing/2014/main" id="{9E5012D1-954F-449F-81AC-4F24E94FD365}"/>
              </a:ext>
            </a:extLst>
          </p:cNvPr>
          <p:cNvSpPr>
            <a:spLocks noGrp="1"/>
          </p:cNvSpPr>
          <p:nvPr>
            <p:ph type="title"/>
          </p:nvPr>
        </p:nvSpPr>
        <p:spPr>
          <a:xfrm>
            <a:off x="647424" y="611547"/>
            <a:ext cx="9273810" cy="403056"/>
          </a:xfrm>
          <a:prstGeom prst="rect">
            <a:avLst/>
          </a:prstGeom>
        </p:spPr>
        <p:txBody>
          <a:bodyPr vert="horz" lIns="91440" tIns="45720" rIns="91440" bIns="45720" rtlCol="0" anchor="ctr">
            <a:noAutofit/>
          </a:bodyPr>
          <a:lstStyle>
            <a:lvl1pPr>
              <a:defRPr lang="en-US" sz="2400" b="1">
                <a:solidFill>
                  <a:srgbClr val="01426A"/>
                </a:solidFill>
                <a:latin typeface="+mn-lt"/>
                <a:ea typeface="+mn-ea"/>
                <a:cs typeface="+mn-cs"/>
              </a:defRPr>
            </a:lvl1pPr>
          </a:lstStyle>
          <a:p>
            <a:pPr marL="0" lvl="0" indent="0">
              <a:spcBef>
                <a:spcPts val="1000"/>
              </a:spcBef>
              <a:buFont typeface="Arial" panose="020B0604020202020204" pitchFamily="34" charset="0"/>
            </a:pPr>
            <a:r>
              <a:rPr lang="pt-BR" dirty="0"/>
              <a:t>Clique para editar o título mestre</a:t>
            </a:r>
            <a:endParaRPr lang="en-US" dirty="0"/>
          </a:p>
        </p:txBody>
      </p:sp>
    </p:spTree>
    <p:extLst>
      <p:ext uri="{BB962C8B-B14F-4D97-AF65-F5344CB8AC3E}">
        <p14:creationId xmlns:p14="http://schemas.microsoft.com/office/powerpoint/2010/main" val="152807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3">
          <p15:clr>
            <a:srgbClr val="FBAE40"/>
          </p15:clr>
        </p15:guide>
        <p15:guide id="2" pos="7446">
          <p15:clr>
            <a:srgbClr val="FBAE40"/>
          </p15:clr>
        </p15:guide>
        <p15:guide id="3" orient="horz" pos="73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Diapositiva de título" preserve="1" userDrawn="1">
  <p:cSld name="1_Diapositiva de título">
    <p:spTree>
      <p:nvGrpSpPr>
        <p:cNvPr id="1" name="Shape 1552"/>
        <p:cNvGrpSpPr/>
        <p:nvPr/>
      </p:nvGrpSpPr>
      <p:grpSpPr>
        <a:xfrm>
          <a:off x="0" y="0"/>
          <a:ext cx="0" cy="0"/>
          <a:chOff x="0" y="0"/>
          <a:chExt cx="0" cy="0"/>
        </a:xfrm>
      </p:grpSpPr>
    </p:spTree>
    <p:extLst>
      <p:ext uri="{BB962C8B-B14F-4D97-AF65-F5344CB8AC3E}">
        <p14:creationId xmlns:p14="http://schemas.microsoft.com/office/powerpoint/2010/main" val="410415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7035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6764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23902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9419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CHAPTER DIVIDER 3_1">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6FF46B51-4943-28BA-BB8C-991B8AD63D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4000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7987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9237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807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SLIDE ESTÁNDAR EN BLANCO">
  <p:cSld name="SLIDE ESTÁNDAR EN BLANCO">
    <p:spTree>
      <p:nvGrpSpPr>
        <p:cNvPr id="1" name="Shape 2081"/>
        <p:cNvGrpSpPr/>
        <p:nvPr/>
      </p:nvGrpSpPr>
      <p:grpSpPr>
        <a:xfrm>
          <a:off x="0" y="0"/>
          <a:ext cx="0" cy="0"/>
          <a:chOff x="0" y="0"/>
          <a:chExt cx="0" cy="0"/>
        </a:xfrm>
      </p:grpSpPr>
      <p:pic>
        <p:nvPicPr>
          <p:cNvPr id="2091" name="Google Shape;2091;g9dcdbbe453_0_6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43808" y="6205607"/>
            <a:ext cx="1213485" cy="246697"/>
          </a:xfrm>
          <a:prstGeom prst="rect">
            <a:avLst/>
          </a:prstGeom>
          <a:noFill/>
          <a:ln>
            <a:noFill/>
          </a:ln>
        </p:spPr>
      </p:pic>
    </p:spTree>
    <p:extLst>
      <p:ext uri="{BB962C8B-B14F-4D97-AF65-F5344CB8AC3E}">
        <p14:creationId xmlns:p14="http://schemas.microsoft.com/office/powerpoint/2010/main" val="401702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New Layout jan 23">
    <p:spTree>
      <p:nvGrpSpPr>
        <p:cNvPr id="1" name=""/>
        <p:cNvGrpSpPr/>
        <p:nvPr/>
      </p:nvGrpSpPr>
      <p:grpSpPr>
        <a:xfrm>
          <a:off x="0" y="0"/>
          <a:ext cx="0" cy="0"/>
          <a:chOff x="0" y="0"/>
          <a:chExt cx="0" cy="0"/>
        </a:xfrm>
      </p:grpSpPr>
      <p:pic>
        <p:nvPicPr>
          <p:cNvPr id="2" name="Google Shape;1695;g9aa23198a8_6_215">
            <a:extLst>
              <a:ext uri="{FF2B5EF4-FFF2-40B4-BE49-F238E27FC236}">
                <a16:creationId xmlns:a16="http://schemas.microsoft.com/office/drawing/2014/main" id="{B1DEE909-12B0-78D3-BED2-E011E4C8EB92}"/>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443807" y="6205606"/>
            <a:ext cx="1213485" cy="246697"/>
          </a:xfrm>
          <a:prstGeom prst="rect">
            <a:avLst/>
          </a:prstGeom>
          <a:noFill/>
          <a:ln>
            <a:noFill/>
          </a:ln>
        </p:spPr>
      </p:pic>
    </p:spTree>
    <p:extLst>
      <p:ext uri="{BB962C8B-B14F-4D97-AF65-F5344CB8AC3E}">
        <p14:creationId xmlns:p14="http://schemas.microsoft.com/office/powerpoint/2010/main" val="2112171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New Layout jan 2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218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Somente Título - Seção 9">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064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3">
          <p15:clr>
            <a:srgbClr val="FBAE40"/>
          </p15:clr>
        </p15:guide>
        <p15:guide id="2" pos="7446">
          <p15:clr>
            <a:srgbClr val="FBAE40"/>
          </p15:clr>
        </p15:guide>
        <p15:guide id="3" orient="horz" pos="73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foto7">
  <p:cSld name="foto7">
    <p:spTree>
      <p:nvGrpSpPr>
        <p:cNvPr id="1" name="Shape 2949"/>
        <p:cNvGrpSpPr/>
        <p:nvPr/>
      </p:nvGrpSpPr>
      <p:grpSpPr>
        <a:xfrm>
          <a:off x="0" y="0"/>
          <a:ext cx="0" cy="0"/>
          <a:chOff x="0" y="0"/>
          <a:chExt cx="0" cy="0"/>
        </a:xfrm>
      </p:grpSpPr>
    </p:spTree>
    <p:extLst>
      <p:ext uri="{BB962C8B-B14F-4D97-AF65-F5344CB8AC3E}">
        <p14:creationId xmlns:p14="http://schemas.microsoft.com/office/powerpoint/2010/main" val="70694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slide standar sin flecha">
  <p:cSld name="slide standar sin flecha">
    <p:spTree>
      <p:nvGrpSpPr>
        <p:cNvPr id="1" name="Shape 2628"/>
        <p:cNvGrpSpPr/>
        <p:nvPr/>
      </p:nvGrpSpPr>
      <p:grpSpPr>
        <a:xfrm>
          <a:off x="0" y="0"/>
          <a:ext cx="0" cy="0"/>
          <a:chOff x="0" y="0"/>
          <a:chExt cx="0" cy="0"/>
        </a:xfrm>
      </p:grpSpPr>
    </p:spTree>
    <p:extLst>
      <p:ext uri="{BB962C8B-B14F-4D97-AF65-F5344CB8AC3E}">
        <p14:creationId xmlns:p14="http://schemas.microsoft.com/office/powerpoint/2010/main" val="133218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Somente Título - Seção 5, 8">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399801"/>
      </p:ext>
    </p:extLst>
  </p:cSld>
  <p:clrMapOvr>
    <a:masterClrMapping/>
  </p:clrMapOvr>
  <p:transition spd="slow">
    <p:wip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HAPTER DIVIDER 4_1">
    <p:spTree>
      <p:nvGrpSpPr>
        <p:cNvPr id="1" name=""/>
        <p:cNvGrpSpPr/>
        <p:nvPr/>
      </p:nvGrpSpPr>
      <p:grpSpPr>
        <a:xfrm>
          <a:off x="0" y="0"/>
          <a:ext cx="0" cy="0"/>
          <a:chOff x="0" y="0"/>
          <a:chExt cx="0" cy="0"/>
        </a:xfrm>
      </p:grpSpPr>
      <p:pic>
        <p:nvPicPr>
          <p:cNvPr id="4" name="Imagem 3" descr="Tela de celular com publicação numa rede social&#10;&#10;Descrição gerada automaticamente com confiança média">
            <a:extLst>
              <a:ext uri="{FF2B5EF4-FFF2-40B4-BE49-F238E27FC236}">
                <a16:creationId xmlns:a16="http://schemas.microsoft.com/office/drawing/2014/main" id="{578A3014-65AB-FDC4-3092-2C4F15AF30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14870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omente Título - Seção 1, 2, 1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387417"/>
      </p:ext>
    </p:extLst>
  </p:cSld>
  <p:clrMapOvr>
    <a:masterClrMapping/>
  </p:clrMapOvr>
  <p:transition spd="slow">
    <p:wipe/>
  </p:transition>
  <p:extLst>
    <p:ext uri="{DCECCB84-F9BA-43D5-87BE-67443E8EF086}">
      <p15:sldGuideLst xmlns:p15="http://schemas.microsoft.com/office/powerpoint/2012/main">
        <p15:guide id="1" pos="415">
          <p15:clr>
            <a:srgbClr val="FBAE40"/>
          </p15:clr>
        </p15:guide>
        <p15:guide id="2" pos="7446">
          <p15:clr>
            <a:srgbClr val="FBAE40"/>
          </p15:clr>
        </p15:guide>
        <p15:guide id="3" orient="horz" pos="73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58_Custom Layout">
  <p:cSld name="58_Custom Layout">
    <p:spTree>
      <p:nvGrpSpPr>
        <p:cNvPr id="1" name="Shape 1558"/>
        <p:cNvGrpSpPr/>
        <p:nvPr/>
      </p:nvGrpSpPr>
      <p:grpSpPr>
        <a:xfrm>
          <a:off x="0" y="0"/>
          <a:ext cx="0" cy="0"/>
          <a:chOff x="0" y="0"/>
          <a:chExt cx="0" cy="0"/>
        </a:xfrm>
      </p:grpSpPr>
    </p:spTree>
    <p:extLst>
      <p:ext uri="{BB962C8B-B14F-4D97-AF65-F5344CB8AC3E}">
        <p14:creationId xmlns:p14="http://schemas.microsoft.com/office/powerpoint/2010/main" val="292309154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595"/>
        <p:cNvGrpSpPr/>
        <p:nvPr/>
      </p:nvGrpSpPr>
      <p:grpSpPr>
        <a:xfrm>
          <a:off x="0" y="0"/>
          <a:ext cx="0" cy="0"/>
          <a:chOff x="0" y="0"/>
          <a:chExt cx="0" cy="0"/>
        </a:xfrm>
      </p:grpSpPr>
    </p:spTree>
    <p:extLst>
      <p:ext uri="{BB962C8B-B14F-4D97-AF65-F5344CB8AC3E}">
        <p14:creationId xmlns:p14="http://schemas.microsoft.com/office/powerpoint/2010/main" val="393483151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Portadas internas">
  <p:cSld name="Portadas internas">
    <p:spTree>
      <p:nvGrpSpPr>
        <p:cNvPr id="1" name="Shape 1956"/>
        <p:cNvGrpSpPr/>
        <p:nvPr/>
      </p:nvGrpSpPr>
      <p:grpSpPr>
        <a:xfrm>
          <a:off x="0" y="0"/>
          <a:ext cx="0" cy="0"/>
          <a:chOff x="0" y="0"/>
          <a:chExt cx="0" cy="0"/>
        </a:xfrm>
      </p:grpSpPr>
    </p:spTree>
    <p:extLst>
      <p:ext uri="{BB962C8B-B14F-4D97-AF65-F5344CB8AC3E}">
        <p14:creationId xmlns:p14="http://schemas.microsoft.com/office/powerpoint/2010/main" val="23166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Foto3">
  <p:cSld name="Foto3">
    <p:spTree>
      <p:nvGrpSpPr>
        <p:cNvPr id="1" name="Shape 1926"/>
        <p:cNvGrpSpPr/>
        <p:nvPr/>
      </p:nvGrpSpPr>
      <p:grpSpPr>
        <a:xfrm>
          <a:off x="0" y="0"/>
          <a:ext cx="0" cy="0"/>
          <a:chOff x="0" y="0"/>
          <a:chExt cx="0" cy="0"/>
        </a:xfrm>
      </p:grpSpPr>
    </p:spTree>
    <p:extLst>
      <p:ext uri="{BB962C8B-B14F-4D97-AF65-F5344CB8AC3E}">
        <p14:creationId xmlns:p14="http://schemas.microsoft.com/office/powerpoint/2010/main" val="60320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foto11">
    <p:spTree>
      <p:nvGrpSpPr>
        <p:cNvPr id="1" name=""/>
        <p:cNvGrpSpPr/>
        <p:nvPr/>
      </p:nvGrpSpPr>
      <p:grpSpPr>
        <a:xfrm>
          <a:off x="0" y="0"/>
          <a:ext cx="0" cy="0"/>
          <a:chOff x="0" y="0"/>
          <a:chExt cx="0" cy="0"/>
        </a:xfrm>
      </p:grpSpPr>
      <p:pic>
        <p:nvPicPr>
          <p:cNvPr id="3" name="Marcador de posición de imagen 11" descr="Imagen que contiene persona, ventana, interior, mujer&#10;&#10;Descripción generada automáticamente">
            <a:extLst>
              <a:ext uri="{FF2B5EF4-FFF2-40B4-BE49-F238E27FC236}">
                <a16:creationId xmlns:a16="http://schemas.microsoft.com/office/drawing/2014/main" id="{24A0443A-9BC3-4F76-B96C-CC33DCD549A4}"/>
              </a:ext>
            </a:extLst>
          </p:cNvPr>
          <p:cNvPicPr>
            <a:picLocks noChangeAspect="1"/>
          </p:cNvPicPr>
          <p:nvPr userDrawn="1"/>
        </p:nvPicPr>
        <p:blipFill>
          <a:blip r:embed="rId2">
            <a:extLst>
              <a:ext uri="{28A0092B-C50C-407E-A947-70E740481C1C}">
                <a14:useLocalDpi xmlns:a14="http://schemas.microsoft.com/office/drawing/2010/main" val="0"/>
              </a:ext>
            </a:extLst>
          </a:blip>
          <a:srcRect l="18958" r="18958"/>
          <a:stretch>
            <a:fillRect/>
          </a:stretch>
        </p:blipFill>
        <p:spPr>
          <a:xfrm>
            <a:off x="0" y="0"/>
            <a:ext cx="6375400" cy="6858000"/>
          </a:xfrm>
          <a:custGeom>
            <a:avLst/>
            <a:gdLst>
              <a:gd name="connsiteX0" fmla="*/ 0 w 3752850"/>
              <a:gd name="connsiteY0" fmla="*/ 0 h 4800600"/>
              <a:gd name="connsiteX1" fmla="*/ 3752850 w 3752850"/>
              <a:gd name="connsiteY1" fmla="*/ 0 h 4800600"/>
              <a:gd name="connsiteX2" fmla="*/ 3752850 w 3752850"/>
              <a:gd name="connsiteY2" fmla="*/ 4800600 h 4800600"/>
              <a:gd name="connsiteX3" fmla="*/ 0 w 3752850"/>
              <a:gd name="connsiteY3" fmla="*/ 4800600 h 4800600"/>
            </a:gdLst>
            <a:ahLst/>
            <a:cxnLst>
              <a:cxn ang="0">
                <a:pos x="connsiteX0" y="connsiteY0"/>
              </a:cxn>
              <a:cxn ang="0">
                <a:pos x="connsiteX1" y="connsiteY1"/>
              </a:cxn>
              <a:cxn ang="0">
                <a:pos x="connsiteX2" y="connsiteY2"/>
              </a:cxn>
              <a:cxn ang="0">
                <a:pos x="connsiteX3" y="connsiteY3"/>
              </a:cxn>
            </a:cxnLst>
            <a:rect l="l" t="t" r="r" b="b"/>
            <a:pathLst>
              <a:path w="3752850" h="4800600">
                <a:moveTo>
                  <a:pt x="0" y="0"/>
                </a:moveTo>
                <a:lnTo>
                  <a:pt x="3752850" y="0"/>
                </a:lnTo>
                <a:lnTo>
                  <a:pt x="3752850" y="4800600"/>
                </a:lnTo>
                <a:lnTo>
                  <a:pt x="0" y="4800600"/>
                </a:lnTo>
                <a:close/>
              </a:path>
            </a:pathLst>
          </a:custGeom>
        </p:spPr>
      </p:pic>
      <p:sp>
        <p:nvSpPr>
          <p:cNvPr id="5" name="Rectángulo 4">
            <a:extLst>
              <a:ext uri="{FF2B5EF4-FFF2-40B4-BE49-F238E27FC236}">
                <a16:creationId xmlns:a16="http://schemas.microsoft.com/office/drawing/2014/main" id="{8217C4BE-B4D7-4C6A-BCB3-A22C36B8EA61}"/>
              </a:ext>
            </a:extLst>
          </p:cNvPr>
          <p:cNvSpPr/>
          <p:nvPr userDrawn="1"/>
        </p:nvSpPr>
        <p:spPr>
          <a:xfrm>
            <a:off x="218450" y="174523"/>
            <a:ext cx="11755100" cy="6508955"/>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a:extLst>
              <a:ext uri="{FF2B5EF4-FFF2-40B4-BE49-F238E27FC236}">
                <a16:creationId xmlns:a16="http://schemas.microsoft.com/office/drawing/2014/main" id="{17BCB57A-EAEF-46E9-A375-D519B879FE6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800" y="262800"/>
            <a:ext cx="1124575" cy="1124575"/>
          </a:xfrm>
          <a:prstGeom prst="rect">
            <a:avLst/>
          </a:prstGeom>
        </p:spPr>
      </p:pic>
      <p:grpSp>
        <p:nvGrpSpPr>
          <p:cNvPr id="9" name="Grupo 8">
            <a:extLst>
              <a:ext uri="{FF2B5EF4-FFF2-40B4-BE49-F238E27FC236}">
                <a16:creationId xmlns:a16="http://schemas.microsoft.com/office/drawing/2014/main" id="{4694FE1E-C476-440E-9453-919C8EA3E5CD}"/>
              </a:ext>
            </a:extLst>
          </p:cNvPr>
          <p:cNvGrpSpPr/>
          <p:nvPr userDrawn="1"/>
        </p:nvGrpSpPr>
        <p:grpSpPr>
          <a:xfrm>
            <a:off x="12293242" y="0"/>
            <a:ext cx="987752" cy="2647402"/>
            <a:chOff x="2891790" y="1097280"/>
            <a:chExt cx="987752" cy="2647402"/>
          </a:xfrm>
        </p:grpSpPr>
        <p:sp>
          <p:nvSpPr>
            <p:cNvPr id="10" name="Rectángulo 9">
              <a:extLst>
                <a:ext uri="{FF2B5EF4-FFF2-40B4-BE49-F238E27FC236}">
                  <a16:creationId xmlns:a16="http://schemas.microsoft.com/office/drawing/2014/main" id="{8A4D3334-2C0F-4D4B-9F08-9781F1EA3055}"/>
                </a:ext>
              </a:extLst>
            </p:cNvPr>
            <p:cNvSpPr/>
            <p:nvPr/>
          </p:nvSpPr>
          <p:spPr>
            <a:xfrm>
              <a:off x="2891790" y="1097280"/>
              <a:ext cx="987752" cy="383024"/>
            </a:xfrm>
            <a:prstGeom prst="rect">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t>R1/G66/B106</a:t>
              </a:r>
            </a:p>
          </p:txBody>
        </p:sp>
        <p:sp>
          <p:nvSpPr>
            <p:cNvPr id="11" name="Rectángulo 10">
              <a:extLst>
                <a:ext uri="{FF2B5EF4-FFF2-40B4-BE49-F238E27FC236}">
                  <a16:creationId xmlns:a16="http://schemas.microsoft.com/office/drawing/2014/main" id="{8B521751-0451-4BD9-8E13-43B67654833E}"/>
                </a:ext>
              </a:extLst>
            </p:cNvPr>
            <p:cNvSpPr/>
            <p:nvPr/>
          </p:nvSpPr>
          <p:spPr>
            <a:xfrm>
              <a:off x="2891790" y="1480304"/>
              <a:ext cx="987752" cy="383024"/>
            </a:xfrm>
            <a:prstGeom prst="rect">
              <a:avLst/>
            </a:prstGeom>
            <a:solidFill>
              <a:srgbClr val="007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kern="1200" dirty="0">
                  <a:solidFill>
                    <a:schemeClr val="lt1"/>
                  </a:solidFill>
                  <a:latin typeface="+mn-lt"/>
                  <a:ea typeface="+mn-ea"/>
                  <a:cs typeface="+mn-cs"/>
                </a:rPr>
                <a:t>R0/G125/B186</a:t>
              </a:r>
            </a:p>
          </p:txBody>
        </p:sp>
        <p:sp>
          <p:nvSpPr>
            <p:cNvPr id="12" name="Rectángulo 11">
              <a:extLst>
                <a:ext uri="{FF2B5EF4-FFF2-40B4-BE49-F238E27FC236}">
                  <a16:creationId xmlns:a16="http://schemas.microsoft.com/office/drawing/2014/main" id="{8A4956F0-FEB6-4731-96BF-EC343D22E63D}"/>
                </a:ext>
              </a:extLst>
            </p:cNvPr>
            <p:cNvSpPr/>
            <p:nvPr/>
          </p:nvSpPr>
          <p:spPr>
            <a:xfrm>
              <a:off x="2891790" y="1846445"/>
              <a:ext cx="987752" cy="383024"/>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kern="1200" dirty="0">
                  <a:solidFill>
                    <a:schemeClr val="lt1"/>
                  </a:solidFill>
                  <a:latin typeface="+mn-lt"/>
                  <a:ea typeface="+mn-ea"/>
                  <a:cs typeface="+mn-cs"/>
                </a:rPr>
                <a:t>R0/G163/B224</a:t>
              </a:r>
            </a:p>
          </p:txBody>
        </p:sp>
        <p:sp>
          <p:nvSpPr>
            <p:cNvPr id="13" name="Rectángulo 12">
              <a:extLst>
                <a:ext uri="{FF2B5EF4-FFF2-40B4-BE49-F238E27FC236}">
                  <a16:creationId xmlns:a16="http://schemas.microsoft.com/office/drawing/2014/main" id="{DB56CF3B-CD46-4B8C-8819-D07E91A8ACFF}"/>
                </a:ext>
              </a:extLst>
            </p:cNvPr>
            <p:cNvSpPr/>
            <p:nvPr/>
          </p:nvSpPr>
          <p:spPr>
            <a:xfrm>
              <a:off x="2891790" y="2221074"/>
              <a:ext cx="987752" cy="383024"/>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kern="1200" dirty="0">
                  <a:solidFill>
                    <a:schemeClr val="lt1"/>
                  </a:solidFill>
                  <a:latin typeface="+mn-lt"/>
                  <a:ea typeface="+mn-ea"/>
                  <a:cs typeface="+mn-cs"/>
                </a:rPr>
                <a:t>R0/G178/B169</a:t>
              </a:r>
            </a:p>
          </p:txBody>
        </p:sp>
        <p:sp>
          <p:nvSpPr>
            <p:cNvPr id="14" name="Rectángulo 13">
              <a:extLst>
                <a:ext uri="{FF2B5EF4-FFF2-40B4-BE49-F238E27FC236}">
                  <a16:creationId xmlns:a16="http://schemas.microsoft.com/office/drawing/2014/main" id="{44C172C7-A661-4717-9960-A27A1EDC1733}"/>
                </a:ext>
              </a:extLst>
            </p:cNvPr>
            <p:cNvSpPr/>
            <p:nvPr/>
          </p:nvSpPr>
          <p:spPr>
            <a:xfrm>
              <a:off x="2891790" y="2595610"/>
              <a:ext cx="987752" cy="383024"/>
            </a:xfrm>
            <a:prstGeom prst="rect">
              <a:avLst/>
            </a:prstGeom>
            <a:solidFill>
              <a:srgbClr val="9D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900" kern="1200" dirty="0">
                  <a:solidFill>
                    <a:schemeClr val="lt1"/>
                  </a:solidFill>
                  <a:latin typeface="+mn-lt"/>
                  <a:ea typeface="+mn-ea"/>
                  <a:cs typeface="+mn-cs"/>
                </a:rPr>
                <a:t>R157/G157/157</a:t>
              </a:r>
            </a:p>
          </p:txBody>
        </p:sp>
        <p:sp>
          <p:nvSpPr>
            <p:cNvPr id="15" name="Rectángulo 14">
              <a:extLst>
                <a:ext uri="{FF2B5EF4-FFF2-40B4-BE49-F238E27FC236}">
                  <a16:creationId xmlns:a16="http://schemas.microsoft.com/office/drawing/2014/main" id="{2BA234A8-67D9-42BC-B6E1-402A2EA8EB05}"/>
                </a:ext>
              </a:extLst>
            </p:cNvPr>
            <p:cNvSpPr/>
            <p:nvPr/>
          </p:nvSpPr>
          <p:spPr>
            <a:xfrm>
              <a:off x="2891790" y="2978634"/>
              <a:ext cx="987752" cy="383024"/>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r>
                <a:rPr lang="es-ES" sz="900" kern="1200" dirty="0">
                  <a:solidFill>
                    <a:schemeClr val="lt1"/>
                  </a:solidFill>
                  <a:latin typeface="+mn-lt"/>
                  <a:ea typeface="+mn-ea"/>
                  <a:cs typeface="+mn-cs"/>
                </a:rPr>
                <a:t>R208/G208/B208</a:t>
              </a:r>
            </a:p>
          </p:txBody>
        </p:sp>
        <p:sp>
          <p:nvSpPr>
            <p:cNvPr id="16" name="Rectángulo 15">
              <a:extLst>
                <a:ext uri="{FF2B5EF4-FFF2-40B4-BE49-F238E27FC236}">
                  <a16:creationId xmlns:a16="http://schemas.microsoft.com/office/drawing/2014/main" id="{2567E1B3-F4A6-4D64-AE10-A3871CC124A7}"/>
                </a:ext>
              </a:extLst>
            </p:cNvPr>
            <p:cNvSpPr/>
            <p:nvPr/>
          </p:nvSpPr>
          <p:spPr>
            <a:xfrm>
              <a:off x="2891790" y="3361658"/>
              <a:ext cx="987752" cy="383024"/>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kern="1200" dirty="0">
                  <a:solidFill>
                    <a:schemeClr val="lt1"/>
                  </a:solidFill>
                  <a:latin typeface="+mn-lt"/>
                  <a:ea typeface="+mn-ea"/>
                  <a:cs typeface="+mn-cs"/>
                </a:rPr>
                <a:t>R255/G121/B0</a:t>
              </a:r>
            </a:p>
          </p:txBody>
        </p:sp>
      </p:grpSp>
      <p:grpSp>
        <p:nvGrpSpPr>
          <p:cNvPr id="22" name="Grupo 21">
            <a:extLst>
              <a:ext uri="{FF2B5EF4-FFF2-40B4-BE49-F238E27FC236}">
                <a16:creationId xmlns:a16="http://schemas.microsoft.com/office/drawing/2014/main" id="{B2F2B230-DE27-47CA-87DA-B5F8439A191E}"/>
              </a:ext>
            </a:extLst>
          </p:cNvPr>
          <p:cNvGrpSpPr/>
          <p:nvPr userDrawn="1"/>
        </p:nvGrpSpPr>
        <p:grpSpPr>
          <a:xfrm>
            <a:off x="217797" y="168174"/>
            <a:ext cx="6130085" cy="6515304"/>
            <a:chOff x="245314" y="158649"/>
            <a:chExt cx="5223457" cy="6515304"/>
          </a:xfrm>
        </p:grpSpPr>
        <p:cxnSp>
          <p:nvCxnSpPr>
            <p:cNvPr id="23" name="Conector recto 22">
              <a:extLst>
                <a:ext uri="{FF2B5EF4-FFF2-40B4-BE49-F238E27FC236}">
                  <a16:creationId xmlns:a16="http://schemas.microsoft.com/office/drawing/2014/main" id="{BBE7483B-2F94-4891-A255-583ABD745E0A}"/>
                </a:ext>
              </a:extLst>
            </p:cNvPr>
            <p:cNvCxnSpPr>
              <a:cxnSpLocks/>
            </p:cNvCxnSpPr>
            <p:nvPr userDrawn="1"/>
          </p:nvCxnSpPr>
          <p:spPr>
            <a:xfrm>
              <a:off x="245314" y="164998"/>
              <a:ext cx="522345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CA475FDE-0816-4BFA-98FB-DE6D5F3A3AC6}"/>
                </a:ext>
              </a:extLst>
            </p:cNvPr>
            <p:cNvCxnSpPr>
              <a:cxnSpLocks/>
            </p:cNvCxnSpPr>
            <p:nvPr userDrawn="1"/>
          </p:nvCxnSpPr>
          <p:spPr>
            <a:xfrm>
              <a:off x="245314" y="6673953"/>
              <a:ext cx="522345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BE7EE5DE-6102-44CC-AE9D-090AC23C7F5B}"/>
                </a:ext>
              </a:extLst>
            </p:cNvPr>
            <p:cNvCxnSpPr>
              <a:cxnSpLocks/>
            </p:cNvCxnSpPr>
            <p:nvPr userDrawn="1"/>
          </p:nvCxnSpPr>
          <p:spPr>
            <a:xfrm flipV="1">
              <a:off x="245314" y="158649"/>
              <a:ext cx="1305" cy="6515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9" name="Imagen 18">
            <a:extLst>
              <a:ext uri="{FF2B5EF4-FFF2-40B4-BE49-F238E27FC236}">
                <a16:creationId xmlns:a16="http://schemas.microsoft.com/office/drawing/2014/main" id="{C54E986B-F5E1-497B-89A4-985AB9B142F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43807" y="6205606"/>
            <a:ext cx="1213485" cy="246697"/>
          </a:xfrm>
          <a:prstGeom prst="rect">
            <a:avLst/>
          </a:prstGeom>
        </p:spPr>
      </p:pic>
      <p:pic>
        <p:nvPicPr>
          <p:cNvPr id="20" name="Imagen 19" descr="Imagen que contiene alimentos&#10;&#10;Descripción generada automáticamente">
            <a:extLst>
              <a:ext uri="{FF2B5EF4-FFF2-40B4-BE49-F238E27FC236}">
                <a16:creationId xmlns:a16="http://schemas.microsoft.com/office/drawing/2014/main" id="{639D75CE-63F8-4D68-BF8F-BF3CE6D3F19A}"/>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32335" b="32426"/>
          <a:stretch/>
        </p:blipFill>
        <p:spPr>
          <a:xfrm>
            <a:off x="9489600" y="6092320"/>
            <a:ext cx="2387600" cy="473269"/>
          </a:xfrm>
          <a:prstGeom prst="rect">
            <a:avLst/>
          </a:prstGeom>
        </p:spPr>
      </p:pic>
    </p:spTree>
    <p:extLst>
      <p:ext uri="{BB962C8B-B14F-4D97-AF65-F5344CB8AC3E}">
        <p14:creationId xmlns:p14="http://schemas.microsoft.com/office/powerpoint/2010/main" val="101112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01_02">
    <p:spTree>
      <p:nvGrpSpPr>
        <p:cNvPr id="1" name=""/>
        <p:cNvGrpSpPr/>
        <p:nvPr/>
      </p:nvGrpSpPr>
      <p:grpSpPr>
        <a:xfrm>
          <a:off x="0" y="0"/>
          <a:ext cx="0" cy="0"/>
          <a:chOff x="0" y="0"/>
          <a:chExt cx="0" cy="0"/>
        </a:xfrm>
      </p:grpSpPr>
      <p:pic>
        <p:nvPicPr>
          <p:cNvPr id="5" name="Imagem 4" descr="Texto&#10;&#10;Descrição gerada automaticamente com confiança média">
            <a:extLst>
              <a:ext uri="{FF2B5EF4-FFF2-40B4-BE49-F238E27FC236}">
                <a16:creationId xmlns:a16="http://schemas.microsoft.com/office/drawing/2014/main" id="{A0A4B694-0080-00E1-D343-BF281FEE1F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6071F729-1E22-D43C-01A2-BDC6F6F1E86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39591613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VER 02_1">
    <p:spTree>
      <p:nvGrpSpPr>
        <p:cNvPr id="1" name=""/>
        <p:cNvGrpSpPr/>
        <p:nvPr/>
      </p:nvGrpSpPr>
      <p:grpSpPr>
        <a:xfrm>
          <a:off x="0" y="0"/>
          <a:ext cx="0" cy="0"/>
          <a:chOff x="0" y="0"/>
          <a:chExt cx="0" cy="0"/>
        </a:xfrm>
      </p:grpSpPr>
      <p:pic>
        <p:nvPicPr>
          <p:cNvPr id="4" name="Imagem 3" descr="Pessoa de camisa branca&#10;&#10;Descrição gerada automaticamente com confiança baixa">
            <a:extLst>
              <a:ext uri="{FF2B5EF4-FFF2-40B4-BE49-F238E27FC236}">
                <a16:creationId xmlns:a16="http://schemas.microsoft.com/office/drawing/2014/main" id="{D187B09C-FF42-5CC5-CE33-30E3D862F1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1B228C4F-F31E-49C4-BA9C-0CFC76B6301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4997225"/>
            <a:ext cx="2842697" cy="577625"/>
          </a:xfrm>
          <a:prstGeom prst="rect">
            <a:avLst/>
          </a:prstGeom>
        </p:spPr>
      </p:pic>
      <p:pic>
        <p:nvPicPr>
          <p:cNvPr id="5" name="Gráfico 4">
            <a:extLst>
              <a:ext uri="{FF2B5EF4-FFF2-40B4-BE49-F238E27FC236}">
                <a16:creationId xmlns:a16="http://schemas.microsoft.com/office/drawing/2014/main" id="{C02EEF2F-E985-0472-A837-A7F5C9044A79}"/>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368300" y="5965959"/>
            <a:ext cx="6705600" cy="791592"/>
          </a:xfrm>
          <a:prstGeom prst="rect">
            <a:avLst/>
          </a:prstGeom>
        </p:spPr>
      </p:pic>
    </p:spTree>
    <p:extLst>
      <p:ext uri="{BB962C8B-B14F-4D97-AF65-F5344CB8AC3E}">
        <p14:creationId xmlns:p14="http://schemas.microsoft.com/office/powerpoint/2010/main" val="83827056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VER 03_1">
    <p:spTree>
      <p:nvGrpSpPr>
        <p:cNvPr id="1" name=""/>
        <p:cNvGrpSpPr/>
        <p:nvPr/>
      </p:nvGrpSpPr>
      <p:grpSpPr>
        <a:xfrm>
          <a:off x="0" y="0"/>
          <a:ext cx="0" cy="0"/>
          <a:chOff x="0" y="0"/>
          <a:chExt cx="0" cy="0"/>
        </a:xfrm>
      </p:grpSpPr>
      <p:pic>
        <p:nvPicPr>
          <p:cNvPr id="3" name="Imagem 2" descr="Homem com a boca aberta&#10;&#10;Descrição gerada automaticamente com confiança média">
            <a:extLst>
              <a:ext uri="{FF2B5EF4-FFF2-40B4-BE49-F238E27FC236}">
                <a16:creationId xmlns:a16="http://schemas.microsoft.com/office/drawing/2014/main" id="{A362E203-8A6B-2051-7DAE-0284A38584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283A325A-114A-7873-4AF4-7AD2E6551AC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4652" y="4177093"/>
            <a:ext cx="2842697" cy="577625"/>
          </a:xfrm>
          <a:prstGeom prst="rect">
            <a:avLst/>
          </a:prstGeom>
        </p:spPr>
      </p:pic>
      <p:pic>
        <p:nvPicPr>
          <p:cNvPr id="8" name="Gráfico 7">
            <a:extLst>
              <a:ext uri="{FF2B5EF4-FFF2-40B4-BE49-F238E27FC236}">
                <a16:creationId xmlns:a16="http://schemas.microsoft.com/office/drawing/2014/main" id="{669828E1-DAF7-F2F3-E99B-8C4650F1ECCF}"/>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2743200" y="5636021"/>
            <a:ext cx="6705600" cy="791592"/>
          </a:xfrm>
          <a:prstGeom prst="rect">
            <a:avLst/>
          </a:prstGeom>
        </p:spPr>
      </p:pic>
    </p:spTree>
    <p:extLst>
      <p:ext uri="{BB962C8B-B14F-4D97-AF65-F5344CB8AC3E}">
        <p14:creationId xmlns:p14="http://schemas.microsoft.com/office/powerpoint/2010/main" val="18664407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VER 04_1">
    <p:spTree>
      <p:nvGrpSpPr>
        <p:cNvPr id="1" name=""/>
        <p:cNvGrpSpPr/>
        <p:nvPr/>
      </p:nvGrpSpPr>
      <p:grpSpPr>
        <a:xfrm>
          <a:off x="0" y="0"/>
          <a:ext cx="0" cy="0"/>
          <a:chOff x="0" y="0"/>
          <a:chExt cx="0" cy="0"/>
        </a:xfrm>
      </p:grpSpPr>
      <p:pic>
        <p:nvPicPr>
          <p:cNvPr id="4" name="Imagem 3" descr="Uma imagem contendo Interface gráfica do usuário&#10;&#10;Descrição gerada automaticamente">
            <a:extLst>
              <a:ext uri="{FF2B5EF4-FFF2-40B4-BE49-F238E27FC236}">
                <a16:creationId xmlns:a16="http://schemas.microsoft.com/office/drawing/2014/main" id="{DFFA1CF5-C380-AFD1-0EA3-08C86A4826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7212756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CHAPTER DIVIDER 4_1">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578A3014-65AB-FDC4-3092-2C4F15AF30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90273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AGENDA 1_1">
    <p:spTree>
      <p:nvGrpSpPr>
        <p:cNvPr id="1" name=""/>
        <p:cNvGrpSpPr/>
        <p:nvPr/>
      </p:nvGrpSpPr>
      <p:grpSpPr>
        <a:xfrm>
          <a:off x="0" y="0"/>
          <a:ext cx="0" cy="0"/>
          <a:chOff x="0" y="0"/>
          <a:chExt cx="0" cy="0"/>
        </a:xfrm>
      </p:grpSpPr>
      <p:pic>
        <p:nvPicPr>
          <p:cNvPr id="8" name="Imagem 7" descr="Interface gráfica do usuário, Aplicativo&#10;&#10;Descrição gerada automaticamente">
            <a:extLst>
              <a:ext uri="{FF2B5EF4-FFF2-40B4-BE49-F238E27FC236}">
                <a16:creationId xmlns:a16="http://schemas.microsoft.com/office/drawing/2014/main" id="{2A067DDE-999C-692E-9445-A6ACD5ED78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ECBD2678-5C7E-9A82-DD43-2FE79B4FB2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5" name="Gráfico 4">
            <a:extLst>
              <a:ext uri="{FF2B5EF4-FFF2-40B4-BE49-F238E27FC236}">
                <a16:creationId xmlns:a16="http://schemas.microsoft.com/office/drawing/2014/main" id="{815F0D2E-7CBC-9104-82D5-EB930C268B0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685219" y="5744518"/>
            <a:ext cx="4095591" cy="414596"/>
          </a:xfrm>
          <a:prstGeom prst="rect">
            <a:avLst/>
          </a:prstGeom>
        </p:spPr>
      </p:pic>
    </p:spTree>
    <p:extLst>
      <p:ext uri="{BB962C8B-B14F-4D97-AF65-F5344CB8AC3E}">
        <p14:creationId xmlns:p14="http://schemas.microsoft.com/office/powerpoint/2010/main" val="22366289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_AGENDA 1_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2A067DDE-999C-692E-9445-A6ACD5ED780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ECBD2678-5C7E-9A82-DD43-2FE79B4FB2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5" name="Gráfico 4">
            <a:extLst>
              <a:ext uri="{FF2B5EF4-FFF2-40B4-BE49-F238E27FC236}">
                <a16:creationId xmlns:a16="http://schemas.microsoft.com/office/drawing/2014/main" id="{815F0D2E-7CBC-9104-82D5-EB930C268B0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685219" y="5744518"/>
            <a:ext cx="4095591" cy="414596"/>
          </a:xfrm>
          <a:prstGeom prst="rect">
            <a:avLst/>
          </a:prstGeom>
        </p:spPr>
      </p:pic>
    </p:spTree>
    <p:extLst>
      <p:ext uri="{BB962C8B-B14F-4D97-AF65-F5344CB8AC3E}">
        <p14:creationId xmlns:p14="http://schemas.microsoft.com/office/powerpoint/2010/main" val="22377016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AGENDA 2_1">
    <p:spTree>
      <p:nvGrpSpPr>
        <p:cNvPr id="1" name=""/>
        <p:cNvGrpSpPr/>
        <p:nvPr/>
      </p:nvGrpSpPr>
      <p:grpSpPr>
        <a:xfrm>
          <a:off x="0" y="0"/>
          <a:ext cx="0" cy="0"/>
          <a:chOff x="0" y="0"/>
          <a:chExt cx="0" cy="0"/>
        </a:xfrm>
      </p:grpSpPr>
      <p:pic>
        <p:nvPicPr>
          <p:cNvPr id="3" name="Imagem 2" descr="Uma imagem contendo Interface gráfica do usuário&#10;&#10;Descrição gerada automaticamente">
            <a:extLst>
              <a:ext uri="{FF2B5EF4-FFF2-40B4-BE49-F238E27FC236}">
                <a16:creationId xmlns:a16="http://schemas.microsoft.com/office/drawing/2014/main" id="{98578C6B-53AD-0CC2-9521-7743518261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0971557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HAPTER DIVIDER 1_1">
    <p:spTree>
      <p:nvGrpSpPr>
        <p:cNvPr id="1" name=""/>
        <p:cNvGrpSpPr/>
        <p:nvPr/>
      </p:nvGrpSpPr>
      <p:grpSpPr>
        <a:xfrm>
          <a:off x="0" y="0"/>
          <a:ext cx="0" cy="0"/>
          <a:chOff x="0" y="0"/>
          <a:chExt cx="0" cy="0"/>
        </a:xfrm>
      </p:grpSpPr>
      <p:pic>
        <p:nvPicPr>
          <p:cNvPr id="4" name="Imagem 3" descr="Homem com as mãos&#10;&#10;Descrição gerada automaticamente com confiança baixa">
            <a:extLst>
              <a:ext uri="{FF2B5EF4-FFF2-40B4-BE49-F238E27FC236}">
                <a16:creationId xmlns:a16="http://schemas.microsoft.com/office/drawing/2014/main" id="{5406EF44-9DCB-58E6-A55F-DEB89C897D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C9AEC75B-B2E4-B06B-3452-A06E168E26E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8565438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HAPTER DIVIDER 2_1">
    <p:spTree>
      <p:nvGrpSpPr>
        <p:cNvPr id="1" name=""/>
        <p:cNvGrpSpPr/>
        <p:nvPr/>
      </p:nvGrpSpPr>
      <p:grpSpPr>
        <a:xfrm>
          <a:off x="0" y="0"/>
          <a:ext cx="0" cy="0"/>
          <a:chOff x="0" y="0"/>
          <a:chExt cx="0" cy="0"/>
        </a:xfrm>
      </p:grpSpPr>
      <p:pic>
        <p:nvPicPr>
          <p:cNvPr id="4" name="Imagem 3" descr="Uma imagem contendo comida&#10;&#10;Descrição gerada automaticamente">
            <a:extLst>
              <a:ext uri="{FF2B5EF4-FFF2-40B4-BE49-F238E27FC236}">
                <a16:creationId xmlns:a16="http://schemas.microsoft.com/office/drawing/2014/main" id="{CE8FE8B3-C207-C93B-34C8-3D38FFD688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1844272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HAPTER DIVIDER 3_1">
    <p:spTree>
      <p:nvGrpSpPr>
        <p:cNvPr id="1" name=""/>
        <p:cNvGrpSpPr/>
        <p:nvPr/>
      </p:nvGrpSpPr>
      <p:grpSpPr>
        <a:xfrm>
          <a:off x="0" y="0"/>
          <a:ext cx="0" cy="0"/>
          <a:chOff x="0" y="0"/>
          <a:chExt cx="0" cy="0"/>
        </a:xfrm>
      </p:grpSpPr>
      <p:pic>
        <p:nvPicPr>
          <p:cNvPr id="5" name="Imagem 4" descr="Interface gráfica do usuário&#10;&#10;Descrição gerada automaticamente">
            <a:extLst>
              <a:ext uri="{FF2B5EF4-FFF2-40B4-BE49-F238E27FC236}">
                <a16:creationId xmlns:a16="http://schemas.microsoft.com/office/drawing/2014/main" id="{6FF46B51-4943-28BA-BB8C-991B8AD63D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398555762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CHAPTER DIVIDER 3_1">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812320F5-0B2E-549D-EF08-8172CF25A7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33142145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HAPTER DIVIDER 4_1">
    <p:spTree>
      <p:nvGrpSpPr>
        <p:cNvPr id="1" name=""/>
        <p:cNvGrpSpPr/>
        <p:nvPr/>
      </p:nvGrpSpPr>
      <p:grpSpPr>
        <a:xfrm>
          <a:off x="0" y="0"/>
          <a:ext cx="0" cy="0"/>
          <a:chOff x="0" y="0"/>
          <a:chExt cx="0" cy="0"/>
        </a:xfrm>
      </p:grpSpPr>
      <p:pic>
        <p:nvPicPr>
          <p:cNvPr id="4" name="Imagem 3" descr="Tela de celular com publicação numa rede social&#10;&#10;Descrição gerada automaticamente com confiança média">
            <a:extLst>
              <a:ext uri="{FF2B5EF4-FFF2-40B4-BE49-F238E27FC236}">
                <a16:creationId xmlns:a16="http://schemas.microsoft.com/office/drawing/2014/main" id="{22C7D514-78BB-FF2E-28F4-0613BE7E87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9297443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CHAPTER DIVIDER 4_1">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22C7D514-78BB-FF2E-28F4-0613BE7E87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54871346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CHAPTER DIVIDER 4_1">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FC58310C-2580-44C1-B8BB-80F08FD684F9}"/>
              </a:ext>
            </a:extLst>
          </p:cNvPr>
          <p:cNvSpPr/>
          <p:nvPr userDrawn="1"/>
        </p:nvSpPr>
        <p:spPr>
          <a:xfrm>
            <a:off x="0" y="0"/>
            <a:ext cx="12192000" cy="6858000"/>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1">
            <a:extLst>
              <a:ext uri="{FF2B5EF4-FFF2-40B4-BE49-F238E27FC236}">
                <a16:creationId xmlns:a16="http://schemas.microsoft.com/office/drawing/2014/main" id="{E0F0FC82-635D-47AA-B697-E5E67C24805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588" t="-9562" r="-1101" b="-17071"/>
          <a:stretch/>
        </p:blipFill>
        <p:spPr>
          <a:xfrm rot="16200000">
            <a:off x="-3000945" y="3000946"/>
            <a:ext cx="6858000" cy="856109"/>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0650909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01_02">
    <p:spTree>
      <p:nvGrpSpPr>
        <p:cNvPr id="1" name=""/>
        <p:cNvGrpSpPr/>
        <p:nvPr/>
      </p:nvGrpSpPr>
      <p:grpSpPr>
        <a:xfrm>
          <a:off x="0" y="0"/>
          <a:ext cx="0" cy="0"/>
          <a:chOff x="0" y="0"/>
          <a:chExt cx="0" cy="0"/>
        </a:xfrm>
      </p:grpSpPr>
      <p:pic>
        <p:nvPicPr>
          <p:cNvPr id="5" name="Imagem 4" descr="Texto&#10;&#10;Descrição gerada automaticamente com confiança média">
            <a:extLst>
              <a:ext uri="{FF2B5EF4-FFF2-40B4-BE49-F238E27FC236}">
                <a16:creationId xmlns:a16="http://schemas.microsoft.com/office/drawing/2014/main" id="{A0A4B694-0080-00E1-D343-BF281FEE1FB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6071F729-1E22-D43C-01A2-BDC6F6F1E86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263280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ONTENT 1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5920B12B-3406-7D07-E5F1-C642EDEB58BA}"/>
              </a:ext>
            </a:extLst>
          </p:cNvPr>
          <p:cNvSpPr/>
          <p:nvPr userDrawn="1"/>
        </p:nvSpPr>
        <p:spPr>
          <a:xfrm>
            <a:off x="0" y="0"/>
            <a:ext cx="12191999" cy="6858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tabLst>
                <a:tab pos="8788400" algn="l"/>
              </a:tabLst>
            </a:pPr>
            <a:endParaRPr lang="pt-BR" dirty="0"/>
          </a:p>
        </p:txBody>
      </p:sp>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23278089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NTENT 2_1">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48205" y="6282406"/>
            <a:ext cx="4095591" cy="414596"/>
          </a:xfrm>
          <a:prstGeom prst="rect">
            <a:avLst/>
          </a:prstGeom>
        </p:spPr>
      </p:pic>
      <p:pic>
        <p:nvPicPr>
          <p:cNvPr id="9" name="Gráfico 8">
            <a:extLst>
              <a:ext uri="{FF2B5EF4-FFF2-40B4-BE49-F238E27FC236}">
                <a16:creationId xmlns:a16="http://schemas.microsoft.com/office/drawing/2014/main" id="{B621674F-7AB8-4D54-A4B9-0A224EC22BD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34394591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3_1">
    <p:spTree>
      <p:nvGrpSpPr>
        <p:cNvPr id="1" name=""/>
        <p:cNvGrpSpPr/>
        <p:nvPr/>
      </p:nvGrpSpPr>
      <p:grpSpPr>
        <a:xfrm>
          <a:off x="0" y="0"/>
          <a:ext cx="0" cy="0"/>
          <a:chOff x="0" y="0"/>
          <a:chExt cx="0" cy="0"/>
        </a:xfrm>
      </p:grpSpPr>
      <p:pic>
        <p:nvPicPr>
          <p:cNvPr id="2" name="Gráfico 1">
            <a:extLst>
              <a:ext uri="{FF2B5EF4-FFF2-40B4-BE49-F238E27FC236}">
                <a16:creationId xmlns:a16="http://schemas.microsoft.com/office/drawing/2014/main" id="{87B3A2A2-E626-EEBE-7E65-F6C3BD4EFD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57695" b="-17072"/>
          <a:stretch/>
        </p:blipFill>
        <p:spPr>
          <a:xfrm>
            <a:off x="5411305" y="3836447"/>
            <a:ext cx="6780695" cy="1899523"/>
          </a:xfrm>
          <a:prstGeom prst="rect">
            <a:avLst/>
          </a:prstGeom>
        </p:spPr>
      </p:pic>
      <p:pic>
        <p:nvPicPr>
          <p:cNvPr id="3" name="Imagem 2">
            <a:extLst>
              <a:ext uri="{FF2B5EF4-FFF2-40B4-BE49-F238E27FC236}">
                <a16:creationId xmlns:a16="http://schemas.microsoft.com/office/drawing/2014/main" id="{1766A65D-61BD-4558-8580-6AF07AE80AC4}"/>
              </a:ext>
            </a:extLst>
          </p:cNvPr>
          <p:cNvPicPr>
            <a:picLocks noChangeAspect="1"/>
          </p:cNvPicPr>
          <p:nvPr userDrawn="1"/>
        </p:nvPicPr>
        <p:blipFill>
          <a:blip r:embed="rId4">
            <a:extLst>
              <a:ext uri="{28A0092B-C50C-407E-A947-70E740481C1C}">
                <a14:useLocalDpi xmlns:a14="http://schemas.microsoft.com/office/drawing/2010/main" val="0"/>
              </a:ext>
            </a:extLst>
          </a:blip>
          <a:srcRect l="18608" r="18608"/>
          <a:stretch/>
        </p:blipFill>
        <p:spPr>
          <a:xfrm>
            <a:off x="5542961" y="900916"/>
            <a:ext cx="6649039" cy="5957084"/>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sp>
        <p:nvSpPr>
          <p:cNvPr id="4" name="Retângulo 3">
            <a:extLst>
              <a:ext uri="{FF2B5EF4-FFF2-40B4-BE49-F238E27FC236}">
                <a16:creationId xmlns:a16="http://schemas.microsoft.com/office/drawing/2014/main" id="{EDF71B93-C1FC-AD51-2C1B-E52211B432AE}"/>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Gráfico 7">
            <a:extLst>
              <a:ext uri="{FF2B5EF4-FFF2-40B4-BE49-F238E27FC236}">
                <a16:creationId xmlns:a16="http://schemas.microsoft.com/office/drawing/2014/main" id="{CF7EA05C-5E88-40D0-A900-8C8C05F78FF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956534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NTENT 4_1">
    <p:spTree>
      <p:nvGrpSpPr>
        <p:cNvPr id="1" name=""/>
        <p:cNvGrpSpPr/>
        <p:nvPr/>
      </p:nvGrpSpPr>
      <p:grpSpPr>
        <a:xfrm>
          <a:off x="0" y="0"/>
          <a:ext cx="0" cy="0"/>
          <a:chOff x="0" y="0"/>
          <a:chExt cx="0" cy="0"/>
        </a:xfrm>
      </p:grpSpPr>
      <p:pic>
        <p:nvPicPr>
          <p:cNvPr id="3" name="Imagem 2" descr="Homem sentado na cadeira&#10;&#10;Descrição gerada automaticamente">
            <a:extLst>
              <a:ext uri="{FF2B5EF4-FFF2-40B4-BE49-F238E27FC236}">
                <a16:creationId xmlns:a16="http://schemas.microsoft.com/office/drawing/2014/main" id="{62D70862-7DC2-10A9-E0D7-CA92FCC0CB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160C6DE3-4F9F-1A77-36E9-3F6942608CE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1" t="-1" r="-688" b="-17072"/>
          <a:stretch/>
        </p:blipFill>
        <p:spPr>
          <a:xfrm>
            <a:off x="1046375" y="6283779"/>
            <a:ext cx="4335250" cy="510265"/>
          </a:xfrm>
          <a:prstGeom prst="rect">
            <a:avLst/>
          </a:prstGeom>
        </p:spPr>
      </p:pic>
      <p:sp>
        <p:nvSpPr>
          <p:cNvPr id="5" name="Retângulo 4">
            <a:extLst>
              <a:ext uri="{FF2B5EF4-FFF2-40B4-BE49-F238E27FC236}">
                <a16:creationId xmlns:a16="http://schemas.microsoft.com/office/drawing/2014/main" id="{2B815D7F-D47F-D02A-5285-915361518AFD}"/>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66398012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CONTENT 5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DAB6F25E-3268-EB7C-96B2-590B53518C8E}"/>
              </a:ext>
            </a:extLst>
          </p:cNvPr>
          <p:cNvSpPr/>
          <p:nvPr userDrawn="1"/>
        </p:nvSpPr>
        <p:spPr>
          <a:xfrm>
            <a:off x="0" y="0"/>
            <a:ext cx="3060700" cy="6858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 name="Gráfico 4">
            <a:extLst>
              <a:ext uri="{FF2B5EF4-FFF2-40B4-BE49-F238E27FC236}">
                <a16:creationId xmlns:a16="http://schemas.microsoft.com/office/drawing/2014/main" id="{3E52AF03-CC5F-0FFA-60D3-C7D6A4E75A4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55627"/>
          <a:stretch/>
        </p:blipFill>
        <p:spPr>
          <a:xfrm rot="5400000">
            <a:off x="1445047" y="2646738"/>
            <a:ext cx="6858003" cy="1564526"/>
          </a:xfrm>
          <a:prstGeom prst="rect">
            <a:avLst/>
          </a:prstGeom>
        </p:spPr>
      </p:pic>
      <p:sp>
        <p:nvSpPr>
          <p:cNvPr id="8" name="Retângulo 7">
            <a:extLst>
              <a:ext uri="{FF2B5EF4-FFF2-40B4-BE49-F238E27FC236}">
                <a16:creationId xmlns:a16="http://schemas.microsoft.com/office/drawing/2014/main" id="{8152F7F9-628A-DDA7-5C67-2617D8C0DF31}"/>
              </a:ext>
            </a:extLst>
          </p:cNvPr>
          <p:cNvSpPr/>
          <p:nvPr userDrawn="1"/>
        </p:nvSpPr>
        <p:spPr>
          <a:xfrm>
            <a:off x="0" y="0"/>
            <a:ext cx="480767"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pic>
        <p:nvPicPr>
          <p:cNvPr id="3" name="Imagem 2" descr="Mulher sorrindo pousando para foto&#10;&#10;Descrição gerada automaticamente">
            <a:extLst>
              <a:ext uri="{FF2B5EF4-FFF2-40B4-BE49-F238E27FC236}">
                <a16:creationId xmlns:a16="http://schemas.microsoft.com/office/drawing/2014/main" id="{F30EE30B-BF37-8DB5-63C9-FEF9F188481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6361"/>
          <a:stretch/>
        </p:blipFill>
        <p:spPr>
          <a:xfrm>
            <a:off x="485481" y="-1"/>
            <a:ext cx="5466342" cy="6858000"/>
          </a:xfrm>
          <a:prstGeom prst="rect">
            <a:avLst/>
          </a:prstGeom>
        </p:spPr>
      </p:pic>
      <p:pic>
        <p:nvPicPr>
          <p:cNvPr id="9" name="Gráfico 8">
            <a:extLst>
              <a:ext uri="{FF2B5EF4-FFF2-40B4-BE49-F238E27FC236}">
                <a16:creationId xmlns:a16="http://schemas.microsoft.com/office/drawing/2014/main" id="{06AB9AFC-1357-4478-99EF-B16F82FE39F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8979796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ONTENT 6_1">
    <p:spTree>
      <p:nvGrpSpPr>
        <p:cNvPr id="1" name=""/>
        <p:cNvGrpSpPr/>
        <p:nvPr/>
      </p:nvGrpSpPr>
      <p:grpSpPr>
        <a:xfrm>
          <a:off x="0" y="0"/>
          <a:ext cx="0" cy="0"/>
          <a:chOff x="0" y="0"/>
          <a:chExt cx="0" cy="0"/>
        </a:xfrm>
      </p:grpSpPr>
      <p:pic>
        <p:nvPicPr>
          <p:cNvPr id="3" name="Imagem 2" descr="Padrão do plano de fundo&#10;&#10;Descrição gerada automaticamente com confiança média">
            <a:extLst>
              <a:ext uri="{FF2B5EF4-FFF2-40B4-BE49-F238E27FC236}">
                <a16:creationId xmlns:a16="http://schemas.microsoft.com/office/drawing/2014/main" id="{62C1F57A-6E8C-3E4E-B5D3-2DB6C0BFFC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
        <p:nvSpPr>
          <p:cNvPr id="4" name="Retângulo 3">
            <a:extLst>
              <a:ext uri="{FF2B5EF4-FFF2-40B4-BE49-F238E27FC236}">
                <a16:creationId xmlns:a16="http://schemas.microsoft.com/office/drawing/2014/main" id="{BDA26881-EAC6-EAC3-0611-22917F58549F}"/>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82380261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CONTENT 7_1">
    <p:spTree>
      <p:nvGrpSpPr>
        <p:cNvPr id="1" name=""/>
        <p:cNvGrpSpPr/>
        <p:nvPr/>
      </p:nvGrpSpPr>
      <p:grpSpPr>
        <a:xfrm>
          <a:off x="0" y="0"/>
          <a:ext cx="0" cy="0"/>
          <a:chOff x="0" y="0"/>
          <a:chExt cx="0" cy="0"/>
        </a:xfrm>
      </p:grpSpPr>
      <p:pic>
        <p:nvPicPr>
          <p:cNvPr id="5" name="Imagem 4" descr="Desenho de pessoa com celular na mão&#10;&#10;Descrição gerada automaticamente com confiança baixa">
            <a:extLst>
              <a:ext uri="{FF2B5EF4-FFF2-40B4-BE49-F238E27FC236}">
                <a16:creationId xmlns:a16="http://schemas.microsoft.com/office/drawing/2014/main" id="{220FFCB9-27AB-9412-53A9-A9509E1AE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
        <p:nvSpPr>
          <p:cNvPr id="4" name="Retângulo 3">
            <a:extLst>
              <a:ext uri="{FF2B5EF4-FFF2-40B4-BE49-F238E27FC236}">
                <a16:creationId xmlns:a16="http://schemas.microsoft.com/office/drawing/2014/main" id="{BDA26881-EAC6-EAC3-0611-22917F58549F}"/>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819733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CONTENT 8_1">
    <p:spTree>
      <p:nvGrpSpPr>
        <p:cNvPr id="1" name=""/>
        <p:cNvGrpSpPr/>
        <p:nvPr/>
      </p:nvGrpSpPr>
      <p:grpSpPr>
        <a:xfrm>
          <a:off x="0" y="0"/>
          <a:ext cx="0" cy="0"/>
          <a:chOff x="0" y="0"/>
          <a:chExt cx="0" cy="0"/>
        </a:xfrm>
      </p:grpSpPr>
      <p:pic>
        <p:nvPicPr>
          <p:cNvPr id="5" name="Imagem 4" descr="Uma imagem contendo terno, computador&#10;&#10;Descrição gerada automaticamente">
            <a:extLst>
              <a:ext uri="{FF2B5EF4-FFF2-40B4-BE49-F238E27FC236}">
                <a16:creationId xmlns:a16="http://schemas.microsoft.com/office/drawing/2014/main" id="{AA5BCC3C-6878-51F6-B3A4-935CA01F6A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
        <p:nvSpPr>
          <p:cNvPr id="4" name="Retângulo 3">
            <a:extLst>
              <a:ext uri="{FF2B5EF4-FFF2-40B4-BE49-F238E27FC236}">
                <a16:creationId xmlns:a16="http://schemas.microsoft.com/office/drawing/2014/main" id="{BDA26881-EAC6-EAC3-0611-22917F58549F}"/>
              </a:ext>
            </a:extLst>
          </p:cNvPr>
          <p:cNvSpPr/>
          <p:nvPr userDrawn="1"/>
        </p:nvSpPr>
        <p:spPr>
          <a:xfrm>
            <a:off x="0" y="0"/>
            <a:ext cx="480767"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60912957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
        <p:nvSpPr>
          <p:cNvPr id="4" name="Retângulo 3">
            <a:extLst>
              <a:ext uri="{FF2B5EF4-FFF2-40B4-BE49-F238E27FC236}">
                <a16:creationId xmlns:a16="http://schemas.microsoft.com/office/drawing/2014/main" id="{BDA26881-EAC6-EAC3-0611-22917F58549F}"/>
              </a:ext>
            </a:extLst>
          </p:cNvPr>
          <p:cNvSpPr/>
          <p:nvPr userDrawn="1"/>
        </p:nvSpPr>
        <p:spPr>
          <a:xfrm>
            <a:off x="0" y="0"/>
            <a:ext cx="480767"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57902746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7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
        <p:nvSpPr>
          <p:cNvPr id="4" name="Retângulo 3">
            <a:extLst>
              <a:ext uri="{FF2B5EF4-FFF2-40B4-BE49-F238E27FC236}">
                <a16:creationId xmlns:a16="http://schemas.microsoft.com/office/drawing/2014/main" id="{BDA26881-EAC6-EAC3-0611-22917F58549F}"/>
              </a:ext>
            </a:extLst>
          </p:cNvPr>
          <p:cNvSpPr/>
          <p:nvPr userDrawn="1"/>
        </p:nvSpPr>
        <p:spPr>
          <a:xfrm>
            <a:off x="0" y="0"/>
            <a:ext cx="480767"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8832214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VER 01_02">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A0A4B694-0080-00E1-D343-BF281FEE1FB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6071F729-1E22-D43C-01A2-BDC6F6F1E86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198677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8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
        <p:nvSpPr>
          <p:cNvPr id="4" name="Retângulo 3">
            <a:extLst>
              <a:ext uri="{FF2B5EF4-FFF2-40B4-BE49-F238E27FC236}">
                <a16:creationId xmlns:a16="http://schemas.microsoft.com/office/drawing/2014/main" id="{BDA26881-EAC6-EAC3-0611-22917F58549F}"/>
              </a:ext>
            </a:extLst>
          </p:cNvPr>
          <p:cNvSpPr/>
          <p:nvPr userDrawn="1"/>
        </p:nvSpPr>
        <p:spPr>
          <a:xfrm>
            <a:off x="0" y="0"/>
            <a:ext cx="480767" cy="3429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4269785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ráfico 2">
            <a:extLst>
              <a:ext uri="{FF2B5EF4-FFF2-40B4-BE49-F238E27FC236}">
                <a16:creationId xmlns:a16="http://schemas.microsoft.com/office/drawing/2014/main" id="{E9F9859F-4326-7ECD-A4F4-F471095124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49700" y="3699756"/>
            <a:ext cx="4292600" cy="872246"/>
          </a:xfrm>
          <a:prstGeom prst="rect">
            <a:avLst/>
          </a:prstGeom>
        </p:spPr>
      </p:pic>
      <p:pic>
        <p:nvPicPr>
          <p:cNvPr id="8" name="Gráfico 7">
            <a:extLst>
              <a:ext uri="{FF2B5EF4-FFF2-40B4-BE49-F238E27FC236}">
                <a16:creationId xmlns:a16="http://schemas.microsoft.com/office/drawing/2014/main" id="{1D45BD6D-4D5A-36B6-4C94-FB72E98A567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1781"/>
          <a:stretch/>
        </p:blipFill>
        <p:spPr>
          <a:xfrm>
            <a:off x="0" y="6282406"/>
            <a:ext cx="1974850" cy="414596"/>
          </a:xfrm>
          <a:prstGeom prst="rect">
            <a:avLst/>
          </a:prstGeom>
        </p:spPr>
      </p:pic>
      <p:pic>
        <p:nvPicPr>
          <p:cNvPr id="9" name="Gráfico 8">
            <a:extLst>
              <a:ext uri="{FF2B5EF4-FFF2-40B4-BE49-F238E27FC236}">
                <a16:creationId xmlns:a16="http://schemas.microsoft.com/office/drawing/2014/main" id="{B47C7AC4-9941-F4B9-159E-B09BD0C678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1974850" y="6282406"/>
            <a:ext cx="4095591" cy="414596"/>
          </a:xfrm>
          <a:prstGeom prst="rect">
            <a:avLst/>
          </a:prstGeom>
        </p:spPr>
      </p:pic>
      <p:pic>
        <p:nvPicPr>
          <p:cNvPr id="10" name="Gráfico 9">
            <a:extLst>
              <a:ext uri="{FF2B5EF4-FFF2-40B4-BE49-F238E27FC236}">
                <a16:creationId xmlns:a16="http://schemas.microsoft.com/office/drawing/2014/main" id="{77A4778C-3769-0948-C790-63DA4B669B4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559" y="6282406"/>
            <a:ext cx="4095591" cy="414596"/>
          </a:xfrm>
          <a:prstGeom prst="rect">
            <a:avLst/>
          </a:prstGeom>
        </p:spPr>
      </p:pic>
      <p:pic>
        <p:nvPicPr>
          <p:cNvPr id="11" name="Gráfico 10">
            <a:extLst>
              <a:ext uri="{FF2B5EF4-FFF2-40B4-BE49-F238E27FC236}">
                <a16:creationId xmlns:a16="http://schemas.microsoft.com/office/drawing/2014/main" id="{6E15532A-ECD9-0824-DBDC-C67C4251D7D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1781"/>
          <a:stretch/>
        </p:blipFill>
        <p:spPr>
          <a:xfrm rot="10800000">
            <a:off x="10217150" y="6282406"/>
            <a:ext cx="1974850" cy="414596"/>
          </a:xfrm>
          <a:prstGeom prst="rect">
            <a:avLst/>
          </a:prstGeom>
        </p:spPr>
      </p:pic>
    </p:spTree>
    <p:extLst>
      <p:ext uri="{BB962C8B-B14F-4D97-AF65-F5344CB8AC3E}">
        <p14:creationId xmlns:p14="http://schemas.microsoft.com/office/powerpoint/2010/main" val="417594808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ráfico 2">
            <a:extLst>
              <a:ext uri="{FF2B5EF4-FFF2-40B4-BE49-F238E27FC236}">
                <a16:creationId xmlns:a16="http://schemas.microsoft.com/office/drawing/2014/main" id="{E9F9859F-4326-7ECD-A4F4-F471095124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49700" y="3699756"/>
            <a:ext cx="4292600" cy="872246"/>
          </a:xfrm>
          <a:prstGeom prst="rect">
            <a:avLst/>
          </a:prstGeom>
        </p:spPr>
      </p:pic>
      <p:pic>
        <p:nvPicPr>
          <p:cNvPr id="12" name="Imagem 11" descr="Texto&#10;&#10;Descrição gerada automaticamente">
            <a:extLst>
              <a:ext uri="{FF2B5EF4-FFF2-40B4-BE49-F238E27FC236}">
                <a16:creationId xmlns:a16="http://schemas.microsoft.com/office/drawing/2014/main" id="{67218B83-1F10-4517-8691-0968CCCF80D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806294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OVER 04_1">
    <p:spTree>
      <p:nvGrpSpPr>
        <p:cNvPr id="1" name=""/>
        <p:cNvGrpSpPr/>
        <p:nvPr/>
      </p:nvGrpSpPr>
      <p:grpSpPr>
        <a:xfrm>
          <a:off x="0" y="0"/>
          <a:ext cx="0" cy="0"/>
          <a:chOff x="0" y="0"/>
          <a:chExt cx="0" cy="0"/>
        </a:xfrm>
      </p:grpSpPr>
      <p:pic>
        <p:nvPicPr>
          <p:cNvPr id="4" name="Imagem 3" descr="Uma imagem contendo Interface gráfica do usuário&#10;&#10;Descrição gerada automaticamente">
            <a:extLst>
              <a:ext uri="{FF2B5EF4-FFF2-40B4-BE49-F238E27FC236}">
                <a16:creationId xmlns:a16="http://schemas.microsoft.com/office/drawing/2014/main" id="{DFFA1CF5-C380-AFD1-0EA3-08C86A4826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417480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OVER 04_1">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DFFA1CF5-C380-AFD1-0EA3-08C86A4826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150562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m barra sem grafism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9022675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AGENDA 2_1">
    <p:spTree>
      <p:nvGrpSpPr>
        <p:cNvPr id="1" name=""/>
        <p:cNvGrpSpPr/>
        <p:nvPr/>
      </p:nvGrpSpPr>
      <p:grpSpPr>
        <a:xfrm>
          <a:off x="0" y="0"/>
          <a:ext cx="0" cy="0"/>
          <a:chOff x="0" y="0"/>
          <a:chExt cx="0" cy="0"/>
        </a:xfrm>
      </p:grpSpPr>
      <p:pic>
        <p:nvPicPr>
          <p:cNvPr id="3" name="Imagem 2" descr="Uma imagem contendo Interface gráfica do usuário&#10;&#10;Descrição gerada automaticamente">
            <a:extLst>
              <a:ext uri="{FF2B5EF4-FFF2-40B4-BE49-F238E27FC236}">
                <a16:creationId xmlns:a16="http://schemas.microsoft.com/office/drawing/2014/main" id="{98578C6B-53AD-0CC2-9521-7743518261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8921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CHAPTER DIVIDER 1_1">
    <p:spTree>
      <p:nvGrpSpPr>
        <p:cNvPr id="1" name=""/>
        <p:cNvGrpSpPr/>
        <p:nvPr/>
      </p:nvGrpSpPr>
      <p:grpSpPr>
        <a:xfrm>
          <a:off x="0" y="0"/>
          <a:ext cx="0" cy="0"/>
          <a:chOff x="0" y="0"/>
          <a:chExt cx="0" cy="0"/>
        </a:xfrm>
      </p:grpSpPr>
      <p:pic>
        <p:nvPicPr>
          <p:cNvPr id="4" name="Imagem 3" descr="Homem com as mãos&#10;&#10;Descrição gerada automaticamente com confiança baixa">
            <a:extLst>
              <a:ext uri="{FF2B5EF4-FFF2-40B4-BE49-F238E27FC236}">
                <a16:creationId xmlns:a16="http://schemas.microsoft.com/office/drawing/2014/main" id="{5406EF44-9DCB-58E6-A55F-DEB89C897D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C9AEC75B-B2E4-B06B-3452-A06E168E26E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715934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CHAPTER DIVIDER 1_1">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5406EF44-9DCB-58E6-A55F-DEB89C897D02}"/>
              </a:ext>
            </a:extLst>
          </p:cNvPr>
          <p:cNvPicPr>
            <a:picLocks noChangeAspect="1"/>
          </p:cNvPicPr>
          <p:nvPr userDrawn="1"/>
        </p:nvPicPr>
        <p:blipFill>
          <a:blip r:embed="rId2"/>
          <a:src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C9AEC75B-B2E4-B06B-3452-A06E168E26E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95579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HAPTER DIVIDER 2_1">
    <p:spTree>
      <p:nvGrpSpPr>
        <p:cNvPr id="1" name=""/>
        <p:cNvGrpSpPr/>
        <p:nvPr/>
      </p:nvGrpSpPr>
      <p:grpSpPr>
        <a:xfrm>
          <a:off x="0" y="0"/>
          <a:ext cx="0" cy="0"/>
          <a:chOff x="0" y="0"/>
          <a:chExt cx="0" cy="0"/>
        </a:xfrm>
      </p:grpSpPr>
      <p:pic>
        <p:nvPicPr>
          <p:cNvPr id="4" name="Imagem 3" descr="Uma imagem contendo comida&#10;&#10;Descrição gerada automaticamente">
            <a:extLst>
              <a:ext uri="{FF2B5EF4-FFF2-40B4-BE49-F238E27FC236}">
                <a16:creationId xmlns:a16="http://schemas.microsoft.com/office/drawing/2014/main" id="{CE8FE8B3-C207-C93B-34C8-3D38FFD688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4243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HAPTER DIVIDER 3_1">
    <p:spTree>
      <p:nvGrpSpPr>
        <p:cNvPr id="1" name=""/>
        <p:cNvGrpSpPr/>
        <p:nvPr/>
      </p:nvGrpSpPr>
      <p:grpSpPr>
        <a:xfrm>
          <a:off x="0" y="0"/>
          <a:ext cx="0" cy="0"/>
          <a:chOff x="0" y="0"/>
          <a:chExt cx="0" cy="0"/>
        </a:xfrm>
      </p:grpSpPr>
      <p:pic>
        <p:nvPicPr>
          <p:cNvPr id="5" name="Imagem 4" descr="Interface gráfica do usuário&#10;&#10;Descrição gerada automaticamente">
            <a:extLst>
              <a:ext uri="{FF2B5EF4-FFF2-40B4-BE49-F238E27FC236}">
                <a16:creationId xmlns:a16="http://schemas.microsoft.com/office/drawing/2014/main" id="{6FF46B51-4943-28BA-BB8C-991B8AD63D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54786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AGENDA 2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98578C6B-53AD-0CC2-9521-7743518261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403409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CHAPTER DIVIDER 3_1">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812320F5-0B2E-549D-EF08-8172CF25A7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127801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HAPTER DIVIDER 4_1">
    <p:spTree>
      <p:nvGrpSpPr>
        <p:cNvPr id="1" name=""/>
        <p:cNvGrpSpPr/>
        <p:nvPr/>
      </p:nvGrpSpPr>
      <p:grpSpPr>
        <a:xfrm>
          <a:off x="0" y="0"/>
          <a:ext cx="0" cy="0"/>
          <a:chOff x="0" y="0"/>
          <a:chExt cx="0" cy="0"/>
        </a:xfrm>
      </p:grpSpPr>
      <p:pic>
        <p:nvPicPr>
          <p:cNvPr id="4" name="Imagem 3" descr="Tela de celular com publicação numa rede social&#10;&#10;Descrição gerada automaticamente com confiança média">
            <a:extLst>
              <a:ext uri="{FF2B5EF4-FFF2-40B4-BE49-F238E27FC236}">
                <a16:creationId xmlns:a16="http://schemas.microsoft.com/office/drawing/2014/main" id="{22C7D514-78BB-FF2E-28F4-0613BE7E87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408728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HAPTER DIVIDER 4_1">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22C7D514-78BB-FF2E-28F4-0613BE7E87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412739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apenas log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2" name="Título 2">
            <a:extLst>
              <a:ext uri="{FF2B5EF4-FFF2-40B4-BE49-F238E27FC236}">
                <a16:creationId xmlns:a16="http://schemas.microsoft.com/office/drawing/2014/main" id="{1B24AEAF-B87F-6738-FDD8-667C8FD54B35}"/>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014865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m barra">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CB58A888-DFD6-1C2D-06A5-3AC4CB6850C4}"/>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4385529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mplet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05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558C"/>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42343742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om barra sem grafism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3" name="Retângulo 2">
            <a:extLst>
              <a:ext uri="{FF2B5EF4-FFF2-40B4-BE49-F238E27FC236}">
                <a16:creationId xmlns:a16="http://schemas.microsoft.com/office/drawing/2014/main" id="{9CE783BC-6688-8C8B-A1DC-02A76C8B839D}"/>
              </a:ext>
            </a:extLst>
          </p:cNvPr>
          <p:cNvSpPr/>
          <p:nvPr userDrawn="1"/>
        </p:nvSpPr>
        <p:spPr>
          <a:xfrm>
            <a:off x="0" y="0"/>
            <a:ext cx="480767" cy="3429000"/>
          </a:xfrm>
          <a:prstGeom prst="rect">
            <a:avLst/>
          </a:prstGeom>
          <a:solidFill>
            <a:srgbClr val="0055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ítulo 2">
            <a:extLst>
              <a:ext uri="{FF2B5EF4-FFF2-40B4-BE49-F238E27FC236}">
                <a16:creationId xmlns:a16="http://schemas.microsoft.com/office/drawing/2014/main" id="{DB68DC13-26AF-D56E-3D74-24A6EE2741F7}"/>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558C"/>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620558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em barra">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4" name="Título 2">
            <a:extLst>
              <a:ext uri="{FF2B5EF4-FFF2-40B4-BE49-F238E27FC236}">
                <a16:creationId xmlns:a16="http://schemas.microsoft.com/office/drawing/2014/main" id="{1C8FD993-BEA5-92F6-88E9-CCAE0DA157ED}"/>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558C"/>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901728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apenas log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2" name="Título 2">
            <a:extLst>
              <a:ext uri="{FF2B5EF4-FFF2-40B4-BE49-F238E27FC236}">
                <a16:creationId xmlns:a16="http://schemas.microsoft.com/office/drawing/2014/main" id="{1B24AEAF-B87F-6738-FDD8-667C8FD54B35}"/>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558C"/>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13609626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complet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A3E0"/>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9475354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com barra sem grafism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3" name="Retângulo 2">
            <a:extLst>
              <a:ext uri="{FF2B5EF4-FFF2-40B4-BE49-F238E27FC236}">
                <a16:creationId xmlns:a16="http://schemas.microsoft.com/office/drawing/2014/main" id="{9CE783BC-6688-8C8B-A1DC-02A76C8B839D}"/>
              </a:ext>
            </a:extLst>
          </p:cNvPr>
          <p:cNvSpPr/>
          <p:nvPr userDrawn="1"/>
        </p:nvSpPr>
        <p:spPr>
          <a:xfrm>
            <a:off x="0" y="0"/>
            <a:ext cx="480767" cy="3429000"/>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ítulo 2">
            <a:extLst>
              <a:ext uri="{FF2B5EF4-FFF2-40B4-BE49-F238E27FC236}">
                <a16:creationId xmlns:a16="http://schemas.microsoft.com/office/drawing/2014/main" id="{DB68DC13-26AF-D56E-3D74-24A6EE2741F7}"/>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A3E0"/>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40538520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sem barra">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4" name="Título 2">
            <a:extLst>
              <a:ext uri="{FF2B5EF4-FFF2-40B4-BE49-F238E27FC236}">
                <a16:creationId xmlns:a16="http://schemas.microsoft.com/office/drawing/2014/main" id="{1C8FD993-BEA5-92F6-88E9-CCAE0DA157ED}"/>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A3E0"/>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2799763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apenas log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2" name="Título 2">
            <a:extLst>
              <a:ext uri="{FF2B5EF4-FFF2-40B4-BE49-F238E27FC236}">
                <a16:creationId xmlns:a16="http://schemas.microsoft.com/office/drawing/2014/main" id="{1B24AEAF-B87F-6738-FDD8-667C8FD54B35}"/>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A3E0"/>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9018036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complet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B2A9"/>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1106506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om barra sem grafism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3" name="Retângulo 2">
            <a:extLst>
              <a:ext uri="{FF2B5EF4-FFF2-40B4-BE49-F238E27FC236}">
                <a16:creationId xmlns:a16="http://schemas.microsoft.com/office/drawing/2014/main" id="{9CE783BC-6688-8C8B-A1DC-02A76C8B839D}"/>
              </a:ext>
            </a:extLst>
          </p:cNvPr>
          <p:cNvSpPr/>
          <p:nvPr userDrawn="1"/>
        </p:nvSpPr>
        <p:spPr>
          <a:xfrm>
            <a:off x="0" y="0"/>
            <a:ext cx="480767" cy="3429000"/>
          </a:xfrm>
          <a:prstGeom prst="rect">
            <a:avLst/>
          </a:prstGeom>
          <a:solidFill>
            <a:srgbClr val="00B2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Título 2">
            <a:extLst>
              <a:ext uri="{FF2B5EF4-FFF2-40B4-BE49-F238E27FC236}">
                <a16:creationId xmlns:a16="http://schemas.microsoft.com/office/drawing/2014/main" id="{DB68DC13-26AF-D56E-3D74-24A6EE2741F7}"/>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B2A9"/>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728995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VER 01_03">
    <p:spTree>
      <p:nvGrpSpPr>
        <p:cNvPr id="1" name=""/>
        <p:cNvGrpSpPr/>
        <p:nvPr/>
      </p:nvGrpSpPr>
      <p:grpSpPr>
        <a:xfrm>
          <a:off x="0" y="0"/>
          <a:ext cx="0" cy="0"/>
          <a:chOff x="0" y="0"/>
          <a:chExt cx="0" cy="0"/>
        </a:xfrm>
      </p:grpSpPr>
      <p:pic>
        <p:nvPicPr>
          <p:cNvPr id="4" name="Imagem 3" descr="Texto&#10;&#10;Descrição gerada automaticamente com confiança média">
            <a:extLst>
              <a:ext uri="{FF2B5EF4-FFF2-40B4-BE49-F238E27FC236}">
                <a16:creationId xmlns:a16="http://schemas.microsoft.com/office/drawing/2014/main" id="{783D44E5-7D61-99C1-2843-B6BC423E2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941C4124-0F04-0E03-EDC6-7A5EF6C0A74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15421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em barra">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4" name="Título 2">
            <a:extLst>
              <a:ext uri="{FF2B5EF4-FFF2-40B4-BE49-F238E27FC236}">
                <a16:creationId xmlns:a16="http://schemas.microsoft.com/office/drawing/2014/main" id="{1C8FD993-BEA5-92F6-88E9-CCAE0DA157ED}"/>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B2A9"/>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29061259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apenas log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Calibri" panose="020F0502020204030204" pitchFamily="34" charset="0"/>
              </a:rPr>
              <a:pPr algn="ctr"/>
              <a:t>‹nº›</a:t>
            </a:fld>
            <a:endParaRPr lang="pt-BR" sz="1100" b="1" dirty="0">
              <a:solidFill>
                <a:schemeClr val="tx1">
                  <a:lumMod val="50000"/>
                  <a:lumOff val="50000"/>
                </a:schemeClr>
              </a:solidFill>
              <a:latin typeface="Calibri" panose="020F0502020204030204" pitchFamily="34" charset="0"/>
            </a:endParaRPr>
          </a:p>
        </p:txBody>
      </p:sp>
      <p:sp>
        <p:nvSpPr>
          <p:cNvPr id="2" name="Título 2">
            <a:extLst>
              <a:ext uri="{FF2B5EF4-FFF2-40B4-BE49-F238E27FC236}">
                <a16:creationId xmlns:a16="http://schemas.microsoft.com/office/drawing/2014/main" id="{1B24AEAF-B87F-6738-FDD8-667C8FD54B35}"/>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0B2A9"/>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0291789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let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a:solidFill>
                <a:schemeClr val="tx1">
                  <a:lumMod val="50000"/>
                  <a:lumOff val="50000"/>
                </a:schemeClr>
              </a:solidFill>
              <a:latin typeface="Omnes" panose="02000606040000020004" pitchFamily="50"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8475292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 barra sem grafismo">
    <p:spTree>
      <p:nvGrpSpPr>
        <p:cNvPr id="1" name=""/>
        <p:cNvGrpSpPr/>
        <p:nvPr/>
      </p:nvGrpSpPr>
      <p:grpSpPr>
        <a:xfrm>
          <a:off x="0" y="0"/>
          <a:ext cx="0" cy="0"/>
          <a:chOff x="0" y="0"/>
          <a:chExt cx="0" cy="0"/>
        </a:xfrm>
      </p:grpSpPr>
      <p:sp>
        <p:nvSpPr>
          <p:cNvPr id="5" name="Retângulo 4">
            <a:extLst>
              <a:ext uri="{FF2B5EF4-FFF2-40B4-BE49-F238E27FC236}">
                <a16:creationId xmlns:a16="http://schemas.microsoft.com/office/drawing/2014/main" id="{1EE1B22C-A90A-1F27-D16A-6D7910703F09}"/>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a:solidFill>
                <a:schemeClr val="tx1">
                  <a:lumMod val="50000"/>
                  <a:lumOff val="50000"/>
                </a:schemeClr>
              </a:solidFill>
              <a:latin typeface="Omnes" panose="02000606040000020004" pitchFamily="50" charset="0"/>
            </a:endParaRPr>
          </a:p>
        </p:txBody>
      </p:sp>
      <p:sp>
        <p:nvSpPr>
          <p:cNvPr id="2" name="Título 2">
            <a:extLst>
              <a:ext uri="{FF2B5EF4-FFF2-40B4-BE49-F238E27FC236}">
                <a16:creationId xmlns:a16="http://schemas.microsoft.com/office/drawing/2014/main" id="{F0995384-DC54-0C3F-C676-FEB01AF462D2}"/>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40791281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m barra">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a:solidFill>
                <a:schemeClr val="tx1">
                  <a:lumMod val="50000"/>
                  <a:lumOff val="50000"/>
                </a:schemeClr>
              </a:solidFill>
              <a:latin typeface="Omnes" panose="02000606040000020004" pitchFamily="50"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CB58A888-DFD6-1C2D-06A5-3AC4CB6850C4}"/>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8966192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penas logo">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a:solidFill>
                <a:schemeClr val="tx1">
                  <a:lumMod val="50000"/>
                  <a:lumOff val="50000"/>
                </a:schemeClr>
              </a:solidFill>
              <a:latin typeface="Omnes" panose="02000606040000020004" pitchFamily="50" charset="0"/>
            </a:endParaRPr>
          </a:p>
        </p:txBody>
      </p:sp>
      <p:sp>
        <p:nvSpPr>
          <p:cNvPr id="2" name="Título 2">
            <a:extLst>
              <a:ext uri="{FF2B5EF4-FFF2-40B4-BE49-F238E27FC236}">
                <a16:creationId xmlns:a16="http://schemas.microsoft.com/office/drawing/2014/main" id="{1B24AEAF-B87F-6738-FDD8-667C8FD54B35}"/>
              </a:ext>
            </a:extLst>
          </p:cNvPr>
          <p:cNvSpPr>
            <a:spLocks noGrp="1"/>
          </p:cNvSpPr>
          <p:nvPr>
            <p:ph type="title" hasCustomPrompt="1"/>
          </p:nvPr>
        </p:nvSpPr>
        <p:spPr>
          <a:xfrm>
            <a:off x="624114" y="151440"/>
            <a:ext cx="11119880" cy="614684"/>
          </a:xfrm>
          <a:prstGeom prst="rect">
            <a:avLst/>
          </a:prstGeom>
        </p:spPr>
        <p:txBody>
          <a:bodyPr anchor="t">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Tree>
    <p:extLst>
      <p:ext uri="{BB962C8B-B14F-4D97-AF65-F5344CB8AC3E}">
        <p14:creationId xmlns:p14="http://schemas.microsoft.com/office/powerpoint/2010/main" val="3171372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HAPTER DIVIDER 2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96296192-3B4D-B2AC-B0B3-BF0E0EE1CB04}"/>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93097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CHAPTER DIVIDER 3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2F2BA7CA-1D50-616F-5DF9-014289E692D1}"/>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282536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CHAPTER DIVIDER 4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06891DE7-5C40-3316-6C87-997C7CD48A28}"/>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51681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CHAPTER DIVIDER 4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06891DE7-5C40-3316-6C87-997C7CD48A28}"/>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83326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VER 01_03">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783D44E5-7D61-99C1-2843-B6BC423E20C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941C4124-0F04-0E03-EDC6-7A5EF6C0A74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212751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CHAPTER DIVIDER 4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06891DE7-5C40-3316-6C87-997C7CD48A28}"/>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06194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CHAPTER DIVIDER 4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06891DE7-5C40-3316-6C87-997C7CD48A28}"/>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85978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T 5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DAB6F25E-3268-EB7C-96B2-590B53518C8E}"/>
              </a:ext>
            </a:extLst>
          </p:cNvPr>
          <p:cNvSpPr/>
          <p:nvPr userDrawn="1"/>
        </p:nvSpPr>
        <p:spPr>
          <a:xfrm>
            <a:off x="0" y="0"/>
            <a:ext cx="12192000" cy="6858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 name="Gráfico 4">
            <a:extLst>
              <a:ext uri="{FF2B5EF4-FFF2-40B4-BE49-F238E27FC236}">
                <a16:creationId xmlns:a16="http://schemas.microsoft.com/office/drawing/2014/main" id="{3E52AF03-CC5F-0FFA-60D3-C7D6A4E75A4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55627"/>
          <a:stretch/>
        </p:blipFill>
        <p:spPr>
          <a:xfrm rot="5400000">
            <a:off x="924347" y="2646738"/>
            <a:ext cx="6858003" cy="1564526"/>
          </a:xfrm>
          <a:prstGeom prst="rect">
            <a:avLst/>
          </a:prstGeom>
        </p:spPr>
      </p:pic>
      <p:pic>
        <p:nvPicPr>
          <p:cNvPr id="10" name="Imagem 9" descr="Mulher sorrindo pousando para foto&#10;&#10;Descrição gerada automaticamente">
            <a:extLst>
              <a:ext uri="{FF2B5EF4-FFF2-40B4-BE49-F238E27FC236}">
                <a16:creationId xmlns:a16="http://schemas.microsoft.com/office/drawing/2014/main" id="{F30EE30B-BF37-8DB5-63C9-FEF9F188481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6361"/>
          <a:stretch/>
        </p:blipFill>
        <p:spPr>
          <a:xfrm flipH="1">
            <a:off x="-285583" y="-1"/>
            <a:ext cx="5421195" cy="6858000"/>
          </a:xfrm>
          <a:prstGeom prst="rect">
            <a:avLst/>
          </a:prstGeom>
        </p:spPr>
      </p:pic>
      <p:pic>
        <p:nvPicPr>
          <p:cNvPr id="9" name="Gráfico 8">
            <a:extLst>
              <a:ext uri="{FF2B5EF4-FFF2-40B4-BE49-F238E27FC236}">
                <a16:creationId xmlns:a16="http://schemas.microsoft.com/office/drawing/2014/main" id="{B773EC3B-B882-496D-B443-F5E4D9FCD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07674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 6_1">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9A8928C2-D09B-9895-2227-B0AE5FDE47F4}"/>
              </a:ext>
            </a:extLst>
          </p:cNvPr>
          <p:cNvPicPr>
            <a:picLocks noChangeAspect="1"/>
          </p:cNvPicPr>
          <p:nvPr userDrawn="1"/>
        </p:nvPicPr>
        <p:blipFill>
          <a:blip r:embed="rId2"/>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74608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pic>
        <p:nvPicPr>
          <p:cNvPr id="11" name="Imagem 10">
            <a:extLst>
              <a:ext uri="{FF2B5EF4-FFF2-40B4-BE49-F238E27FC236}">
                <a16:creationId xmlns:a16="http://schemas.microsoft.com/office/drawing/2014/main" id="{F50492C9-736F-E5E2-AAA1-2FD77AB7D2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12" name="Gráfico 11">
            <a:extLst>
              <a:ext uri="{FF2B5EF4-FFF2-40B4-BE49-F238E27FC236}">
                <a16:creationId xmlns:a16="http://schemas.microsoft.com/office/drawing/2014/main" id="{7DB89643-D8E3-1D2E-1A53-CEEABCB5194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4997225"/>
            <a:ext cx="2842697" cy="577625"/>
          </a:xfrm>
          <a:prstGeom prst="rect">
            <a:avLst/>
          </a:prstGeom>
        </p:spPr>
      </p:pic>
      <p:pic>
        <p:nvPicPr>
          <p:cNvPr id="13" name="Gráfico 12">
            <a:extLst>
              <a:ext uri="{FF2B5EF4-FFF2-40B4-BE49-F238E27FC236}">
                <a16:creationId xmlns:a16="http://schemas.microsoft.com/office/drawing/2014/main" id="{A0F7136E-A10F-2A89-5110-7CA9E41DC96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368300" y="5965959"/>
            <a:ext cx="6047014" cy="713846"/>
          </a:xfrm>
          <a:prstGeom prst="rect">
            <a:avLst/>
          </a:prstGeom>
        </p:spPr>
      </p:pic>
    </p:spTree>
    <p:extLst>
      <p:ext uri="{BB962C8B-B14F-4D97-AF65-F5344CB8AC3E}">
        <p14:creationId xmlns:p14="http://schemas.microsoft.com/office/powerpoint/2010/main" val="383134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Slide de Título">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E5D0620E-9207-A8AF-F84F-1CCA67598EF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C4735F5E-354A-8D15-9972-F7FE7B21D35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4997225"/>
            <a:ext cx="2842697" cy="577625"/>
          </a:xfrm>
          <a:prstGeom prst="rect">
            <a:avLst/>
          </a:prstGeom>
        </p:spPr>
      </p:pic>
      <p:pic>
        <p:nvPicPr>
          <p:cNvPr id="4" name="Gráfico 3">
            <a:extLst>
              <a:ext uri="{FF2B5EF4-FFF2-40B4-BE49-F238E27FC236}">
                <a16:creationId xmlns:a16="http://schemas.microsoft.com/office/drawing/2014/main" id="{EFD1FDC7-B424-8A5C-65C3-47BBBB734EA9}"/>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368300" y="5965959"/>
            <a:ext cx="6705600" cy="791592"/>
          </a:xfrm>
          <a:prstGeom prst="rect">
            <a:avLst/>
          </a:prstGeom>
        </p:spPr>
      </p:pic>
    </p:spTree>
    <p:extLst>
      <p:ext uri="{BB962C8B-B14F-4D97-AF65-F5344CB8AC3E}">
        <p14:creationId xmlns:p14="http://schemas.microsoft.com/office/powerpoint/2010/main" val="100824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01_1">
    <p:spTree>
      <p:nvGrpSpPr>
        <p:cNvPr id="1" name=""/>
        <p:cNvGrpSpPr/>
        <p:nvPr/>
      </p:nvGrpSpPr>
      <p:grpSpPr>
        <a:xfrm>
          <a:off x="0" y="0"/>
          <a:ext cx="0" cy="0"/>
          <a:chOff x="0" y="0"/>
          <a:chExt cx="0" cy="0"/>
        </a:xfrm>
      </p:grpSpPr>
      <p:pic>
        <p:nvPicPr>
          <p:cNvPr id="8" name="Imagem 7" descr="Desenho de uma pessoa&#10;&#10;Descrição gerada automaticamente com confiança média">
            <a:extLst>
              <a:ext uri="{FF2B5EF4-FFF2-40B4-BE49-F238E27FC236}">
                <a16:creationId xmlns:a16="http://schemas.microsoft.com/office/drawing/2014/main" id="{0B46C80E-3028-905F-AB36-598A5E5774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Gráfico 8">
            <a:extLst>
              <a:ext uri="{FF2B5EF4-FFF2-40B4-BE49-F238E27FC236}">
                <a16:creationId xmlns:a16="http://schemas.microsoft.com/office/drawing/2014/main" id="{7663ED42-9A54-F64B-4EB6-8C537E0D44E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147736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VER 01_1">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0B46C80E-3028-905F-AB36-598A5E5774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9" name="Gráfico 8">
            <a:extLst>
              <a:ext uri="{FF2B5EF4-FFF2-40B4-BE49-F238E27FC236}">
                <a16:creationId xmlns:a16="http://schemas.microsoft.com/office/drawing/2014/main" id="{7663ED42-9A54-F64B-4EB6-8C537E0D44E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436152" y="5778500"/>
            <a:ext cx="2842697" cy="577625"/>
          </a:xfrm>
          <a:prstGeom prst="rect">
            <a:avLst/>
          </a:prstGeom>
        </p:spPr>
      </p:pic>
    </p:spTree>
    <p:extLst>
      <p:ext uri="{BB962C8B-B14F-4D97-AF65-F5344CB8AC3E}">
        <p14:creationId xmlns:p14="http://schemas.microsoft.com/office/powerpoint/2010/main" val="248677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02_1">
    <p:spTree>
      <p:nvGrpSpPr>
        <p:cNvPr id="1" name=""/>
        <p:cNvGrpSpPr/>
        <p:nvPr/>
      </p:nvGrpSpPr>
      <p:grpSpPr>
        <a:xfrm>
          <a:off x="0" y="0"/>
          <a:ext cx="0" cy="0"/>
          <a:chOff x="0" y="0"/>
          <a:chExt cx="0" cy="0"/>
        </a:xfrm>
      </p:grpSpPr>
      <p:pic>
        <p:nvPicPr>
          <p:cNvPr id="7" name="Imagem 6" descr="Homem ao lado de computador&#10;&#10;Descrição gerada automaticamente com confiança média">
            <a:extLst>
              <a:ext uri="{FF2B5EF4-FFF2-40B4-BE49-F238E27FC236}">
                <a16:creationId xmlns:a16="http://schemas.microsoft.com/office/drawing/2014/main" id="{5F98F28B-1BA2-79DA-C2B6-44563FE2C5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1B228C4F-F31E-49C4-BA9C-0CFC76B6301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4997225"/>
            <a:ext cx="2842697" cy="577625"/>
          </a:xfrm>
          <a:prstGeom prst="rect">
            <a:avLst/>
          </a:prstGeom>
        </p:spPr>
      </p:pic>
      <p:pic>
        <p:nvPicPr>
          <p:cNvPr id="5" name="Gráfico 4">
            <a:extLst>
              <a:ext uri="{FF2B5EF4-FFF2-40B4-BE49-F238E27FC236}">
                <a16:creationId xmlns:a16="http://schemas.microsoft.com/office/drawing/2014/main" id="{C02EEF2F-E985-0472-A837-A7F5C9044A79}"/>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368300" y="5965959"/>
            <a:ext cx="6705600" cy="791592"/>
          </a:xfrm>
          <a:prstGeom prst="rect">
            <a:avLst/>
          </a:prstGeom>
        </p:spPr>
      </p:pic>
    </p:spTree>
    <p:extLst>
      <p:ext uri="{BB962C8B-B14F-4D97-AF65-F5344CB8AC3E}">
        <p14:creationId xmlns:p14="http://schemas.microsoft.com/office/powerpoint/2010/main" val="159339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VER 02_1">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5F98F28B-1BA2-79DA-C2B6-44563FE2C5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1B228C4F-F31E-49C4-BA9C-0CFC76B6301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4997225"/>
            <a:ext cx="2842697" cy="577625"/>
          </a:xfrm>
          <a:prstGeom prst="rect">
            <a:avLst/>
          </a:prstGeom>
        </p:spPr>
      </p:pic>
      <p:pic>
        <p:nvPicPr>
          <p:cNvPr id="2" name="Gráfico 1">
            <a:extLst>
              <a:ext uri="{FF2B5EF4-FFF2-40B4-BE49-F238E27FC236}">
                <a16:creationId xmlns:a16="http://schemas.microsoft.com/office/drawing/2014/main" id="{00F140D7-D40E-D8A9-BB4A-610ED42A532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368300" y="5965959"/>
            <a:ext cx="6047014" cy="713846"/>
          </a:xfrm>
          <a:prstGeom prst="rect">
            <a:avLst/>
          </a:prstGeom>
        </p:spPr>
      </p:pic>
    </p:spTree>
    <p:extLst>
      <p:ext uri="{BB962C8B-B14F-4D97-AF65-F5344CB8AC3E}">
        <p14:creationId xmlns:p14="http://schemas.microsoft.com/office/powerpoint/2010/main" val="5224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OVER 04_1">
    <p:spTree>
      <p:nvGrpSpPr>
        <p:cNvPr id="1" name=""/>
        <p:cNvGrpSpPr/>
        <p:nvPr/>
      </p:nvGrpSpPr>
      <p:grpSpPr>
        <a:xfrm>
          <a:off x="0" y="0"/>
          <a:ext cx="0" cy="0"/>
          <a:chOff x="0" y="0"/>
          <a:chExt cx="0" cy="0"/>
        </a:xfrm>
      </p:grpSpPr>
      <p:pic>
        <p:nvPicPr>
          <p:cNvPr id="4" name="Imagem 3" descr="Pessoa com as mãos&#10;&#10;Descrição gerada automaticamente com confiança média">
            <a:extLst>
              <a:ext uri="{FF2B5EF4-FFF2-40B4-BE49-F238E27FC236}">
                <a16:creationId xmlns:a16="http://schemas.microsoft.com/office/drawing/2014/main" id="{19C7C614-B7D7-FFC3-937F-AD37CC853F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34054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03_1">
    <p:spTree>
      <p:nvGrpSpPr>
        <p:cNvPr id="1" name=""/>
        <p:cNvGrpSpPr/>
        <p:nvPr/>
      </p:nvGrpSpPr>
      <p:grpSpPr>
        <a:xfrm>
          <a:off x="0" y="0"/>
          <a:ext cx="0" cy="0"/>
          <a:chOff x="0" y="0"/>
          <a:chExt cx="0" cy="0"/>
        </a:xfrm>
      </p:grpSpPr>
      <p:pic>
        <p:nvPicPr>
          <p:cNvPr id="6" name="Imagem 5" descr="Imagem editada de homem sorrindo&#10;&#10;Descrição gerada automaticamente com confiança média">
            <a:extLst>
              <a:ext uri="{FF2B5EF4-FFF2-40B4-BE49-F238E27FC236}">
                <a16:creationId xmlns:a16="http://schemas.microsoft.com/office/drawing/2014/main" id="{60874738-2E94-76B5-BAEE-163EB35898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283A325A-114A-7873-4AF4-7AD2E6551AC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74652" y="4177093"/>
            <a:ext cx="2842697" cy="577625"/>
          </a:xfrm>
          <a:prstGeom prst="rect">
            <a:avLst/>
          </a:prstGeom>
        </p:spPr>
      </p:pic>
      <p:pic>
        <p:nvPicPr>
          <p:cNvPr id="8" name="Gráfico 7">
            <a:extLst>
              <a:ext uri="{FF2B5EF4-FFF2-40B4-BE49-F238E27FC236}">
                <a16:creationId xmlns:a16="http://schemas.microsoft.com/office/drawing/2014/main" id="{669828E1-DAF7-F2F3-E99B-8C4650F1ECCF}"/>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391" b="-17072"/>
          <a:stretch/>
        </p:blipFill>
        <p:spPr>
          <a:xfrm>
            <a:off x="2743200" y="5636021"/>
            <a:ext cx="6705600" cy="791592"/>
          </a:xfrm>
          <a:prstGeom prst="rect">
            <a:avLst/>
          </a:prstGeom>
        </p:spPr>
      </p:pic>
    </p:spTree>
    <p:extLst>
      <p:ext uri="{BB962C8B-B14F-4D97-AF65-F5344CB8AC3E}">
        <p14:creationId xmlns:p14="http://schemas.microsoft.com/office/powerpoint/2010/main" val="3523172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04_1">
    <p:spTree>
      <p:nvGrpSpPr>
        <p:cNvPr id="1" name=""/>
        <p:cNvGrpSpPr/>
        <p:nvPr/>
      </p:nvGrpSpPr>
      <p:grpSpPr>
        <a:xfrm>
          <a:off x="0" y="0"/>
          <a:ext cx="0" cy="0"/>
          <a:chOff x="0" y="0"/>
          <a:chExt cx="0" cy="0"/>
        </a:xfrm>
      </p:grpSpPr>
      <p:pic>
        <p:nvPicPr>
          <p:cNvPr id="5" name="Imagem 4" descr="Pessoa sorrindo com celular na mão&#10;&#10;Descrição gerada automaticamente com confiança média">
            <a:extLst>
              <a:ext uri="{FF2B5EF4-FFF2-40B4-BE49-F238E27FC236}">
                <a16:creationId xmlns:a16="http://schemas.microsoft.com/office/drawing/2014/main" id="{99383251-81FA-2D01-5654-539F7B359B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228333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VER 04_1">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99383251-81FA-2D01-5654-539F7B359B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1841502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1_1">
    <p:spTree>
      <p:nvGrpSpPr>
        <p:cNvPr id="1" name=""/>
        <p:cNvGrpSpPr/>
        <p:nvPr/>
      </p:nvGrpSpPr>
      <p:grpSpPr>
        <a:xfrm>
          <a:off x="0" y="0"/>
          <a:ext cx="0" cy="0"/>
          <a:chOff x="0" y="0"/>
          <a:chExt cx="0" cy="0"/>
        </a:xfrm>
      </p:grpSpPr>
      <p:pic>
        <p:nvPicPr>
          <p:cNvPr id="7" name="Imagem 6" descr="Homem com as mãos&#10;&#10;Descrição gerada automaticamente com confiança média">
            <a:extLst>
              <a:ext uri="{FF2B5EF4-FFF2-40B4-BE49-F238E27FC236}">
                <a16:creationId xmlns:a16="http://schemas.microsoft.com/office/drawing/2014/main" id="{13E7AAC8-643F-122E-18E1-B449E4A1E4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ECBD2678-5C7E-9A82-DD43-2FE79B4FB2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5" name="Gráfico 4">
            <a:extLst>
              <a:ext uri="{FF2B5EF4-FFF2-40B4-BE49-F238E27FC236}">
                <a16:creationId xmlns:a16="http://schemas.microsoft.com/office/drawing/2014/main" id="{815F0D2E-7CBC-9104-82D5-EB930C268B0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685219" y="5744518"/>
            <a:ext cx="4095591" cy="414596"/>
          </a:xfrm>
          <a:prstGeom prst="rect">
            <a:avLst/>
          </a:prstGeom>
        </p:spPr>
      </p:pic>
    </p:spTree>
    <p:extLst>
      <p:ext uri="{BB962C8B-B14F-4D97-AF65-F5344CB8AC3E}">
        <p14:creationId xmlns:p14="http://schemas.microsoft.com/office/powerpoint/2010/main" val="333775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AGENDA 1_1">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13E7AAC8-643F-122E-18E1-B449E4A1E40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ECBD2678-5C7E-9A82-DD43-2FE79B4FB2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5" name="Gráfico 4">
            <a:extLst>
              <a:ext uri="{FF2B5EF4-FFF2-40B4-BE49-F238E27FC236}">
                <a16:creationId xmlns:a16="http://schemas.microsoft.com/office/drawing/2014/main" id="{815F0D2E-7CBC-9104-82D5-EB930C268B0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685219" y="5744518"/>
            <a:ext cx="4095591" cy="414596"/>
          </a:xfrm>
          <a:prstGeom prst="rect">
            <a:avLst/>
          </a:prstGeom>
        </p:spPr>
      </p:pic>
    </p:spTree>
    <p:extLst>
      <p:ext uri="{BB962C8B-B14F-4D97-AF65-F5344CB8AC3E}">
        <p14:creationId xmlns:p14="http://schemas.microsoft.com/office/powerpoint/2010/main" val="210664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2_1">
    <p:spTree>
      <p:nvGrpSpPr>
        <p:cNvPr id="1" name=""/>
        <p:cNvGrpSpPr/>
        <p:nvPr/>
      </p:nvGrpSpPr>
      <p:grpSpPr>
        <a:xfrm>
          <a:off x="0" y="0"/>
          <a:ext cx="0" cy="0"/>
          <a:chOff x="0" y="0"/>
          <a:chExt cx="0" cy="0"/>
        </a:xfrm>
      </p:grpSpPr>
      <p:pic>
        <p:nvPicPr>
          <p:cNvPr id="6" name="Imagem 5" descr="Interface gráfica do usuário&#10;&#10;Descrição gerada automaticamente com confiança média">
            <a:extLst>
              <a:ext uri="{FF2B5EF4-FFF2-40B4-BE49-F238E27FC236}">
                <a16:creationId xmlns:a16="http://schemas.microsoft.com/office/drawing/2014/main" id="{76EAEA3D-40FC-8D77-16E7-4B2C4A9704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423033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GENDA 2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76EAEA3D-40FC-8D77-16E7-4B2C4A9704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0420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DIVIDER 1_1">
    <p:spTree>
      <p:nvGrpSpPr>
        <p:cNvPr id="1" name=""/>
        <p:cNvGrpSpPr/>
        <p:nvPr/>
      </p:nvGrpSpPr>
      <p:grpSpPr>
        <a:xfrm>
          <a:off x="0" y="0"/>
          <a:ext cx="0" cy="0"/>
          <a:chOff x="0" y="0"/>
          <a:chExt cx="0" cy="0"/>
        </a:xfrm>
      </p:grpSpPr>
      <p:pic>
        <p:nvPicPr>
          <p:cNvPr id="5" name="Imagem 4" descr="Homem segurando computador&#10;&#10;Descrição gerada automaticamente com confiança baixa">
            <a:extLst>
              <a:ext uri="{FF2B5EF4-FFF2-40B4-BE49-F238E27FC236}">
                <a16:creationId xmlns:a16="http://schemas.microsoft.com/office/drawing/2014/main" id="{6908BAF9-92D1-AE75-A4DC-D32EEE91FF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C9AEC75B-B2E4-B06B-3452-A06E168E26E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17992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DIVIDER 2_1">
    <p:spTree>
      <p:nvGrpSpPr>
        <p:cNvPr id="1" name=""/>
        <p:cNvGrpSpPr/>
        <p:nvPr/>
      </p:nvGrpSpPr>
      <p:grpSpPr>
        <a:xfrm>
          <a:off x="0" y="0"/>
          <a:ext cx="0" cy="0"/>
          <a:chOff x="0" y="0"/>
          <a:chExt cx="0" cy="0"/>
        </a:xfrm>
      </p:grpSpPr>
      <p:pic>
        <p:nvPicPr>
          <p:cNvPr id="6" name="Imagem 5" descr="Homem sentado no sofá&#10;&#10;Descrição gerada automaticamente com confiança baixa">
            <a:extLst>
              <a:ext uri="{FF2B5EF4-FFF2-40B4-BE49-F238E27FC236}">
                <a16:creationId xmlns:a16="http://schemas.microsoft.com/office/drawing/2014/main" id="{96296192-3B4D-B2AC-B0B3-BF0E0EE1CB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01869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DIVIDER 3_1">
    <p:spTree>
      <p:nvGrpSpPr>
        <p:cNvPr id="1" name=""/>
        <p:cNvGrpSpPr/>
        <p:nvPr/>
      </p:nvGrpSpPr>
      <p:grpSpPr>
        <a:xfrm>
          <a:off x="0" y="0"/>
          <a:ext cx="0" cy="0"/>
          <a:chOff x="0" y="0"/>
          <a:chExt cx="0" cy="0"/>
        </a:xfrm>
      </p:grpSpPr>
      <p:pic>
        <p:nvPicPr>
          <p:cNvPr id="6" name="Imagem 5" descr="Mulher com a boca aberta&#10;&#10;Descrição gerada automaticamente com confiança média">
            <a:extLst>
              <a:ext uri="{FF2B5EF4-FFF2-40B4-BE49-F238E27FC236}">
                <a16:creationId xmlns:a16="http://schemas.microsoft.com/office/drawing/2014/main" id="{2F2BA7CA-1D50-616F-5DF9-014289E692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303155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OVER 04_1">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19C7C614-B7D7-FFC3-937F-AD37CC853F8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 name="Gráfico 1">
            <a:extLst>
              <a:ext uri="{FF2B5EF4-FFF2-40B4-BE49-F238E27FC236}">
                <a16:creationId xmlns:a16="http://schemas.microsoft.com/office/drawing/2014/main" id="{182A040C-9E90-F6A3-015F-C5359963859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8300" y="671065"/>
            <a:ext cx="2282329" cy="463760"/>
          </a:xfrm>
          <a:prstGeom prst="rect">
            <a:avLst/>
          </a:prstGeom>
        </p:spPr>
      </p:pic>
    </p:spTree>
    <p:extLst>
      <p:ext uri="{BB962C8B-B14F-4D97-AF65-F5344CB8AC3E}">
        <p14:creationId xmlns:p14="http://schemas.microsoft.com/office/powerpoint/2010/main" val="283099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CHAPTER DIVIDER 3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2F2BA7CA-1D50-616F-5DF9-014289E692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pic>
        <p:nvPicPr>
          <p:cNvPr id="2"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57695" b="-17072"/>
          <a:stretch/>
        </p:blipFill>
        <p:spPr>
          <a:xfrm>
            <a:off x="5411305" y="94270"/>
            <a:ext cx="6780695" cy="1899523"/>
          </a:xfrm>
          <a:prstGeom prst="rect">
            <a:avLst/>
          </a:prstGeom>
        </p:spPr>
      </p:pic>
    </p:spTree>
    <p:extLst>
      <p:ext uri="{BB962C8B-B14F-4D97-AF65-F5344CB8AC3E}">
        <p14:creationId xmlns:p14="http://schemas.microsoft.com/office/powerpoint/2010/main" val="17308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 DIVIDER 4_1">
    <p:spTree>
      <p:nvGrpSpPr>
        <p:cNvPr id="1" name=""/>
        <p:cNvGrpSpPr/>
        <p:nvPr/>
      </p:nvGrpSpPr>
      <p:grpSpPr>
        <a:xfrm>
          <a:off x="0" y="0"/>
          <a:ext cx="0" cy="0"/>
          <a:chOff x="0" y="0"/>
          <a:chExt cx="0" cy="0"/>
        </a:xfrm>
      </p:grpSpPr>
      <p:pic>
        <p:nvPicPr>
          <p:cNvPr id="6" name="Imagem 5" descr="Tela de celular com publicação numa rede social&#10;&#10;Descrição gerada automaticamente com confiança média">
            <a:extLst>
              <a:ext uri="{FF2B5EF4-FFF2-40B4-BE49-F238E27FC236}">
                <a16:creationId xmlns:a16="http://schemas.microsoft.com/office/drawing/2014/main" id="{06891DE7-5C40-3316-6C87-997C7CD48A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31559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CHAPTER DIVIDER 4_1">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06891DE7-5C40-3316-6C87-997C7CD48A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405905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CHAPTER DIVIDER 4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E7C4035C-4AAE-4559-B069-1821369647CF}"/>
              </a:ext>
            </a:extLst>
          </p:cNvPr>
          <p:cNvSpPr/>
          <p:nvPr userDrawn="1"/>
        </p:nvSpPr>
        <p:spPr>
          <a:xfrm>
            <a:off x="0" y="0"/>
            <a:ext cx="12192000" cy="6858000"/>
          </a:xfrm>
          <a:prstGeom prst="rect">
            <a:avLst/>
          </a:prstGeom>
          <a:solidFill>
            <a:srgbClr val="461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ráfico 2">
            <a:extLst>
              <a:ext uri="{FF2B5EF4-FFF2-40B4-BE49-F238E27FC236}">
                <a16:creationId xmlns:a16="http://schemas.microsoft.com/office/drawing/2014/main" id="{911F2033-D898-BE09-81B0-F883AF8A51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pic>
        <p:nvPicPr>
          <p:cNvPr id="5" name="Gráfico 1">
            <a:extLst>
              <a:ext uri="{FF2B5EF4-FFF2-40B4-BE49-F238E27FC236}">
                <a16:creationId xmlns:a16="http://schemas.microsoft.com/office/drawing/2014/main" id="{42C20279-E9C3-599C-ABF6-B6E91751DD3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1588" t="-9562" r="-1101" b="-17071"/>
          <a:stretch/>
        </p:blipFill>
        <p:spPr>
          <a:xfrm rot="16200000">
            <a:off x="-3000945" y="3000946"/>
            <a:ext cx="6858000" cy="856109"/>
          </a:xfrm>
          <a:prstGeom prst="rect">
            <a:avLst/>
          </a:prstGeom>
        </p:spPr>
      </p:pic>
    </p:spTree>
    <p:extLst>
      <p:ext uri="{BB962C8B-B14F-4D97-AF65-F5344CB8AC3E}">
        <p14:creationId xmlns:p14="http://schemas.microsoft.com/office/powerpoint/2010/main" val="359187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1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5920B12B-3406-7D07-E5F1-C642EDEB58BA}"/>
              </a:ext>
            </a:extLst>
          </p:cNvPr>
          <p:cNvSpPr/>
          <p:nvPr userDrawn="1"/>
        </p:nvSpPr>
        <p:spPr>
          <a:xfrm>
            <a:off x="0" y="0"/>
            <a:ext cx="12191999"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tabLst>
                <a:tab pos="8788400" algn="l"/>
              </a:tabLst>
            </a:pPr>
            <a:endParaRPr lang="pt-BR" dirty="0"/>
          </a:p>
        </p:txBody>
      </p:sp>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Tree>
    <p:extLst>
      <p:ext uri="{BB962C8B-B14F-4D97-AF65-F5344CB8AC3E}">
        <p14:creationId xmlns:p14="http://schemas.microsoft.com/office/powerpoint/2010/main" val="353864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2_1">
    <p:spTree>
      <p:nvGrpSpPr>
        <p:cNvPr id="1" name=""/>
        <p:cNvGrpSpPr/>
        <p:nvPr/>
      </p:nvGrpSpPr>
      <p:grpSpPr>
        <a:xfrm>
          <a:off x="0" y="0"/>
          <a:ext cx="0" cy="0"/>
          <a:chOff x="0" y="0"/>
          <a:chExt cx="0" cy="0"/>
        </a:xfrm>
      </p:grpSpPr>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8" name="Gráfico 7">
            <a:extLst>
              <a:ext uri="{FF2B5EF4-FFF2-40B4-BE49-F238E27FC236}">
                <a16:creationId xmlns:a16="http://schemas.microsoft.com/office/drawing/2014/main" id="{B746AFFF-3F34-36C4-C23A-312541B859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Retângulo 1">
            <a:extLst>
              <a:ext uri="{FF2B5EF4-FFF2-40B4-BE49-F238E27FC236}">
                <a16:creationId xmlns:a16="http://schemas.microsoft.com/office/drawing/2014/main" id="{A5489258-FE9A-D18B-791D-F060BABED558}"/>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48303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3_1">
    <p:spTree>
      <p:nvGrpSpPr>
        <p:cNvPr id="1" name=""/>
        <p:cNvGrpSpPr/>
        <p:nvPr/>
      </p:nvGrpSpPr>
      <p:grpSpPr>
        <a:xfrm>
          <a:off x="0" y="0"/>
          <a:ext cx="0" cy="0"/>
          <a:chOff x="0" y="0"/>
          <a:chExt cx="0" cy="0"/>
        </a:xfrm>
      </p:grpSpPr>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2" name="Gráfico 1">
            <a:extLst>
              <a:ext uri="{FF2B5EF4-FFF2-40B4-BE49-F238E27FC236}">
                <a16:creationId xmlns:a16="http://schemas.microsoft.com/office/drawing/2014/main" id="{87B3A2A2-E626-EEBE-7E65-F6C3BD4EFD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57695" b="-17072"/>
          <a:stretch/>
        </p:blipFill>
        <p:spPr>
          <a:xfrm>
            <a:off x="5411305" y="3836447"/>
            <a:ext cx="6780695" cy="1899523"/>
          </a:xfrm>
          <a:prstGeom prst="rect">
            <a:avLst/>
          </a:prstGeom>
        </p:spPr>
      </p:pic>
      <p:pic>
        <p:nvPicPr>
          <p:cNvPr id="3" name="Imagem 2">
            <a:extLst>
              <a:ext uri="{FF2B5EF4-FFF2-40B4-BE49-F238E27FC236}">
                <a16:creationId xmlns:a16="http://schemas.microsoft.com/office/drawing/2014/main" id="{1766A65D-61BD-4558-8580-6AF07AE80AC4}"/>
              </a:ext>
            </a:extLst>
          </p:cNvPr>
          <p:cNvPicPr>
            <a:picLocks noChangeAspect="1"/>
          </p:cNvPicPr>
          <p:nvPr userDrawn="1"/>
        </p:nvPicPr>
        <p:blipFill>
          <a:blip r:embed="rId4">
            <a:extLst>
              <a:ext uri="{28A0092B-C50C-407E-A947-70E740481C1C}">
                <a14:useLocalDpi xmlns:a14="http://schemas.microsoft.com/office/drawing/2010/main" val="0"/>
              </a:ext>
            </a:extLst>
          </a:blip>
          <a:srcRect l="18608" r="18608"/>
          <a:stretch/>
        </p:blipFill>
        <p:spPr>
          <a:xfrm>
            <a:off x="5542961" y="900916"/>
            <a:ext cx="6649039" cy="5957084"/>
          </a:xfrm>
          <a:prstGeom prst="rect">
            <a:avLst/>
          </a:prstGeom>
        </p:spPr>
      </p:pic>
      <p:pic>
        <p:nvPicPr>
          <p:cNvPr id="8" name="Gráfico 7">
            <a:extLst>
              <a:ext uri="{FF2B5EF4-FFF2-40B4-BE49-F238E27FC236}">
                <a16:creationId xmlns:a16="http://schemas.microsoft.com/office/drawing/2014/main" id="{63E97813-50E0-4DBC-9CF3-E6D3DBB5DE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70185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3_1">
    <p:spTree>
      <p:nvGrpSpPr>
        <p:cNvPr id="1" name=""/>
        <p:cNvGrpSpPr/>
        <p:nvPr/>
      </p:nvGrpSpPr>
      <p:grpSpPr>
        <a:xfrm>
          <a:off x="0" y="0"/>
          <a:ext cx="0" cy="0"/>
          <a:chOff x="0" y="0"/>
          <a:chExt cx="0" cy="0"/>
        </a:xfrm>
      </p:grpSpPr>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2" name="Gráfico 1">
            <a:extLst>
              <a:ext uri="{FF2B5EF4-FFF2-40B4-BE49-F238E27FC236}">
                <a16:creationId xmlns:a16="http://schemas.microsoft.com/office/drawing/2014/main" id="{87B3A2A2-E626-EEBE-7E65-F6C3BD4EFD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57695" b="-17072"/>
          <a:stretch/>
        </p:blipFill>
        <p:spPr>
          <a:xfrm>
            <a:off x="5411305" y="3836447"/>
            <a:ext cx="6780695" cy="1899523"/>
          </a:xfrm>
          <a:prstGeom prst="rect">
            <a:avLst/>
          </a:prstGeom>
        </p:spPr>
      </p:pic>
      <p:pic>
        <p:nvPicPr>
          <p:cNvPr id="3" name="Imagem 2">
            <a:extLst>
              <a:ext uri="{FF2B5EF4-FFF2-40B4-BE49-F238E27FC236}">
                <a16:creationId xmlns:a16="http://schemas.microsoft.com/office/drawing/2014/main" id="{1766A65D-61BD-4558-8580-6AF07AE80AC4}"/>
              </a:ext>
            </a:extLst>
          </p:cNvPr>
          <p:cNvPicPr>
            <a:picLocks noChangeAspect="1"/>
          </p:cNvPicPr>
          <p:nvPr userDrawn="1"/>
        </p:nvPicPr>
        <p:blipFill>
          <a:blip r:embed="rId4">
            <a:extLst>
              <a:ext uri="{28A0092B-C50C-407E-A947-70E740481C1C}">
                <a14:useLocalDpi xmlns:a14="http://schemas.microsoft.com/office/drawing/2010/main" val="0"/>
              </a:ext>
            </a:extLst>
          </a:blip>
          <a:srcRect l="18608" r="18608"/>
          <a:stretch/>
        </p:blipFill>
        <p:spPr>
          <a:xfrm>
            <a:off x="5542961" y="900916"/>
            <a:ext cx="6649039" cy="5957084"/>
          </a:xfrm>
          <a:prstGeom prst="rect">
            <a:avLst/>
          </a:prstGeom>
        </p:spPr>
      </p:pic>
      <p:pic>
        <p:nvPicPr>
          <p:cNvPr id="8" name="Gráfico 7">
            <a:extLst>
              <a:ext uri="{FF2B5EF4-FFF2-40B4-BE49-F238E27FC236}">
                <a16:creationId xmlns:a16="http://schemas.microsoft.com/office/drawing/2014/main" id="{63E97813-50E0-4DBC-9CF3-E6D3DBB5DE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80268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CONTENT 3_1">
    <p:spTree>
      <p:nvGrpSpPr>
        <p:cNvPr id="1" name=""/>
        <p:cNvGrpSpPr/>
        <p:nvPr/>
      </p:nvGrpSpPr>
      <p:grpSpPr>
        <a:xfrm>
          <a:off x="0" y="0"/>
          <a:ext cx="0" cy="0"/>
          <a:chOff x="0" y="0"/>
          <a:chExt cx="0" cy="0"/>
        </a:xfrm>
      </p:grpSpPr>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2" name="Gráfico 1">
            <a:extLst>
              <a:ext uri="{FF2B5EF4-FFF2-40B4-BE49-F238E27FC236}">
                <a16:creationId xmlns:a16="http://schemas.microsoft.com/office/drawing/2014/main" id="{87B3A2A2-E626-EEBE-7E65-F6C3BD4EFD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57695" b="-17072"/>
          <a:stretch/>
        </p:blipFill>
        <p:spPr>
          <a:xfrm>
            <a:off x="5411305" y="3836447"/>
            <a:ext cx="6780695" cy="1899523"/>
          </a:xfrm>
          <a:prstGeom prst="rect">
            <a:avLst/>
          </a:prstGeom>
        </p:spPr>
      </p:pic>
      <p:pic>
        <p:nvPicPr>
          <p:cNvPr id="8" name="Gráfico 7">
            <a:extLst>
              <a:ext uri="{FF2B5EF4-FFF2-40B4-BE49-F238E27FC236}">
                <a16:creationId xmlns:a16="http://schemas.microsoft.com/office/drawing/2014/main" id="{63E97813-50E0-4DBC-9CF3-E6D3DBB5DE2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32995" y="6455000"/>
            <a:ext cx="825926" cy="167825"/>
          </a:xfrm>
          <a:prstGeom prst="rect">
            <a:avLst/>
          </a:prstGeom>
        </p:spPr>
      </p:pic>
      <p:pic>
        <p:nvPicPr>
          <p:cNvPr id="5" name="Imagem 4">
            <a:extLst>
              <a:ext uri="{FF2B5EF4-FFF2-40B4-BE49-F238E27FC236}">
                <a16:creationId xmlns:a16="http://schemas.microsoft.com/office/drawing/2014/main" id="{4ED696B4-3E7A-DC07-BBFC-7E0C6680A356}"/>
              </a:ext>
            </a:extLst>
          </p:cNvPr>
          <p:cNvPicPr>
            <a:picLocks noChangeAspect="1"/>
          </p:cNvPicPr>
          <p:nvPr userDrawn="1"/>
        </p:nvPicPr>
        <p:blipFill>
          <a:blip r:embed="rId6">
            <a:extLst>
              <a:ext uri="{28A0092B-C50C-407E-A947-70E740481C1C}">
                <a14:useLocalDpi xmlns:a14="http://schemas.microsoft.com/office/drawing/2010/main" val="0"/>
              </a:ext>
            </a:extLst>
          </a:blip>
          <a:srcRect l="18608" r="18608"/>
          <a:stretch/>
        </p:blipFill>
        <p:spPr>
          <a:xfrm>
            <a:off x="4796919" y="900916"/>
            <a:ext cx="6649039" cy="5957084"/>
          </a:xfrm>
          <a:prstGeom prst="rect">
            <a:avLst/>
          </a:prstGeom>
        </p:spPr>
      </p:pic>
    </p:spTree>
    <p:extLst>
      <p:ext uri="{BB962C8B-B14F-4D97-AF65-F5344CB8AC3E}">
        <p14:creationId xmlns:p14="http://schemas.microsoft.com/office/powerpoint/2010/main" val="147888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4_1">
    <p:spTree>
      <p:nvGrpSpPr>
        <p:cNvPr id="1" name=""/>
        <p:cNvGrpSpPr/>
        <p:nvPr/>
      </p:nvGrpSpPr>
      <p:grpSpPr>
        <a:xfrm>
          <a:off x="0" y="0"/>
          <a:ext cx="0" cy="0"/>
          <a:chOff x="0" y="0"/>
          <a:chExt cx="0" cy="0"/>
        </a:xfrm>
      </p:grpSpPr>
      <p:pic>
        <p:nvPicPr>
          <p:cNvPr id="8" name="Imagem 7" descr="Homem sentado na cadeira&#10;&#10;Descrição gerada automaticamente">
            <a:extLst>
              <a:ext uri="{FF2B5EF4-FFF2-40B4-BE49-F238E27FC236}">
                <a16:creationId xmlns:a16="http://schemas.microsoft.com/office/drawing/2014/main" id="{1D6BB43B-74FC-5430-B7D1-75FAA1D94D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160C6DE3-4F9F-1A77-36E9-3F6942608CE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1" t="-1" r="-688" b="-17072"/>
          <a:stretch/>
        </p:blipFill>
        <p:spPr>
          <a:xfrm>
            <a:off x="1046375" y="6283779"/>
            <a:ext cx="4335250" cy="510265"/>
          </a:xfrm>
          <a:prstGeom prst="rect">
            <a:avLst/>
          </a:prstGeom>
        </p:spPr>
      </p:pic>
    </p:spTree>
    <p:extLst>
      <p:ext uri="{BB962C8B-B14F-4D97-AF65-F5344CB8AC3E}">
        <p14:creationId xmlns:p14="http://schemas.microsoft.com/office/powerpoint/2010/main" val="49796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AGENDA 2_1">
    <p:spTree>
      <p:nvGrpSpPr>
        <p:cNvPr id="1" name=""/>
        <p:cNvGrpSpPr/>
        <p:nvPr/>
      </p:nvGrpSpPr>
      <p:grpSpPr>
        <a:xfrm>
          <a:off x="0" y="0"/>
          <a:ext cx="0" cy="0"/>
          <a:chOff x="0" y="0"/>
          <a:chExt cx="0" cy="0"/>
        </a:xfrm>
      </p:grpSpPr>
      <p:pic>
        <p:nvPicPr>
          <p:cNvPr id="3" name="Imagem 2" descr="Interface gráfica do usuário&#10;&#10;Descrição gerada automaticamente">
            <a:extLst>
              <a:ext uri="{FF2B5EF4-FFF2-40B4-BE49-F238E27FC236}">
                <a16:creationId xmlns:a16="http://schemas.microsoft.com/office/drawing/2014/main" id="{1E69BEE0-43B9-884C-239D-78D2F89A2C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17120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5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DAB6F25E-3268-EB7C-96B2-590B53518C8E}"/>
              </a:ext>
            </a:extLst>
          </p:cNvPr>
          <p:cNvSpPr/>
          <p:nvPr userDrawn="1"/>
        </p:nvSpPr>
        <p:spPr>
          <a:xfrm>
            <a:off x="0" y="0"/>
            <a:ext cx="3060700"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 name="Gráfico 4">
            <a:extLst>
              <a:ext uri="{FF2B5EF4-FFF2-40B4-BE49-F238E27FC236}">
                <a16:creationId xmlns:a16="http://schemas.microsoft.com/office/drawing/2014/main" id="{3E52AF03-CC5F-0FFA-60D3-C7D6A4E75A4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r="55627"/>
          <a:stretch/>
        </p:blipFill>
        <p:spPr>
          <a:xfrm rot="5400000">
            <a:off x="1445047" y="2646738"/>
            <a:ext cx="6858003" cy="1564526"/>
          </a:xfrm>
          <a:prstGeom prst="rect">
            <a:avLst/>
          </a:prstGeom>
        </p:spPr>
      </p:pic>
      <p:pic>
        <p:nvPicPr>
          <p:cNvPr id="10" name="Imagem 9" descr="Mulher sorrindo pousando para foto&#10;&#10;Descrição gerada automaticamente">
            <a:extLst>
              <a:ext uri="{FF2B5EF4-FFF2-40B4-BE49-F238E27FC236}">
                <a16:creationId xmlns:a16="http://schemas.microsoft.com/office/drawing/2014/main" id="{F30EE30B-BF37-8DB5-63C9-FEF9F188481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6361"/>
          <a:stretch/>
        </p:blipFill>
        <p:spPr>
          <a:xfrm>
            <a:off x="485481" y="-1"/>
            <a:ext cx="5466342" cy="6858000"/>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pic>
        <p:nvPicPr>
          <p:cNvPr id="9" name="Gráfico 8">
            <a:extLst>
              <a:ext uri="{FF2B5EF4-FFF2-40B4-BE49-F238E27FC236}">
                <a16:creationId xmlns:a16="http://schemas.microsoft.com/office/drawing/2014/main" id="{B773EC3B-B882-496D-B443-F5E4D9FCD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01802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6_1">
    <p:spTree>
      <p:nvGrpSpPr>
        <p:cNvPr id="1" name=""/>
        <p:cNvGrpSpPr/>
        <p:nvPr/>
      </p:nvGrpSpPr>
      <p:grpSpPr>
        <a:xfrm>
          <a:off x="0" y="0"/>
          <a:ext cx="0" cy="0"/>
          <a:chOff x="0" y="0"/>
          <a:chExt cx="0" cy="0"/>
        </a:xfrm>
      </p:grpSpPr>
      <p:pic>
        <p:nvPicPr>
          <p:cNvPr id="10" name="Imagem 9" descr="Tela de celular com publicação numa rede social&#10;&#10;Descrição gerada automaticamente com confiança média">
            <a:extLst>
              <a:ext uri="{FF2B5EF4-FFF2-40B4-BE49-F238E27FC236}">
                <a16:creationId xmlns:a16="http://schemas.microsoft.com/office/drawing/2014/main" id="{9A8928C2-D09B-9895-2227-B0AE5FDE47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295371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7_1">
    <p:spTree>
      <p:nvGrpSpPr>
        <p:cNvPr id="1" name=""/>
        <p:cNvGrpSpPr/>
        <p:nvPr/>
      </p:nvGrpSpPr>
      <p:grpSpPr>
        <a:xfrm>
          <a:off x="0" y="0"/>
          <a:ext cx="0" cy="0"/>
          <a:chOff x="0" y="0"/>
          <a:chExt cx="0" cy="0"/>
        </a:xfrm>
      </p:grpSpPr>
      <p:pic>
        <p:nvPicPr>
          <p:cNvPr id="3" name="Imagem 2" descr="Desenho de pessoa segurando telefone celular na mão&#10;&#10;Descrição gerada automaticamente com confiança baixa">
            <a:extLst>
              <a:ext uri="{FF2B5EF4-FFF2-40B4-BE49-F238E27FC236}">
                <a16:creationId xmlns:a16="http://schemas.microsoft.com/office/drawing/2014/main" id="{60080FD6-F236-7010-36B4-8D42545A65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61690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8_1">
    <p:spTree>
      <p:nvGrpSpPr>
        <p:cNvPr id="1" name=""/>
        <p:cNvGrpSpPr/>
        <p:nvPr/>
      </p:nvGrpSpPr>
      <p:grpSpPr>
        <a:xfrm>
          <a:off x="0" y="0"/>
          <a:ext cx="0" cy="0"/>
          <a:chOff x="0" y="0"/>
          <a:chExt cx="0" cy="0"/>
        </a:xfrm>
      </p:grpSpPr>
      <p:pic>
        <p:nvPicPr>
          <p:cNvPr id="3" name="Imagem 2" descr="Uma imagem contendo terno, mesa&#10;&#10;Descrição gerada automaticamente">
            <a:extLst>
              <a:ext uri="{FF2B5EF4-FFF2-40B4-BE49-F238E27FC236}">
                <a16:creationId xmlns:a16="http://schemas.microsoft.com/office/drawing/2014/main" id="{912ADAB9-F963-59A9-32A3-67837ED4EC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426738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404273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351585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0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Calibri" panose="020F0502020204030204" pitchFamily="34" charset="0"/>
              </a:rPr>
              <a:pPr algn="ctr"/>
              <a:t>‹nº›</a:t>
            </a:fld>
            <a:endParaRPr lang="pt-BR" sz="11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50307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CONTENT 8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661D71F-F34F-46A2-920D-69B7EA6F6E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Gráfico 5">
            <a:extLst>
              <a:ext uri="{FF2B5EF4-FFF2-40B4-BE49-F238E27FC236}">
                <a16:creationId xmlns:a16="http://schemas.microsoft.com/office/drawing/2014/main" id="{569F6837-B268-4F18-F74E-F58F84EB20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7" name="Espaço Reservado para Número de Slide 5">
            <a:extLst>
              <a:ext uri="{FF2B5EF4-FFF2-40B4-BE49-F238E27FC236}">
                <a16:creationId xmlns:a16="http://schemas.microsoft.com/office/drawing/2014/main" id="{02ACCBBA-1E4A-D3DD-F384-E0B7E464C8E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268731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ráfico 2">
            <a:extLst>
              <a:ext uri="{FF2B5EF4-FFF2-40B4-BE49-F238E27FC236}">
                <a16:creationId xmlns:a16="http://schemas.microsoft.com/office/drawing/2014/main" id="{E9F9859F-4326-7ECD-A4F4-F471095124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49700" y="3699756"/>
            <a:ext cx="4292600" cy="872246"/>
          </a:xfrm>
          <a:prstGeom prst="rect">
            <a:avLst/>
          </a:prstGeom>
        </p:spPr>
      </p:pic>
      <p:pic>
        <p:nvPicPr>
          <p:cNvPr id="8" name="Gráfico 7">
            <a:extLst>
              <a:ext uri="{FF2B5EF4-FFF2-40B4-BE49-F238E27FC236}">
                <a16:creationId xmlns:a16="http://schemas.microsoft.com/office/drawing/2014/main" id="{1D45BD6D-4D5A-36B6-4C94-FB72E98A567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1781"/>
          <a:stretch/>
        </p:blipFill>
        <p:spPr>
          <a:xfrm>
            <a:off x="0" y="6282406"/>
            <a:ext cx="1974850" cy="414596"/>
          </a:xfrm>
          <a:prstGeom prst="rect">
            <a:avLst/>
          </a:prstGeom>
        </p:spPr>
      </p:pic>
      <p:pic>
        <p:nvPicPr>
          <p:cNvPr id="9" name="Gráfico 8">
            <a:extLst>
              <a:ext uri="{FF2B5EF4-FFF2-40B4-BE49-F238E27FC236}">
                <a16:creationId xmlns:a16="http://schemas.microsoft.com/office/drawing/2014/main" id="{B47C7AC4-9941-F4B9-159E-B09BD0C678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0800000">
            <a:off x="1974850" y="6282406"/>
            <a:ext cx="4095591" cy="414596"/>
          </a:xfrm>
          <a:prstGeom prst="rect">
            <a:avLst/>
          </a:prstGeom>
        </p:spPr>
      </p:pic>
      <p:pic>
        <p:nvPicPr>
          <p:cNvPr id="10" name="Gráfico 9">
            <a:extLst>
              <a:ext uri="{FF2B5EF4-FFF2-40B4-BE49-F238E27FC236}">
                <a16:creationId xmlns:a16="http://schemas.microsoft.com/office/drawing/2014/main" id="{77A4778C-3769-0948-C790-63DA4B669B4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21559" y="6282406"/>
            <a:ext cx="4095591" cy="414596"/>
          </a:xfrm>
          <a:prstGeom prst="rect">
            <a:avLst/>
          </a:prstGeom>
        </p:spPr>
      </p:pic>
      <p:pic>
        <p:nvPicPr>
          <p:cNvPr id="11" name="Gráfico 10">
            <a:extLst>
              <a:ext uri="{FF2B5EF4-FFF2-40B4-BE49-F238E27FC236}">
                <a16:creationId xmlns:a16="http://schemas.microsoft.com/office/drawing/2014/main" id="{6E15532A-ECD9-0824-DBDC-C67C4251D7D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51781"/>
          <a:stretch/>
        </p:blipFill>
        <p:spPr>
          <a:xfrm rot="10800000">
            <a:off x="10217150" y="6282406"/>
            <a:ext cx="1974850" cy="414596"/>
          </a:xfrm>
          <a:prstGeom prst="rect">
            <a:avLst/>
          </a:prstGeom>
        </p:spPr>
      </p:pic>
    </p:spTree>
    <p:extLst>
      <p:ext uri="{BB962C8B-B14F-4D97-AF65-F5344CB8AC3E}">
        <p14:creationId xmlns:p14="http://schemas.microsoft.com/office/powerpoint/2010/main" val="103289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BACKCOVER_1">
    <p:spTree>
      <p:nvGrpSpPr>
        <p:cNvPr id="1" name=""/>
        <p:cNvGrpSpPr/>
        <p:nvPr/>
      </p:nvGrpSpPr>
      <p:grpSpPr>
        <a:xfrm>
          <a:off x="0" y="0"/>
          <a:ext cx="0" cy="0"/>
          <a:chOff x="0" y="0"/>
          <a:chExt cx="0" cy="0"/>
        </a:xfrm>
      </p:grpSpPr>
      <p:sp>
        <p:nvSpPr>
          <p:cNvPr id="2" name="Retângulo 1">
            <a:extLst>
              <a:ext uri="{FF2B5EF4-FFF2-40B4-BE49-F238E27FC236}">
                <a16:creationId xmlns:a16="http://schemas.microsoft.com/office/drawing/2014/main" id="{79839277-1FA5-745A-FADC-02B80032ACF2}"/>
              </a:ext>
            </a:extLst>
          </p:cNvPr>
          <p:cNvSpPr/>
          <p:nvPr userDrawn="1"/>
        </p:nvSpPr>
        <p:spPr>
          <a:xfrm>
            <a:off x="0" y="0"/>
            <a:ext cx="12192000" cy="6858000"/>
          </a:xfrm>
          <a:prstGeom prst="rect">
            <a:avLst/>
          </a:prstGeom>
          <a:solidFill>
            <a:srgbClr val="461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Gráfico 2">
            <a:extLst>
              <a:ext uri="{FF2B5EF4-FFF2-40B4-BE49-F238E27FC236}">
                <a16:creationId xmlns:a16="http://schemas.microsoft.com/office/drawing/2014/main" id="{E9F9859F-4326-7ECD-A4F4-F4710951249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49700" y="3699756"/>
            <a:ext cx="4292600" cy="872246"/>
          </a:xfrm>
          <a:prstGeom prst="rect">
            <a:avLst/>
          </a:prstGeom>
        </p:spPr>
      </p:pic>
      <p:pic>
        <p:nvPicPr>
          <p:cNvPr id="5" name="Imagem 4" descr="Texto&#10;&#10;Descrição gerada automaticamente">
            <a:extLst>
              <a:ext uri="{FF2B5EF4-FFF2-40B4-BE49-F238E27FC236}">
                <a16:creationId xmlns:a16="http://schemas.microsoft.com/office/drawing/2014/main" id="{B589486D-A73A-4A73-B4F5-1D5AAD3FB72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1198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AGENDA 2_1">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1E69BEE0-43B9-884C-239D-78D2F89A2C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7" name="Gráfico 6">
            <a:extLst>
              <a:ext uri="{FF2B5EF4-FFF2-40B4-BE49-F238E27FC236}">
                <a16:creationId xmlns:a16="http://schemas.microsoft.com/office/drawing/2014/main" id="{ADBC5F97-B16D-C147-C985-65427DBEC5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105200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LIDE ESTÁNDAR EN BLANCO" preserve="1" userDrawn="1">
  <p:cSld name="1_SLIDE ESTÁNDAR EN BLANCO">
    <p:spTree>
      <p:nvGrpSpPr>
        <p:cNvPr id="1" name="Shape 2081"/>
        <p:cNvGrpSpPr/>
        <p:nvPr/>
      </p:nvGrpSpPr>
      <p:grpSpPr>
        <a:xfrm>
          <a:off x="0" y="0"/>
          <a:ext cx="0" cy="0"/>
          <a:chOff x="0" y="0"/>
          <a:chExt cx="0" cy="0"/>
        </a:xfrm>
      </p:grpSpPr>
      <p:pic>
        <p:nvPicPr>
          <p:cNvPr id="12" name="Gráfico 11">
            <a:extLst>
              <a:ext uri="{FF2B5EF4-FFF2-40B4-BE49-F238E27FC236}">
                <a16:creationId xmlns:a16="http://schemas.microsoft.com/office/drawing/2014/main" id="{39A26AAD-278D-7C84-F250-E3605A8C62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13" name="Espaço Reservado para Número de Slide 5">
            <a:extLst>
              <a:ext uri="{FF2B5EF4-FFF2-40B4-BE49-F238E27FC236}">
                <a16:creationId xmlns:a16="http://schemas.microsoft.com/office/drawing/2014/main" id="{2991C5E8-3713-318B-B0A9-B0A6D2DC9366}"/>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14" name="Gráfico 13">
            <a:extLst>
              <a:ext uri="{FF2B5EF4-FFF2-40B4-BE49-F238E27FC236}">
                <a16:creationId xmlns:a16="http://schemas.microsoft.com/office/drawing/2014/main" id="{28039E49-CA39-CC6F-5E83-58CF609F52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7C1F5368-FA6B-5815-5D88-4B9E931C1CCA}"/>
              </a:ext>
            </a:extLst>
          </p:cNvPr>
          <p:cNvSpPr>
            <a:spLocks noGrp="1"/>
          </p:cNvSpPr>
          <p:nvPr>
            <p:ph type="title"/>
          </p:nvPr>
        </p:nvSpPr>
        <p:spPr>
          <a:xfrm>
            <a:off x="660400" y="134483"/>
            <a:ext cx="11212190" cy="602117"/>
          </a:xfrm>
          <a:prstGeom prst="rect">
            <a:avLst/>
          </a:prstGeom>
        </p:spPr>
        <p:txBody>
          <a:bodyPr anchor="ctr">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
        <p:nvSpPr>
          <p:cNvPr id="3" name="Retângulo 2">
            <a:extLst>
              <a:ext uri="{FF2B5EF4-FFF2-40B4-BE49-F238E27FC236}">
                <a16:creationId xmlns:a16="http://schemas.microsoft.com/office/drawing/2014/main" id="{1C9EA854-5503-5D33-1A7A-BB1E8C296F1F}"/>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43977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21_Diseño personalizado" preserve="1">
  <p:cSld name="21_Diseño personalizado">
    <p:spTree>
      <p:nvGrpSpPr>
        <p:cNvPr id="1" name="Shape 541"/>
        <p:cNvGrpSpPr/>
        <p:nvPr/>
      </p:nvGrpSpPr>
      <p:grpSpPr>
        <a:xfrm>
          <a:off x="0" y="0"/>
          <a:ext cx="0" cy="0"/>
          <a:chOff x="0" y="0"/>
          <a:chExt cx="0" cy="0"/>
        </a:xfrm>
      </p:grpSpPr>
      <p:pic>
        <p:nvPicPr>
          <p:cNvPr id="550" name="Google Shape;550;g9a9e5acae6_0_14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43807" y="6205606"/>
            <a:ext cx="1213485" cy="246697"/>
          </a:xfrm>
          <a:prstGeom prst="rect">
            <a:avLst/>
          </a:prstGeom>
          <a:noFill/>
          <a:ln>
            <a:noFill/>
          </a:ln>
        </p:spPr>
      </p:pic>
    </p:spTree>
    <p:extLst>
      <p:ext uri="{BB962C8B-B14F-4D97-AF65-F5344CB8AC3E}">
        <p14:creationId xmlns:p14="http://schemas.microsoft.com/office/powerpoint/2010/main" val="277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Diapositiva de título" preserve="1" userDrawn="1">
  <p:cSld name="1_Diapositiva de título">
    <p:spTree>
      <p:nvGrpSpPr>
        <p:cNvPr id="1" name="Shape 1552"/>
        <p:cNvGrpSpPr/>
        <p:nvPr/>
      </p:nvGrpSpPr>
      <p:grpSpPr>
        <a:xfrm>
          <a:off x="0" y="0"/>
          <a:ext cx="0" cy="0"/>
          <a:chOff x="0" y="0"/>
          <a:chExt cx="0" cy="0"/>
        </a:xfrm>
      </p:grpSpPr>
      <p:pic>
        <p:nvPicPr>
          <p:cNvPr id="3" name="Gráfico 2">
            <a:extLst>
              <a:ext uri="{FF2B5EF4-FFF2-40B4-BE49-F238E27FC236}">
                <a16:creationId xmlns:a16="http://schemas.microsoft.com/office/drawing/2014/main" id="{D01230D8-8657-39AF-AE37-8B42A1E81F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4" name="Espaço Reservado para Número de Slide 5">
            <a:extLst>
              <a:ext uri="{FF2B5EF4-FFF2-40B4-BE49-F238E27FC236}">
                <a16:creationId xmlns:a16="http://schemas.microsoft.com/office/drawing/2014/main" id="{163A1B31-76A4-7B13-CBEA-BE2DA1257599}"/>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5" name="Gráfico 4">
            <a:extLst>
              <a:ext uri="{FF2B5EF4-FFF2-40B4-BE49-F238E27FC236}">
                <a16:creationId xmlns:a16="http://schemas.microsoft.com/office/drawing/2014/main" id="{480652BA-7B66-8CA1-8C0E-6671A65050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2" name="Título 2">
            <a:extLst>
              <a:ext uri="{FF2B5EF4-FFF2-40B4-BE49-F238E27FC236}">
                <a16:creationId xmlns:a16="http://schemas.microsoft.com/office/drawing/2014/main" id="{7B2FB935-A6F0-F02A-F61C-D822582A1C8D}"/>
              </a:ext>
            </a:extLst>
          </p:cNvPr>
          <p:cNvSpPr>
            <a:spLocks noGrp="1"/>
          </p:cNvSpPr>
          <p:nvPr>
            <p:ph type="title"/>
          </p:nvPr>
        </p:nvSpPr>
        <p:spPr>
          <a:xfrm>
            <a:off x="584200" y="134482"/>
            <a:ext cx="11288390" cy="716417"/>
          </a:xfrm>
          <a:prstGeom prst="rect">
            <a:avLst/>
          </a:prstGeom>
        </p:spPr>
        <p:txBody>
          <a:bodyPr anchor="ctr">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
        <p:nvSpPr>
          <p:cNvPr id="6" name="Retângulo 5">
            <a:extLst>
              <a:ext uri="{FF2B5EF4-FFF2-40B4-BE49-F238E27FC236}">
                <a16:creationId xmlns:a16="http://schemas.microsoft.com/office/drawing/2014/main" id="{609039C7-63C3-6997-8FC8-3E0401B9F97F}"/>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7339368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58_Custom Layout" preserve="1" userDrawn="1">
  <p:cSld name="59_Custom Layout">
    <p:spTree>
      <p:nvGrpSpPr>
        <p:cNvPr id="1" name="Shape 1558"/>
        <p:cNvGrpSpPr/>
        <p:nvPr/>
      </p:nvGrpSpPr>
      <p:grpSpPr>
        <a:xfrm>
          <a:off x="0" y="0"/>
          <a:ext cx="0" cy="0"/>
          <a:chOff x="0" y="0"/>
          <a:chExt cx="0" cy="0"/>
        </a:xfrm>
      </p:grpSpPr>
      <p:pic>
        <p:nvPicPr>
          <p:cNvPr id="2" name="Gráfico 1">
            <a:extLst>
              <a:ext uri="{FF2B5EF4-FFF2-40B4-BE49-F238E27FC236}">
                <a16:creationId xmlns:a16="http://schemas.microsoft.com/office/drawing/2014/main" id="{8DC542D7-F4B4-A916-2668-5C22517862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3" name="Espaço Reservado para Número de Slide 5">
            <a:extLst>
              <a:ext uri="{FF2B5EF4-FFF2-40B4-BE49-F238E27FC236}">
                <a16:creationId xmlns:a16="http://schemas.microsoft.com/office/drawing/2014/main" id="{C3BCB259-EBFE-C116-6834-F05894A3B923}"/>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EB004C8C-67CC-5CAD-97B6-BFE66BEF73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5" name="Título 2">
            <a:extLst>
              <a:ext uri="{FF2B5EF4-FFF2-40B4-BE49-F238E27FC236}">
                <a16:creationId xmlns:a16="http://schemas.microsoft.com/office/drawing/2014/main" id="{89741522-28B9-8CD7-2910-FD209F08D434}"/>
              </a:ext>
            </a:extLst>
          </p:cNvPr>
          <p:cNvSpPr>
            <a:spLocks noGrp="1"/>
          </p:cNvSpPr>
          <p:nvPr>
            <p:ph type="title"/>
          </p:nvPr>
        </p:nvSpPr>
        <p:spPr>
          <a:xfrm>
            <a:off x="685800" y="134482"/>
            <a:ext cx="11186790" cy="665617"/>
          </a:xfrm>
          <a:prstGeom prst="rect">
            <a:avLst/>
          </a:prstGeom>
        </p:spPr>
        <p:txBody>
          <a:bodyPr anchor="ctr">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
        <p:nvSpPr>
          <p:cNvPr id="6" name="Retângulo 5">
            <a:extLst>
              <a:ext uri="{FF2B5EF4-FFF2-40B4-BE49-F238E27FC236}">
                <a16:creationId xmlns:a16="http://schemas.microsoft.com/office/drawing/2014/main" id="{C003E802-00E1-2973-3626-6026C46F8F3E}"/>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6125480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3_Diseño personalizado" preserve="1">
  <p:cSld name="4_Diseño personalizado">
    <p:spTree>
      <p:nvGrpSpPr>
        <p:cNvPr id="1" name="Shape 1571"/>
        <p:cNvGrpSpPr/>
        <p:nvPr/>
      </p:nvGrpSpPr>
      <p:grpSpPr>
        <a:xfrm>
          <a:off x="0" y="0"/>
          <a:ext cx="0" cy="0"/>
          <a:chOff x="0" y="0"/>
          <a:chExt cx="0" cy="0"/>
        </a:xfrm>
      </p:grpSpPr>
    </p:spTree>
    <p:extLst>
      <p:ext uri="{BB962C8B-B14F-4D97-AF65-F5344CB8AC3E}">
        <p14:creationId xmlns:p14="http://schemas.microsoft.com/office/powerpoint/2010/main" val="171403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omparison" preserve="1" userDrawn="1">
  <p:cSld name="1_Comparison">
    <p:spTree>
      <p:nvGrpSpPr>
        <p:cNvPr id="1" name="Shape 1595"/>
        <p:cNvGrpSpPr/>
        <p:nvPr/>
      </p:nvGrpSpPr>
      <p:grpSpPr>
        <a:xfrm>
          <a:off x="0" y="0"/>
          <a:ext cx="0" cy="0"/>
          <a:chOff x="0" y="0"/>
          <a:chExt cx="0" cy="0"/>
        </a:xfrm>
      </p:grpSpPr>
      <p:pic>
        <p:nvPicPr>
          <p:cNvPr id="2" name="Gráfico 1">
            <a:extLst>
              <a:ext uri="{FF2B5EF4-FFF2-40B4-BE49-F238E27FC236}">
                <a16:creationId xmlns:a16="http://schemas.microsoft.com/office/drawing/2014/main" id="{93F9A6E4-37EA-FB92-BAE7-57C4F2B899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3" name="Espaço Reservado para Número de Slide 5">
            <a:extLst>
              <a:ext uri="{FF2B5EF4-FFF2-40B4-BE49-F238E27FC236}">
                <a16:creationId xmlns:a16="http://schemas.microsoft.com/office/drawing/2014/main" id="{436AF086-CA32-987B-4F58-80F8464DD008}"/>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B3136321-2B26-F547-C0FC-07C6F76996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5" name="Título 2">
            <a:extLst>
              <a:ext uri="{FF2B5EF4-FFF2-40B4-BE49-F238E27FC236}">
                <a16:creationId xmlns:a16="http://schemas.microsoft.com/office/drawing/2014/main" id="{EAC299BB-0D78-5A51-45BB-0816CB51F37D}"/>
              </a:ext>
            </a:extLst>
          </p:cNvPr>
          <p:cNvSpPr>
            <a:spLocks noGrp="1"/>
          </p:cNvSpPr>
          <p:nvPr>
            <p:ph type="title"/>
          </p:nvPr>
        </p:nvSpPr>
        <p:spPr>
          <a:xfrm>
            <a:off x="647700" y="134483"/>
            <a:ext cx="11224890" cy="614684"/>
          </a:xfrm>
          <a:prstGeom prst="rect">
            <a:avLst/>
          </a:prstGeom>
        </p:spPr>
        <p:txBody>
          <a:bodyPr anchor="ctr">
            <a:normAutofit/>
          </a:bodyPr>
          <a:lstStyle>
            <a:lvl1pPr>
              <a:defRPr lang="pt-BR" sz="3200">
                <a:solidFill>
                  <a:srgbClr val="01426A"/>
                </a:solidFill>
                <a:latin typeface="Omnes SemiBold" panose="02000000000000000000"/>
              </a:defRPr>
            </a:lvl1pPr>
          </a:lstStyle>
          <a:p>
            <a:pPr marL="0" lvl="0">
              <a:lnSpc>
                <a:spcPct val="100000"/>
              </a:lnSpc>
            </a:pPr>
            <a:r>
              <a:rPr lang="pt-BR" dirty="0"/>
              <a:t>Clique para editar o título Mestre</a:t>
            </a:r>
          </a:p>
        </p:txBody>
      </p:sp>
      <p:sp>
        <p:nvSpPr>
          <p:cNvPr id="6" name="Retângulo 5">
            <a:extLst>
              <a:ext uri="{FF2B5EF4-FFF2-40B4-BE49-F238E27FC236}">
                <a16:creationId xmlns:a16="http://schemas.microsoft.com/office/drawing/2014/main" id="{D5C6DFFB-A1E0-1811-28DD-FBD0BCBAF915}"/>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75004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Foto3" preserve="1">
  <p:cSld name="1_Foto3">
    <p:spTree>
      <p:nvGrpSpPr>
        <p:cNvPr id="1" name="Shape 1926"/>
        <p:cNvGrpSpPr/>
        <p:nvPr/>
      </p:nvGrpSpPr>
      <p:grpSpPr>
        <a:xfrm>
          <a:off x="0" y="0"/>
          <a:ext cx="0" cy="0"/>
          <a:chOff x="0" y="0"/>
          <a:chExt cx="0" cy="0"/>
        </a:xfrm>
      </p:grpSpPr>
      <p:pic>
        <p:nvPicPr>
          <p:cNvPr id="2" name="Imagem 1">
            <a:extLst>
              <a:ext uri="{FF2B5EF4-FFF2-40B4-BE49-F238E27FC236}">
                <a16:creationId xmlns:a16="http://schemas.microsoft.com/office/drawing/2014/main" id="{D89A34DF-B507-0B6F-968A-14951BBEEE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Gráfico 2">
            <a:extLst>
              <a:ext uri="{FF2B5EF4-FFF2-40B4-BE49-F238E27FC236}">
                <a16:creationId xmlns:a16="http://schemas.microsoft.com/office/drawing/2014/main" id="{2334939B-13C5-E1B5-D75B-7DC01F23D4C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Tree>
    <p:extLst>
      <p:ext uri="{BB962C8B-B14F-4D97-AF65-F5344CB8AC3E}">
        <p14:creationId xmlns:p14="http://schemas.microsoft.com/office/powerpoint/2010/main" val="316279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Portadas internas" preserve="1">
  <p:cSld name="1_Portadas internas">
    <p:spTree>
      <p:nvGrpSpPr>
        <p:cNvPr id="1" name="Shape 1956"/>
        <p:cNvGrpSpPr/>
        <p:nvPr/>
      </p:nvGrpSpPr>
      <p:grpSpPr>
        <a:xfrm>
          <a:off x="0" y="0"/>
          <a:ext cx="0" cy="0"/>
          <a:chOff x="0" y="0"/>
          <a:chExt cx="0" cy="0"/>
        </a:xfrm>
      </p:grpSpPr>
      <p:pic>
        <p:nvPicPr>
          <p:cNvPr id="2" name="Gráfico 1">
            <a:extLst>
              <a:ext uri="{FF2B5EF4-FFF2-40B4-BE49-F238E27FC236}">
                <a16:creationId xmlns:a16="http://schemas.microsoft.com/office/drawing/2014/main" id="{E3176234-A4ED-CDE9-E472-589AE19728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32995" y="6455000"/>
            <a:ext cx="825926" cy="167825"/>
          </a:xfrm>
          <a:prstGeom prst="rect">
            <a:avLst/>
          </a:prstGeom>
        </p:spPr>
      </p:pic>
      <p:sp>
        <p:nvSpPr>
          <p:cNvPr id="3" name="Espaço Reservado para Número de Slide 5">
            <a:extLst>
              <a:ext uri="{FF2B5EF4-FFF2-40B4-BE49-F238E27FC236}">
                <a16:creationId xmlns:a16="http://schemas.microsoft.com/office/drawing/2014/main" id="{DA576D31-4B54-1E72-7A4E-4D82A0CCE205}"/>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tx1">
                    <a:lumMod val="50000"/>
                    <a:lumOff val="50000"/>
                  </a:schemeClr>
                </a:solidFill>
                <a:latin typeface="Omnes" panose="02000606040000020004" pitchFamily="50" charset="0"/>
              </a:rPr>
              <a:pPr algn="ctr"/>
              <a:t>‹nº›</a:t>
            </a:fld>
            <a:endParaRPr lang="pt-BR" sz="1100" b="1" dirty="0">
              <a:solidFill>
                <a:schemeClr val="tx1">
                  <a:lumMod val="50000"/>
                  <a:lumOff val="50000"/>
                </a:schemeClr>
              </a:solidFill>
              <a:latin typeface="Omnes" panose="02000606040000020004" pitchFamily="50" charset="0"/>
            </a:endParaRPr>
          </a:p>
        </p:txBody>
      </p:sp>
      <p:pic>
        <p:nvPicPr>
          <p:cNvPr id="4" name="Gráfico 3">
            <a:extLst>
              <a:ext uri="{FF2B5EF4-FFF2-40B4-BE49-F238E27FC236}">
                <a16:creationId xmlns:a16="http://schemas.microsoft.com/office/drawing/2014/main" id="{0463B32D-8E6C-A8AB-F32D-7816B7AF2C6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48205" y="6282406"/>
            <a:ext cx="4095591" cy="414596"/>
          </a:xfrm>
          <a:prstGeom prst="rect">
            <a:avLst/>
          </a:prstGeom>
        </p:spPr>
      </p:pic>
      <p:sp>
        <p:nvSpPr>
          <p:cNvPr id="5" name="Retângulo 4">
            <a:extLst>
              <a:ext uri="{FF2B5EF4-FFF2-40B4-BE49-F238E27FC236}">
                <a16:creationId xmlns:a16="http://schemas.microsoft.com/office/drawing/2014/main" id="{8F979EC7-700C-2DF0-92A6-46565250CECB}"/>
              </a:ext>
            </a:extLst>
          </p:cNvPr>
          <p:cNvSpPr/>
          <p:nvPr userDrawn="1"/>
        </p:nvSpPr>
        <p:spPr>
          <a:xfrm>
            <a:off x="0" y="0"/>
            <a:ext cx="480767" cy="3429000"/>
          </a:xfrm>
          <a:prstGeom prst="rect">
            <a:avLst/>
          </a:prstGeom>
          <a:solidFill>
            <a:srgbClr val="0142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09557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En blanco" type="blank" preserve="1">
  <p:cSld name="1_En blanco">
    <p:spTree>
      <p:nvGrpSpPr>
        <p:cNvPr id="1" name="Shape 2032"/>
        <p:cNvGrpSpPr/>
        <p:nvPr/>
      </p:nvGrpSpPr>
      <p:grpSpPr>
        <a:xfrm>
          <a:off x="0" y="0"/>
          <a:ext cx="0" cy="0"/>
          <a:chOff x="0" y="0"/>
          <a:chExt cx="0" cy="0"/>
        </a:xfrm>
      </p:grpSpPr>
      <p:sp>
        <p:nvSpPr>
          <p:cNvPr id="2033" name="Google Shape;2033;g9aa23198a8_6_5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34" name="Google Shape;2034;g9aa23198a8_6_567"/>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35" name="Google Shape;2035;g9aa23198a8_6_567"/>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nº›</a:t>
            </a:fld>
            <a:endParaRPr/>
          </a:p>
        </p:txBody>
      </p:sp>
    </p:spTree>
    <p:extLst>
      <p:ext uri="{BB962C8B-B14F-4D97-AF65-F5344CB8AC3E}">
        <p14:creationId xmlns:p14="http://schemas.microsoft.com/office/powerpoint/2010/main" val="8721647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FOTO2" preserve="1">
  <p:cSld name="1_FOTO2">
    <p:spTree>
      <p:nvGrpSpPr>
        <p:cNvPr id="1" name="Shape 2550"/>
        <p:cNvGrpSpPr/>
        <p:nvPr/>
      </p:nvGrpSpPr>
      <p:grpSpPr>
        <a:xfrm>
          <a:off x="0" y="0"/>
          <a:ext cx="0" cy="0"/>
          <a:chOff x="0" y="0"/>
          <a:chExt cx="0" cy="0"/>
        </a:xfrm>
      </p:grpSpPr>
      <p:pic>
        <p:nvPicPr>
          <p:cNvPr id="4" name="Imagem 3" descr="Uma imagem contendo terno, mesa&#10;&#10;Descrição gerada automaticamente">
            <a:extLst>
              <a:ext uri="{FF2B5EF4-FFF2-40B4-BE49-F238E27FC236}">
                <a16:creationId xmlns:a16="http://schemas.microsoft.com/office/drawing/2014/main" id="{60489494-2408-2C37-EE10-649A961620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Gráfico 4">
            <a:extLst>
              <a:ext uri="{FF2B5EF4-FFF2-40B4-BE49-F238E27FC236}">
                <a16:creationId xmlns:a16="http://schemas.microsoft.com/office/drawing/2014/main" id="{DB6D4373-BCBA-FDAE-C983-83F278B9574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32995" y="6455000"/>
            <a:ext cx="825926" cy="167825"/>
          </a:xfrm>
          <a:prstGeom prst="rect">
            <a:avLst/>
          </a:prstGeom>
        </p:spPr>
      </p:pic>
      <p:sp>
        <p:nvSpPr>
          <p:cNvPr id="6" name="Espaço Reservado para Número de Slide 5">
            <a:extLst>
              <a:ext uri="{FF2B5EF4-FFF2-40B4-BE49-F238E27FC236}">
                <a16:creationId xmlns:a16="http://schemas.microsoft.com/office/drawing/2014/main" id="{72982834-F2ED-6BF9-051D-CDA5EBCE5679}"/>
              </a:ext>
            </a:extLst>
          </p:cNvPr>
          <p:cNvSpPr txBox="1">
            <a:spLocks/>
          </p:cNvSpPr>
          <p:nvPr userDrawn="1"/>
        </p:nvSpPr>
        <p:spPr>
          <a:xfrm>
            <a:off x="0" y="6356350"/>
            <a:ext cx="480767" cy="365125"/>
          </a:xfrm>
          <a:prstGeom prst="rect">
            <a:avLst/>
          </a:prstGeom>
        </p:spPr>
        <p:txBody>
          <a:bodyPr vert="horz" lIns="91440" tIns="45720" rIns="91440" bIns="45720" rtlCol="0" anchor="ctr"/>
          <a:lstStyle>
            <a:defPPr>
              <a:defRPr lang="pt-B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0CCF30C-4534-434E-9CBB-0850A205D5EB}" type="slidenum">
              <a:rPr lang="pt-BR" sz="1100" b="1" smtClean="0">
                <a:solidFill>
                  <a:schemeClr val="bg1"/>
                </a:solidFill>
                <a:latin typeface="Omnes" panose="02000606040000020004" pitchFamily="50" charset="0"/>
              </a:rPr>
              <a:pPr algn="ctr"/>
              <a:t>‹nº›</a:t>
            </a:fld>
            <a:endParaRPr lang="pt-BR" sz="1100" b="1" dirty="0">
              <a:solidFill>
                <a:schemeClr val="bg1"/>
              </a:solidFill>
              <a:latin typeface="Omnes" panose="02000606040000020004" pitchFamily="50" charset="0"/>
            </a:endParaRPr>
          </a:p>
        </p:txBody>
      </p:sp>
    </p:spTree>
    <p:extLst>
      <p:ext uri="{BB962C8B-B14F-4D97-AF65-F5344CB8AC3E}">
        <p14:creationId xmlns:p14="http://schemas.microsoft.com/office/powerpoint/2010/main" val="29884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heme" Target="../theme/theme2.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rma Livre: Forma 6">
            <a:extLst>
              <a:ext uri="{FF2B5EF4-FFF2-40B4-BE49-F238E27FC236}">
                <a16:creationId xmlns:a16="http://schemas.microsoft.com/office/drawing/2014/main" id="{67DB71C3-0678-F1EB-8D3C-0BA804E806F2}"/>
              </a:ext>
            </a:extLst>
          </p:cNvPr>
          <p:cNvSpPr/>
          <p:nvPr userDrawn="1"/>
        </p:nvSpPr>
        <p:spPr>
          <a:xfrm>
            <a:off x="12268825" y="5089674"/>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0DFF10"/>
          </a:solidFill>
          <a:ln w="9525" cap="flat">
            <a:noFill/>
            <a:prstDash val="solid"/>
            <a:miter/>
          </a:ln>
        </p:spPr>
        <p:txBody>
          <a:bodyPr rtlCol="0" anchor="ctr"/>
          <a:lstStyle/>
          <a:p>
            <a:pPr algn="ctr"/>
            <a:r>
              <a:rPr lang="pt-BR" sz="1200" b="1" dirty="0">
                <a:solidFill>
                  <a:schemeClr val="bg1"/>
                </a:solidFill>
                <a:latin typeface="Calibri" panose="020F0502020204030204" pitchFamily="34" charset="0"/>
                <a:ea typeface="Calibri" panose="020F0502020204030204" pitchFamily="34" charset="0"/>
                <a:cs typeface="Calibri" panose="020F0502020204030204" pitchFamily="34" charset="0"/>
              </a:rPr>
              <a:t>R13 G255 B16</a:t>
            </a:r>
          </a:p>
        </p:txBody>
      </p:sp>
      <p:sp>
        <p:nvSpPr>
          <p:cNvPr id="8" name="Forma Livre: Forma 7">
            <a:extLst>
              <a:ext uri="{FF2B5EF4-FFF2-40B4-BE49-F238E27FC236}">
                <a16:creationId xmlns:a16="http://schemas.microsoft.com/office/drawing/2014/main" id="{EBB2BF14-EC39-E4A3-0F6A-1DAB6E60322C}"/>
              </a:ext>
            </a:extLst>
          </p:cNvPr>
          <p:cNvSpPr/>
          <p:nvPr userDrawn="1"/>
        </p:nvSpPr>
        <p:spPr>
          <a:xfrm>
            <a:off x="12268825" y="1109711"/>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00B2A9"/>
          </a:solidFill>
          <a:ln w="9525" cap="flat">
            <a:noFill/>
            <a:prstDash val="solid"/>
            <a:miter/>
          </a:ln>
        </p:spPr>
        <p:txBody>
          <a:bodyPr rtlCol="0" anchor="ctr"/>
          <a:lstStyle/>
          <a:p>
            <a:pPr algn="ctr"/>
            <a:r>
              <a:rPr lang="pt-BR" sz="1200" b="1" dirty="0">
                <a:solidFill>
                  <a:schemeClr val="bg1"/>
                </a:solidFill>
                <a:latin typeface="Calibri" panose="020F0502020204030204" pitchFamily="34" charset="0"/>
                <a:ea typeface="Calibri" panose="020F0502020204030204" pitchFamily="34" charset="0"/>
                <a:cs typeface="Calibri" panose="020F0502020204030204" pitchFamily="34" charset="0"/>
              </a:rPr>
              <a:t>R0 G178 B169</a:t>
            </a:r>
          </a:p>
        </p:txBody>
      </p:sp>
      <p:sp>
        <p:nvSpPr>
          <p:cNvPr id="9" name="Forma Livre: Forma 8">
            <a:extLst>
              <a:ext uri="{FF2B5EF4-FFF2-40B4-BE49-F238E27FC236}">
                <a16:creationId xmlns:a16="http://schemas.microsoft.com/office/drawing/2014/main" id="{6012E898-C7D0-75A5-9731-C0F3713008FC}"/>
              </a:ext>
            </a:extLst>
          </p:cNvPr>
          <p:cNvSpPr/>
          <p:nvPr userDrawn="1"/>
        </p:nvSpPr>
        <p:spPr>
          <a:xfrm>
            <a:off x="12268824" y="4719769"/>
            <a:ext cx="1142375"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A40CE8"/>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162 G12 B230</a:t>
            </a:r>
          </a:p>
        </p:txBody>
      </p:sp>
      <p:sp>
        <p:nvSpPr>
          <p:cNvPr id="10" name="Forma Livre: Forma 9">
            <a:extLst>
              <a:ext uri="{FF2B5EF4-FFF2-40B4-BE49-F238E27FC236}">
                <a16:creationId xmlns:a16="http://schemas.microsoft.com/office/drawing/2014/main" id="{224D8DCC-D71B-DD30-2298-72D222655835}"/>
              </a:ext>
            </a:extLst>
          </p:cNvPr>
          <p:cNvSpPr/>
          <p:nvPr userDrawn="1"/>
        </p:nvSpPr>
        <p:spPr>
          <a:xfrm>
            <a:off x="12268825" y="745457"/>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00A3E0"/>
          </a:solidFill>
          <a:ln w="9525" cap="flat">
            <a:noFill/>
            <a:prstDash val="solid"/>
            <a:miter/>
          </a:ln>
        </p:spPr>
        <p:txBody>
          <a:bodyPr rtlCol="0" anchor="ctr"/>
          <a:lstStyle/>
          <a:p>
            <a:pPr algn="ctr"/>
            <a:r>
              <a:rPr lang="pt-BR" sz="1200" b="1" dirty="0">
                <a:solidFill>
                  <a:schemeClr val="bg1"/>
                </a:solidFill>
                <a:latin typeface="Calibri" panose="020F0502020204030204" pitchFamily="34" charset="0"/>
                <a:ea typeface="Calibri" panose="020F0502020204030204" pitchFamily="34" charset="0"/>
                <a:cs typeface="Calibri" panose="020F0502020204030204" pitchFamily="34" charset="0"/>
              </a:rPr>
              <a:t>R0 G163 B224</a:t>
            </a:r>
          </a:p>
        </p:txBody>
      </p:sp>
      <p:sp>
        <p:nvSpPr>
          <p:cNvPr id="11" name="Forma Livre: Forma 10">
            <a:extLst>
              <a:ext uri="{FF2B5EF4-FFF2-40B4-BE49-F238E27FC236}">
                <a16:creationId xmlns:a16="http://schemas.microsoft.com/office/drawing/2014/main" id="{0FE7E042-F55A-9B12-305C-DBA634E9698C}"/>
              </a:ext>
            </a:extLst>
          </p:cNvPr>
          <p:cNvSpPr/>
          <p:nvPr userDrawn="1"/>
        </p:nvSpPr>
        <p:spPr>
          <a:xfrm>
            <a:off x="12268825" y="4389378"/>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4619FF"/>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70 G25 B255</a:t>
            </a:r>
          </a:p>
        </p:txBody>
      </p:sp>
      <p:sp>
        <p:nvSpPr>
          <p:cNvPr id="12" name="Forma Livre: Forma 11">
            <a:extLst>
              <a:ext uri="{FF2B5EF4-FFF2-40B4-BE49-F238E27FC236}">
                <a16:creationId xmlns:a16="http://schemas.microsoft.com/office/drawing/2014/main" id="{FB931E1C-2623-515E-DCB7-E0FB97EDE6F2}"/>
              </a:ext>
            </a:extLst>
          </p:cNvPr>
          <p:cNvSpPr/>
          <p:nvPr userDrawn="1"/>
        </p:nvSpPr>
        <p:spPr>
          <a:xfrm>
            <a:off x="12268824" y="5459576"/>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FFE40D"/>
          </a:solidFill>
          <a:ln w="9525" cap="flat">
            <a:noFill/>
            <a:prstDash val="solid"/>
            <a:miter/>
          </a:ln>
        </p:spPr>
        <p:txBody>
          <a:bodyPr rtlCol="0" anchor="ctr"/>
          <a:lstStyle/>
          <a:p>
            <a:pPr algn="ctr"/>
            <a:r>
              <a:rPr lang="pt-BR" sz="1100" b="1" dirty="0">
                <a:solidFill>
                  <a:schemeClr val="tx1"/>
                </a:solidFill>
                <a:latin typeface="Calibri" panose="020F0502020204030204" pitchFamily="34" charset="0"/>
                <a:ea typeface="Calibri" panose="020F0502020204030204" pitchFamily="34" charset="0"/>
                <a:cs typeface="Calibri" panose="020F0502020204030204" pitchFamily="34" charset="0"/>
              </a:rPr>
              <a:t>R255 G228 B13</a:t>
            </a:r>
          </a:p>
        </p:txBody>
      </p:sp>
      <p:sp>
        <p:nvSpPr>
          <p:cNvPr id="13" name="Forma Livre: Forma 12">
            <a:extLst>
              <a:ext uri="{FF2B5EF4-FFF2-40B4-BE49-F238E27FC236}">
                <a16:creationId xmlns:a16="http://schemas.microsoft.com/office/drawing/2014/main" id="{16F90868-5F56-78EC-E7A3-B1BE1A583087}"/>
              </a:ext>
            </a:extLst>
          </p:cNvPr>
          <p:cNvSpPr/>
          <p:nvPr userDrawn="1"/>
        </p:nvSpPr>
        <p:spPr>
          <a:xfrm>
            <a:off x="12268824" y="2960669"/>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9D9D9D"/>
          </a:solidFill>
          <a:ln w="9525" cap="flat">
            <a:noFill/>
            <a:prstDash val="solid"/>
            <a:miter/>
          </a:ln>
        </p:spPr>
        <p:txBody>
          <a:bodyPr rtlCol="0" anchor="ctr"/>
          <a:lstStyle/>
          <a:p>
            <a:pPr algn="ctr"/>
            <a:r>
              <a:rPr lang="pt-BR" sz="1100" b="1" dirty="0">
                <a:solidFill>
                  <a:schemeClr val="tx1"/>
                </a:solidFill>
                <a:latin typeface="Calibri" panose="020F0502020204030204" pitchFamily="34" charset="0"/>
                <a:ea typeface="Calibri" panose="020F0502020204030204" pitchFamily="34" charset="0"/>
                <a:cs typeface="Calibri" panose="020F0502020204030204" pitchFamily="34" charset="0"/>
              </a:rPr>
              <a:t>R157 G157 B157</a:t>
            </a:r>
          </a:p>
        </p:txBody>
      </p:sp>
      <p:sp>
        <p:nvSpPr>
          <p:cNvPr id="14" name="Forma Livre: Forma 13">
            <a:extLst>
              <a:ext uri="{FF2B5EF4-FFF2-40B4-BE49-F238E27FC236}">
                <a16:creationId xmlns:a16="http://schemas.microsoft.com/office/drawing/2014/main" id="{B3B1E8FC-BC79-03EF-B6B1-C8C927C33C9D}"/>
              </a:ext>
            </a:extLst>
          </p:cNvPr>
          <p:cNvSpPr/>
          <p:nvPr userDrawn="1"/>
        </p:nvSpPr>
        <p:spPr>
          <a:xfrm>
            <a:off x="12268824" y="3335346"/>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636363"/>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99 G99 B99</a:t>
            </a:r>
          </a:p>
        </p:txBody>
      </p:sp>
      <p:sp>
        <p:nvSpPr>
          <p:cNvPr id="15" name="Forma Livre: Forma 14">
            <a:extLst>
              <a:ext uri="{FF2B5EF4-FFF2-40B4-BE49-F238E27FC236}">
                <a16:creationId xmlns:a16="http://schemas.microsoft.com/office/drawing/2014/main" id="{63026062-F393-F2D8-44EF-E4D21E8248E8}"/>
              </a:ext>
            </a:extLst>
          </p:cNvPr>
          <p:cNvSpPr/>
          <p:nvPr userDrawn="1"/>
        </p:nvSpPr>
        <p:spPr>
          <a:xfrm>
            <a:off x="12268824" y="0"/>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01426A"/>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1 G66 B106</a:t>
            </a:r>
          </a:p>
        </p:txBody>
      </p:sp>
      <p:sp>
        <p:nvSpPr>
          <p:cNvPr id="16" name="Forma Livre: Forma 15">
            <a:extLst>
              <a:ext uri="{FF2B5EF4-FFF2-40B4-BE49-F238E27FC236}">
                <a16:creationId xmlns:a16="http://schemas.microsoft.com/office/drawing/2014/main" id="{2A9C64A6-D933-4F0B-4464-45BB0A38DF09}"/>
              </a:ext>
            </a:extLst>
          </p:cNvPr>
          <p:cNvSpPr/>
          <p:nvPr userDrawn="1"/>
        </p:nvSpPr>
        <p:spPr>
          <a:xfrm>
            <a:off x="12268824" y="3705251"/>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000000"/>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0 G0 B0</a:t>
            </a:r>
          </a:p>
        </p:txBody>
      </p:sp>
      <p:sp>
        <p:nvSpPr>
          <p:cNvPr id="17" name="Forma Livre: Forma 16">
            <a:extLst>
              <a:ext uri="{FF2B5EF4-FFF2-40B4-BE49-F238E27FC236}">
                <a16:creationId xmlns:a16="http://schemas.microsoft.com/office/drawing/2014/main" id="{B01B5F82-13A5-BC81-5A1D-A52F76DF253B}"/>
              </a:ext>
            </a:extLst>
          </p:cNvPr>
          <p:cNvSpPr/>
          <p:nvPr userDrawn="1"/>
        </p:nvSpPr>
        <p:spPr>
          <a:xfrm>
            <a:off x="12268824" y="369904"/>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00558C"/>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0 G85 B140</a:t>
            </a:r>
          </a:p>
        </p:txBody>
      </p:sp>
      <p:sp>
        <p:nvSpPr>
          <p:cNvPr id="18" name="Forma Livre: Forma 17">
            <a:extLst>
              <a:ext uri="{FF2B5EF4-FFF2-40B4-BE49-F238E27FC236}">
                <a16:creationId xmlns:a16="http://schemas.microsoft.com/office/drawing/2014/main" id="{9101CA99-E44D-40A9-00D2-A98597781A3E}"/>
              </a:ext>
            </a:extLst>
          </p:cNvPr>
          <p:cNvSpPr/>
          <p:nvPr userDrawn="1"/>
        </p:nvSpPr>
        <p:spPr>
          <a:xfrm>
            <a:off x="12268825" y="1479615"/>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B7BF10"/>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183 G191 B16</a:t>
            </a:r>
          </a:p>
        </p:txBody>
      </p:sp>
      <p:sp>
        <p:nvSpPr>
          <p:cNvPr id="19" name="Forma Livre: Forma 18">
            <a:extLst>
              <a:ext uri="{FF2B5EF4-FFF2-40B4-BE49-F238E27FC236}">
                <a16:creationId xmlns:a16="http://schemas.microsoft.com/office/drawing/2014/main" id="{177AA83C-12FF-528F-429A-89805B771E50}"/>
              </a:ext>
            </a:extLst>
          </p:cNvPr>
          <p:cNvSpPr/>
          <p:nvPr userDrawn="1"/>
        </p:nvSpPr>
        <p:spPr>
          <a:xfrm>
            <a:off x="12268825" y="1843870"/>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228848"/>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34 G136 B72</a:t>
            </a:r>
          </a:p>
        </p:txBody>
      </p:sp>
      <p:sp>
        <p:nvSpPr>
          <p:cNvPr id="20" name="Forma Livre: Forma 19">
            <a:extLst>
              <a:ext uri="{FF2B5EF4-FFF2-40B4-BE49-F238E27FC236}">
                <a16:creationId xmlns:a16="http://schemas.microsoft.com/office/drawing/2014/main" id="{FDB8811D-4067-5E3B-6DFA-E7C5C7D22290}"/>
              </a:ext>
            </a:extLst>
          </p:cNvPr>
          <p:cNvSpPr/>
          <p:nvPr userDrawn="1"/>
        </p:nvSpPr>
        <p:spPr>
          <a:xfrm>
            <a:off x="12268825" y="2395480"/>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FF7900"/>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255 G121 B0</a:t>
            </a:r>
          </a:p>
        </p:txBody>
      </p:sp>
      <p:sp>
        <p:nvSpPr>
          <p:cNvPr id="21" name="Forma Livre: Forma 20">
            <a:extLst>
              <a:ext uri="{FF2B5EF4-FFF2-40B4-BE49-F238E27FC236}">
                <a16:creationId xmlns:a16="http://schemas.microsoft.com/office/drawing/2014/main" id="{32A31D0F-CC48-6A7B-F9EA-2655136EED85}"/>
              </a:ext>
            </a:extLst>
          </p:cNvPr>
          <p:cNvSpPr/>
          <p:nvPr userDrawn="1"/>
        </p:nvSpPr>
        <p:spPr>
          <a:xfrm>
            <a:off x="12268824" y="5829481"/>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E00C07"/>
          </a:solidFill>
          <a:ln w="9525" cap="flat">
            <a:noFill/>
            <a:prstDash val="solid"/>
            <a:miter/>
          </a:ln>
        </p:spPr>
        <p:txBody>
          <a:bodyPr rtlCol="0" anchor="ctr"/>
          <a:lstStyle/>
          <a:p>
            <a:pPr algn="ctr"/>
            <a:r>
              <a:rPr lang="pt-BR" sz="1100" b="1" dirty="0">
                <a:solidFill>
                  <a:schemeClr val="bg1"/>
                </a:solidFill>
                <a:latin typeface="Calibri" panose="020F0502020204030204" pitchFamily="34" charset="0"/>
                <a:ea typeface="Calibri" panose="020F0502020204030204" pitchFamily="34" charset="0"/>
                <a:cs typeface="Calibri" panose="020F0502020204030204" pitchFamily="34" charset="0"/>
              </a:rPr>
              <a:t>R224 G12 B7</a:t>
            </a:r>
          </a:p>
        </p:txBody>
      </p:sp>
    </p:spTree>
    <p:extLst>
      <p:ext uri="{BB962C8B-B14F-4D97-AF65-F5344CB8AC3E}">
        <p14:creationId xmlns:p14="http://schemas.microsoft.com/office/powerpoint/2010/main" val="3827925793"/>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 id="2147484812" r:id="rId14"/>
    <p:sldLayoutId id="2147484813" r:id="rId15"/>
    <p:sldLayoutId id="2147484814" r:id="rId16"/>
    <p:sldLayoutId id="2147484815" r:id="rId17"/>
    <p:sldLayoutId id="2147484816" r:id="rId18"/>
    <p:sldLayoutId id="2147484817" r:id="rId19"/>
    <p:sldLayoutId id="2147484818" r:id="rId20"/>
    <p:sldLayoutId id="2147484819" r:id="rId21"/>
    <p:sldLayoutId id="2147484820" r:id="rId22"/>
    <p:sldLayoutId id="2147484821" r:id="rId23"/>
    <p:sldLayoutId id="2147484822" r:id="rId24"/>
    <p:sldLayoutId id="2147484823" r:id="rId25"/>
    <p:sldLayoutId id="2147484824" r:id="rId26"/>
    <p:sldLayoutId id="2147484825" r:id="rId27"/>
    <p:sldLayoutId id="2147484826" r:id="rId28"/>
    <p:sldLayoutId id="2147484827" r:id="rId29"/>
    <p:sldLayoutId id="2147484828" r:id="rId30"/>
    <p:sldLayoutId id="2147484829" r:id="rId31"/>
    <p:sldLayoutId id="2147484830" r:id="rId32"/>
    <p:sldLayoutId id="2147484831" r:id="rId33"/>
    <p:sldLayoutId id="2147484832" r:id="rId34"/>
    <p:sldLayoutId id="2147484833" r:id="rId35"/>
    <p:sldLayoutId id="2147484834" r:id="rId36"/>
    <p:sldLayoutId id="2147484835" r:id="rId37"/>
    <p:sldLayoutId id="2147484836" r:id="rId38"/>
    <p:sldLayoutId id="2147484837" r:id="rId39"/>
    <p:sldLayoutId id="2147484838" r:id="rId40"/>
    <p:sldLayoutId id="2147484839" r:id="rId41"/>
    <p:sldLayoutId id="2147484795" r:id="rId42"/>
    <p:sldLayoutId id="2147484796" r:id="rId43"/>
    <p:sldLayoutId id="2147484797" r:id="rId44"/>
    <p:sldLayoutId id="2147484798" r:id="rId45"/>
    <p:sldLayoutId id="2147484840" r:id="rId46"/>
    <p:sldLayoutId id="2147484841" r:id="rId47"/>
    <p:sldLayoutId id="2147484842" r:id="rId48"/>
    <p:sldLayoutId id="2147484843" r:id="rId49"/>
    <p:sldLayoutId id="2147484844" r:id="rId50"/>
    <p:sldLayoutId id="2147484845" r:id="rId51"/>
    <p:sldLayoutId id="2147484846" r:id="rId52"/>
    <p:sldLayoutId id="2147484847" r:id="rId53"/>
    <p:sldLayoutId id="2147484718" r:id="rId54"/>
    <p:sldLayoutId id="2147484719" r:id="rId55"/>
    <p:sldLayoutId id="2147484720" r:id="rId56"/>
    <p:sldLayoutId id="2147484721" r:id="rId57"/>
    <p:sldLayoutId id="2147484722" r:id="rId58"/>
    <p:sldLayoutId id="2147484723" r:id="rId59"/>
    <p:sldLayoutId id="2147484724" r:id="rId60"/>
    <p:sldLayoutId id="2147484725" r:id="rId61"/>
    <p:sldLayoutId id="2147484726" r:id="rId62"/>
    <p:sldLayoutId id="2147484727" r:id="rId63"/>
    <p:sldLayoutId id="2147484728" r:id="rId64"/>
    <p:sldLayoutId id="2147484729" r:id="rId65"/>
    <p:sldLayoutId id="2147484730" r:id="rId66"/>
    <p:sldLayoutId id="2147484731" r:id="rId67"/>
    <p:sldLayoutId id="2147484732" r:id="rId68"/>
    <p:sldLayoutId id="2147484733" r:id="rId69"/>
    <p:sldLayoutId id="2147484734" r:id="rId70"/>
    <p:sldLayoutId id="2147484735" r:id="rId71"/>
    <p:sldLayoutId id="2147484736" r:id="rId72"/>
    <p:sldLayoutId id="2147484737" r:id="rId73"/>
    <p:sldLayoutId id="2147484738" r:id="rId74"/>
    <p:sldLayoutId id="2147484739" r:id="rId75"/>
    <p:sldLayoutId id="2147484740" r:id="rId76"/>
    <p:sldLayoutId id="2147484741" r:id="rId77"/>
    <p:sldLayoutId id="2147484742" r:id="rId78"/>
    <p:sldLayoutId id="2147484743" r:id="rId79"/>
    <p:sldLayoutId id="2147484744" r:id="rId80"/>
    <p:sldLayoutId id="2147484745" r:id="rId81"/>
    <p:sldLayoutId id="2147484746" r:id="rId82"/>
    <p:sldLayoutId id="2147484747" r:id="rId83"/>
    <p:sldLayoutId id="2147484748" r:id="rId84"/>
    <p:sldLayoutId id="2147484749" r:id="rId85"/>
    <p:sldLayoutId id="2147484848" r:id="rId86"/>
    <p:sldLayoutId id="2147484750" r:id="rId87"/>
    <p:sldLayoutId id="2147484751" r:id="rId88"/>
    <p:sldLayoutId id="2147484752" r:id="rId89"/>
    <p:sldLayoutId id="2147484753" r:id="rId90"/>
    <p:sldLayoutId id="2147484754" r:id="rId91"/>
    <p:sldLayoutId id="2147484755" r:id="rId92"/>
    <p:sldLayoutId id="2147484756" r:id="rId93"/>
    <p:sldLayoutId id="2147484757" r:id="rId94"/>
    <p:sldLayoutId id="2147484758" r:id="rId95"/>
    <p:sldLayoutId id="2147484759" r:id="rId96"/>
    <p:sldLayoutId id="2147484760" r:id="rId97"/>
    <p:sldLayoutId id="2147484761" r:id="rId98"/>
    <p:sldLayoutId id="2147484762" r:id="rId99"/>
    <p:sldLayoutId id="2147484763" r:id="rId100"/>
    <p:sldLayoutId id="2147484764" r:id="rId101"/>
    <p:sldLayoutId id="2147484765" r:id="rId102"/>
    <p:sldLayoutId id="2147484766" r:id="rId103"/>
    <p:sldLayoutId id="2147484767" r:id="rId104"/>
    <p:sldLayoutId id="2147484768" r:id="rId105"/>
    <p:sldLayoutId id="2147484770" r:id="rId106"/>
    <p:sldLayoutId id="2147484771" r:id="rId107"/>
    <p:sldLayoutId id="2147484772" r:id="rId108"/>
    <p:sldLayoutId id="2147484773" r:id="rId109"/>
    <p:sldLayoutId id="2147484774" r:id="rId110"/>
    <p:sldLayoutId id="2147484775" r:id="rId111"/>
    <p:sldLayoutId id="2147484776" r:id="rId112"/>
    <p:sldLayoutId id="2147484777" r:id="rId113"/>
    <p:sldLayoutId id="2147484778" r:id="rId114"/>
    <p:sldLayoutId id="2147484779" r:id="rId115"/>
    <p:sldLayoutId id="2147484780" r:id="rId116"/>
    <p:sldLayoutId id="2147484781" r:id="rId117"/>
    <p:sldLayoutId id="2147484782" r:id="rId118"/>
    <p:sldLayoutId id="2147484783" r:id="rId119"/>
    <p:sldLayoutId id="2147484784" r:id="rId120"/>
    <p:sldLayoutId id="2147484785" r:id="rId121"/>
    <p:sldLayoutId id="2147484786" r:id="rId122"/>
    <p:sldLayoutId id="2147484787" r:id="rId123"/>
    <p:sldLayoutId id="2147484788" r:id="rId124"/>
    <p:sldLayoutId id="2147484794" r:id="rId125"/>
    <p:sldLayoutId id="2147484692" r:id="rId126"/>
    <p:sldLayoutId id="2147484693" r:id="rId127"/>
    <p:sldLayoutId id="2147484694" r:id="rId128"/>
    <p:sldLayoutId id="2147484695" r:id="rId129"/>
    <p:sldLayoutId id="2147484696" r:id="rId130"/>
    <p:sldLayoutId id="2147484697" r:id="rId131"/>
    <p:sldLayoutId id="2147484698" r:id="rId132"/>
    <p:sldLayoutId id="2147484703" r:id="rId133"/>
    <p:sldLayoutId id="2147484704" r:id="rId134"/>
    <p:sldLayoutId id="2147484705" r:id="rId135"/>
    <p:sldLayoutId id="2147484706" r:id="rId136"/>
    <p:sldLayoutId id="2147484708" r:id="rId137"/>
    <p:sldLayoutId id="2147484711" r:id="rId138"/>
    <p:sldLayoutId id="2147484712" r:id="rId139"/>
    <p:sldLayoutId id="2147484713" r:id="rId140"/>
    <p:sldLayoutId id="2147484714" r:id="rId141"/>
    <p:sldLayoutId id="2147484715" r:id="rId142"/>
    <p:sldLayoutId id="2147484716" r:id="rId143"/>
    <p:sldLayoutId id="2147484717" r:id="rId144"/>
    <p:sldLayoutId id="2147484877" r:id="rId1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rma Livre: Forma 6">
            <a:extLst>
              <a:ext uri="{FF2B5EF4-FFF2-40B4-BE49-F238E27FC236}">
                <a16:creationId xmlns:a16="http://schemas.microsoft.com/office/drawing/2014/main" id="{CCA9614C-F155-5A1E-8398-B02D50A0B36F}"/>
              </a:ext>
            </a:extLst>
          </p:cNvPr>
          <p:cNvSpPr/>
          <p:nvPr userDrawn="1"/>
        </p:nvSpPr>
        <p:spPr>
          <a:xfrm>
            <a:off x="12268825" y="1474838"/>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0DFF10"/>
          </a:solidFill>
          <a:ln w="9525" cap="flat">
            <a:noFill/>
            <a:prstDash val="solid"/>
            <a:miter/>
          </a:ln>
        </p:spPr>
        <p:txBody>
          <a:bodyPr rtlCol="0" anchor="ctr"/>
          <a:lstStyle/>
          <a:p>
            <a:pPr algn="ctr"/>
            <a:r>
              <a:rPr lang="pt-BR" b="1" dirty="0">
                <a:solidFill>
                  <a:schemeClr val="bg1"/>
                </a:solidFill>
                <a:latin typeface="Calibri" panose="020F0502020204030204" pitchFamily="34" charset="0"/>
                <a:ea typeface="Calibri" panose="020F0502020204030204" pitchFamily="34" charset="0"/>
                <a:cs typeface="Calibri" panose="020F0502020204030204" pitchFamily="34" charset="0"/>
              </a:rPr>
              <a:t>#0DFF10</a:t>
            </a:r>
          </a:p>
        </p:txBody>
      </p:sp>
      <p:sp>
        <p:nvSpPr>
          <p:cNvPr id="8" name="Forma Livre: Forma 7">
            <a:extLst>
              <a:ext uri="{FF2B5EF4-FFF2-40B4-BE49-F238E27FC236}">
                <a16:creationId xmlns:a16="http://schemas.microsoft.com/office/drawing/2014/main" id="{275932A3-B929-E74E-459D-CDE886BDC79C}"/>
              </a:ext>
            </a:extLst>
          </p:cNvPr>
          <p:cNvSpPr/>
          <p:nvPr userDrawn="1"/>
        </p:nvSpPr>
        <p:spPr>
          <a:xfrm>
            <a:off x="12268825" y="1104936"/>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00B2A9"/>
          </a:solidFill>
          <a:ln w="9525" cap="flat">
            <a:noFill/>
            <a:prstDash val="solid"/>
            <a:miter/>
          </a:ln>
        </p:spPr>
        <p:txBody>
          <a:bodyPr rtlCol="0" anchor="ctr"/>
          <a:lstStyle/>
          <a:p>
            <a:pPr algn="ctr"/>
            <a:r>
              <a:rPr lang="pt-BR" b="1" dirty="0">
                <a:solidFill>
                  <a:schemeClr val="bg1"/>
                </a:solidFill>
                <a:latin typeface="Calibri" panose="020F0502020204030204" pitchFamily="34" charset="0"/>
                <a:ea typeface="Calibri" panose="020F0502020204030204" pitchFamily="34" charset="0"/>
                <a:cs typeface="Calibri" panose="020F0502020204030204" pitchFamily="34" charset="0"/>
              </a:rPr>
              <a:t>#00B2A9</a:t>
            </a:r>
          </a:p>
        </p:txBody>
      </p:sp>
      <p:sp>
        <p:nvSpPr>
          <p:cNvPr id="9" name="Forma Livre: Forma 8">
            <a:extLst>
              <a:ext uri="{FF2B5EF4-FFF2-40B4-BE49-F238E27FC236}">
                <a16:creationId xmlns:a16="http://schemas.microsoft.com/office/drawing/2014/main" id="{A239DDC5-E370-0C4B-D2B1-A287E28F97D6}"/>
              </a:ext>
            </a:extLst>
          </p:cNvPr>
          <p:cNvSpPr/>
          <p:nvPr userDrawn="1"/>
        </p:nvSpPr>
        <p:spPr>
          <a:xfrm>
            <a:off x="12268824" y="-1"/>
            <a:ext cx="1142375"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A40CE8"/>
          </a:solidFill>
          <a:ln w="9525" cap="flat">
            <a:noFill/>
            <a:prstDash val="solid"/>
            <a:miter/>
          </a:ln>
        </p:spPr>
        <p:txBody>
          <a:bodyPr rtlCol="0" anchor="ctr"/>
          <a:lstStyle/>
          <a:p>
            <a:pPr algn="ctr"/>
            <a:r>
              <a:rPr lang="pt-BR" b="1" dirty="0">
                <a:solidFill>
                  <a:schemeClr val="bg1"/>
                </a:solidFill>
                <a:latin typeface="Calibri" panose="020F0502020204030204" pitchFamily="34" charset="0"/>
                <a:ea typeface="Calibri" panose="020F0502020204030204" pitchFamily="34" charset="0"/>
                <a:cs typeface="Calibri" panose="020F0502020204030204" pitchFamily="34" charset="0"/>
              </a:rPr>
              <a:t>#A40CE8</a:t>
            </a:r>
          </a:p>
        </p:txBody>
      </p:sp>
      <p:sp>
        <p:nvSpPr>
          <p:cNvPr id="10" name="Forma Livre: Forma 9">
            <a:extLst>
              <a:ext uri="{FF2B5EF4-FFF2-40B4-BE49-F238E27FC236}">
                <a16:creationId xmlns:a16="http://schemas.microsoft.com/office/drawing/2014/main" id="{98708BA2-18DF-09F5-FC36-BC8625F88C5A}"/>
              </a:ext>
            </a:extLst>
          </p:cNvPr>
          <p:cNvSpPr/>
          <p:nvPr userDrawn="1"/>
        </p:nvSpPr>
        <p:spPr>
          <a:xfrm>
            <a:off x="12268825" y="735031"/>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00A3E0"/>
          </a:solidFill>
          <a:ln w="9525" cap="flat">
            <a:noFill/>
            <a:prstDash val="solid"/>
            <a:miter/>
          </a:ln>
        </p:spPr>
        <p:txBody>
          <a:bodyPr rtlCol="0" anchor="ctr"/>
          <a:lstStyle/>
          <a:p>
            <a:pPr algn="ctr"/>
            <a:r>
              <a:rPr lang="pt-BR" b="1" dirty="0">
                <a:solidFill>
                  <a:schemeClr val="bg1"/>
                </a:solidFill>
                <a:latin typeface="Calibri" panose="020F0502020204030204" pitchFamily="34" charset="0"/>
                <a:ea typeface="Calibri" panose="020F0502020204030204" pitchFamily="34" charset="0"/>
                <a:cs typeface="Calibri" panose="020F0502020204030204" pitchFamily="34" charset="0"/>
              </a:rPr>
              <a:t>#00A3E0</a:t>
            </a:r>
          </a:p>
        </p:txBody>
      </p:sp>
      <p:sp>
        <p:nvSpPr>
          <p:cNvPr id="11" name="Forma Livre: Forma 10">
            <a:extLst>
              <a:ext uri="{FF2B5EF4-FFF2-40B4-BE49-F238E27FC236}">
                <a16:creationId xmlns:a16="http://schemas.microsoft.com/office/drawing/2014/main" id="{52F501B5-C058-A2F2-336C-05BE8B5DAF2D}"/>
              </a:ext>
            </a:extLst>
          </p:cNvPr>
          <p:cNvSpPr/>
          <p:nvPr userDrawn="1"/>
        </p:nvSpPr>
        <p:spPr>
          <a:xfrm>
            <a:off x="12268825" y="365125"/>
            <a:ext cx="1142374" cy="369905"/>
          </a:xfrm>
          <a:custGeom>
            <a:avLst/>
            <a:gdLst>
              <a:gd name="connsiteX0" fmla="*/ 0 w 724566"/>
              <a:gd name="connsiteY0" fmla="*/ 0 h 724566"/>
              <a:gd name="connsiteX1" fmla="*/ 724567 w 724566"/>
              <a:gd name="connsiteY1" fmla="*/ 0 h 724566"/>
              <a:gd name="connsiteX2" fmla="*/ 724567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7" y="0"/>
                </a:lnTo>
                <a:lnTo>
                  <a:pt x="724567" y="724567"/>
                </a:lnTo>
                <a:lnTo>
                  <a:pt x="0" y="724567"/>
                </a:lnTo>
                <a:close/>
              </a:path>
            </a:pathLst>
          </a:custGeom>
          <a:solidFill>
            <a:srgbClr val="4619FF"/>
          </a:solidFill>
          <a:ln w="9525" cap="flat">
            <a:noFill/>
            <a:prstDash val="solid"/>
            <a:miter/>
          </a:ln>
        </p:spPr>
        <p:txBody>
          <a:bodyPr rtlCol="0" anchor="ctr"/>
          <a:lstStyle/>
          <a:p>
            <a:pPr algn="ctr"/>
            <a:r>
              <a:rPr lang="pt-BR" b="1" dirty="0">
                <a:solidFill>
                  <a:schemeClr val="bg1"/>
                </a:solidFill>
                <a:latin typeface="Calibri" panose="020F0502020204030204" pitchFamily="34" charset="0"/>
                <a:ea typeface="Calibri" panose="020F0502020204030204" pitchFamily="34" charset="0"/>
                <a:cs typeface="Calibri" panose="020F0502020204030204" pitchFamily="34" charset="0"/>
              </a:rPr>
              <a:t>#4619FF</a:t>
            </a:r>
          </a:p>
        </p:txBody>
      </p:sp>
      <p:sp>
        <p:nvSpPr>
          <p:cNvPr id="12" name="Forma Livre: Forma 11">
            <a:extLst>
              <a:ext uri="{FF2B5EF4-FFF2-40B4-BE49-F238E27FC236}">
                <a16:creationId xmlns:a16="http://schemas.microsoft.com/office/drawing/2014/main" id="{51C02F60-4CB9-D6DB-BE0E-55E85420071C}"/>
              </a:ext>
            </a:extLst>
          </p:cNvPr>
          <p:cNvSpPr/>
          <p:nvPr userDrawn="1"/>
        </p:nvSpPr>
        <p:spPr>
          <a:xfrm>
            <a:off x="12268824" y="1844740"/>
            <a:ext cx="1142374" cy="369905"/>
          </a:xfrm>
          <a:custGeom>
            <a:avLst/>
            <a:gdLst>
              <a:gd name="connsiteX0" fmla="*/ 0 w 724566"/>
              <a:gd name="connsiteY0" fmla="*/ 0 h 724566"/>
              <a:gd name="connsiteX1" fmla="*/ 724566 w 724566"/>
              <a:gd name="connsiteY1" fmla="*/ 0 h 724566"/>
              <a:gd name="connsiteX2" fmla="*/ 724566 w 724566"/>
              <a:gd name="connsiteY2" fmla="*/ 724567 h 724566"/>
              <a:gd name="connsiteX3" fmla="*/ 0 w 724566"/>
              <a:gd name="connsiteY3" fmla="*/ 724567 h 724566"/>
            </a:gdLst>
            <a:ahLst/>
            <a:cxnLst>
              <a:cxn ang="0">
                <a:pos x="connsiteX0" y="connsiteY0"/>
              </a:cxn>
              <a:cxn ang="0">
                <a:pos x="connsiteX1" y="connsiteY1"/>
              </a:cxn>
              <a:cxn ang="0">
                <a:pos x="connsiteX2" y="connsiteY2"/>
              </a:cxn>
              <a:cxn ang="0">
                <a:pos x="connsiteX3" y="connsiteY3"/>
              </a:cxn>
            </a:cxnLst>
            <a:rect l="l" t="t" r="r" b="b"/>
            <a:pathLst>
              <a:path w="724566" h="724566">
                <a:moveTo>
                  <a:pt x="0" y="0"/>
                </a:moveTo>
                <a:lnTo>
                  <a:pt x="724566" y="0"/>
                </a:lnTo>
                <a:lnTo>
                  <a:pt x="724566" y="724567"/>
                </a:lnTo>
                <a:lnTo>
                  <a:pt x="0" y="724567"/>
                </a:lnTo>
                <a:close/>
              </a:path>
            </a:pathLst>
          </a:custGeom>
          <a:solidFill>
            <a:srgbClr val="FFE40D"/>
          </a:solidFill>
          <a:ln w="9525" cap="flat">
            <a:noFill/>
            <a:prstDash val="solid"/>
            <a:miter/>
          </a:ln>
        </p:spPr>
        <p:txBody>
          <a:bodyPr rtlCol="0" anchor="ctr"/>
          <a:lstStyle/>
          <a:p>
            <a:pPr algn="ctr"/>
            <a:r>
              <a:rPr lang="pt-BR" b="1" dirty="0">
                <a:solidFill>
                  <a:schemeClr val="bg1"/>
                </a:solidFill>
                <a:latin typeface="Calibri" panose="020F0502020204030204" pitchFamily="34" charset="0"/>
                <a:ea typeface="Calibri" panose="020F0502020204030204" pitchFamily="34" charset="0"/>
                <a:cs typeface="Calibri" panose="020F0502020204030204" pitchFamily="34" charset="0"/>
              </a:rPr>
              <a:t>#FFE40D</a:t>
            </a:r>
          </a:p>
        </p:txBody>
      </p:sp>
    </p:spTree>
    <p:extLst>
      <p:ext uri="{BB962C8B-B14F-4D97-AF65-F5344CB8AC3E}">
        <p14:creationId xmlns:p14="http://schemas.microsoft.com/office/powerpoint/2010/main" val="1562655983"/>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13" Type="http://schemas.openxmlformats.org/officeDocument/2006/relationships/image" Target="../media/image178.png"/><Relationship Id="rId18" Type="http://schemas.openxmlformats.org/officeDocument/2006/relationships/image" Target="../media/image183.svg"/><Relationship Id="rId26" Type="http://schemas.openxmlformats.org/officeDocument/2006/relationships/image" Target="../media/image191.svg"/><Relationship Id="rId39" Type="http://schemas.openxmlformats.org/officeDocument/2006/relationships/image" Target="../media/image204.png"/><Relationship Id="rId21" Type="http://schemas.openxmlformats.org/officeDocument/2006/relationships/image" Target="../media/image186.png"/><Relationship Id="rId34" Type="http://schemas.openxmlformats.org/officeDocument/2006/relationships/image" Target="../media/image199.svg"/><Relationship Id="rId42" Type="http://schemas.openxmlformats.org/officeDocument/2006/relationships/image" Target="../media/image207.png"/><Relationship Id="rId7" Type="http://schemas.openxmlformats.org/officeDocument/2006/relationships/image" Target="../media/image172.png"/><Relationship Id="rId2" Type="http://schemas.openxmlformats.org/officeDocument/2006/relationships/notesSlide" Target="../notesSlides/notesSlide9.xml"/><Relationship Id="rId16" Type="http://schemas.openxmlformats.org/officeDocument/2006/relationships/image" Target="../media/image181.svg"/><Relationship Id="rId20" Type="http://schemas.openxmlformats.org/officeDocument/2006/relationships/image" Target="../media/image185.svg"/><Relationship Id="rId29" Type="http://schemas.openxmlformats.org/officeDocument/2006/relationships/image" Target="../media/image194.png"/><Relationship Id="rId41" Type="http://schemas.openxmlformats.org/officeDocument/2006/relationships/image" Target="../media/image206.jpeg"/><Relationship Id="rId1" Type="http://schemas.openxmlformats.org/officeDocument/2006/relationships/slideLayout" Target="../slideLayouts/slideLayout92.xml"/><Relationship Id="rId6" Type="http://schemas.openxmlformats.org/officeDocument/2006/relationships/image" Target="../media/image171.svg"/><Relationship Id="rId11" Type="http://schemas.openxmlformats.org/officeDocument/2006/relationships/image" Target="../media/image176.png"/><Relationship Id="rId24" Type="http://schemas.openxmlformats.org/officeDocument/2006/relationships/image" Target="../media/image189.svg"/><Relationship Id="rId32" Type="http://schemas.openxmlformats.org/officeDocument/2006/relationships/image" Target="../media/image197.svg"/><Relationship Id="rId37" Type="http://schemas.openxmlformats.org/officeDocument/2006/relationships/image" Target="../media/image202.png"/><Relationship Id="rId40" Type="http://schemas.openxmlformats.org/officeDocument/2006/relationships/image" Target="../media/image205.png"/><Relationship Id="rId5" Type="http://schemas.openxmlformats.org/officeDocument/2006/relationships/image" Target="../media/image170.png"/><Relationship Id="rId15" Type="http://schemas.openxmlformats.org/officeDocument/2006/relationships/image" Target="../media/image180.png"/><Relationship Id="rId23" Type="http://schemas.openxmlformats.org/officeDocument/2006/relationships/image" Target="../media/image188.png"/><Relationship Id="rId28" Type="http://schemas.openxmlformats.org/officeDocument/2006/relationships/image" Target="../media/image193.svg"/><Relationship Id="rId36" Type="http://schemas.openxmlformats.org/officeDocument/2006/relationships/image" Target="../media/image201.svg"/><Relationship Id="rId10" Type="http://schemas.openxmlformats.org/officeDocument/2006/relationships/image" Target="../media/image175.svg"/><Relationship Id="rId19" Type="http://schemas.openxmlformats.org/officeDocument/2006/relationships/image" Target="../media/image184.png"/><Relationship Id="rId31" Type="http://schemas.openxmlformats.org/officeDocument/2006/relationships/image" Target="../media/image196.png"/><Relationship Id="rId4" Type="http://schemas.openxmlformats.org/officeDocument/2006/relationships/image" Target="../media/image169.svg"/><Relationship Id="rId9" Type="http://schemas.openxmlformats.org/officeDocument/2006/relationships/image" Target="../media/image174.png"/><Relationship Id="rId14" Type="http://schemas.openxmlformats.org/officeDocument/2006/relationships/image" Target="../media/image179.svg"/><Relationship Id="rId22" Type="http://schemas.openxmlformats.org/officeDocument/2006/relationships/image" Target="../media/image187.svg"/><Relationship Id="rId27" Type="http://schemas.openxmlformats.org/officeDocument/2006/relationships/image" Target="../media/image192.png"/><Relationship Id="rId30" Type="http://schemas.openxmlformats.org/officeDocument/2006/relationships/image" Target="../media/image195.svg"/><Relationship Id="rId35" Type="http://schemas.openxmlformats.org/officeDocument/2006/relationships/image" Target="../media/image200.png"/><Relationship Id="rId8" Type="http://schemas.openxmlformats.org/officeDocument/2006/relationships/image" Target="../media/image173.svg"/><Relationship Id="rId3" Type="http://schemas.openxmlformats.org/officeDocument/2006/relationships/image" Target="../media/image168.png"/><Relationship Id="rId12" Type="http://schemas.openxmlformats.org/officeDocument/2006/relationships/image" Target="../media/image177.svg"/><Relationship Id="rId17" Type="http://schemas.openxmlformats.org/officeDocument/2006/relationships/image" Target="../media/image182.png"/><Relationship Id="rId25" Type="http://schemas.openxmlformats.org/officeDocument/2006/relationships/image" Target="../media/image190.png"/><Relationship Id="rId33" Type="http://schemas.openxmlformats.org/officeDocument/2006/relationships/image" Target="../media/image198.png"/><Relationship Id="rId38" Type="http://schemas.openxmlformats.org/officeDocument/2006/relationships/image" Target="../media/image203.svg"/></Relationships>
</file>

<file path=ppt/slides/_rels/slide12.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1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9.png"/><Relationship Id="rId7" Type="http://schemas.openxmlformats.org/officeDocument/2006/relationships/image" Target="../media/image213.png"/><Relationship Id="rId2" Type="http://schemas.openxmlformats.org/officeDocument/2006/relationships/notesSlide" Target="../notesSlides/notesSlide11.xml"/><Relationship Id="rId1" Type="http://schemas.openxmlformats.org/officeDocument/2006/relationships/slideLayout" Target="../slideLayouts/slideLayout92.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svg"/><Relationship Id="rId9" Type="http://schemas.openxmlformats.org/officeDocument/2006/relationships/image" Target="../media/image215.jpeg"/></Relationships>
</file>

<file path=ppt/slides/_rels/slide14.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2.xml"/><Relationship Id="rId1" Type="http://schemas.openxmlformats.org/officeDocument/2006/relationships/slideLayout" Target="../slideLayouts/slideLayout92.xml"/><Relationship Id="rId6" Type="http://schemas.openxmlformats.org/officeDocument/2006/relationships/image" Target="../media/image216.png"/><Relationship Id="rId5" Type="http://schemas.openxmlformats.org/officeDocument/2006/relationships/image" Target="../media/image213.png"/><Relationship Id="rId4" Type="http://schemas.openxmlformats.org/officeDocument/2006/relationships/image" Target="../media/image210.svg"/></Relationships>
</file>

<file path=ppt/slides/_rels/slide1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3.xml"/><Relationship Id="rId1" Type="http://schemas.openxmlformats.org/officeDocument/2006/relationships/slideLayout" Target="../slideLayouts/slideLayout92.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0.svg"/></Relationships>
</file>

<file path=ppt/slides/_rels/slide16.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xml"/><Relationship Id="rId1" Type="http://schemas.openxmlformats.org/officeDocument/2006/relationships/slideLayout" Target="../slideLayouts/slideLayout92.xml"/><Relationship Id="rId5" Type="http://schemas.openxmlformats.org/officeDocument/2006/relationships/image" Target="../media/image219.png"/><Relationship Id="rId4" Type="http://schemas.openxmlformats.org/officeDocument/2006/relationships/image" Target="../media/image210.svg"/></Relationships>
</file>

<file path=ppt/slides/_rels/slide17.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5.xml"/><Relationship Id="rId1" Type="http://schemas.openxmlformats.org/officeDocument/2006/relationships/slideLayout" Target="../slideLayouts/slideLayout92.xml"/><Relationship Id="rId5" Type="http://schemas.openxmlformats.org/officeDocument/2006/relationships/image" Target="../media/image220.jpeg"/><Relationship Id="rId4" Type="http://schemas.openxmlformats.org/officeDocument/2006/relationships/image" Target="../media/image210.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notesSlide" Target="../notesSlides/notesSlide1.xml"/><Relationship Id="rId7" Type="http://schemas.openxmlformats.org/officeDocument/2006/relationships/image" Target="../media/image113.jpeg"/><Relationship Id="rId2" Type="http://schemas.openxmlformats.org/officeDocument/2006/relationships/slideLayout" Target="../slideLayouts/slideLayout34.xml"/><Relationship Id="rId1" Type="http://schemas.openxmlformats.org/officeDocument/2006/relationships/tags" Target="../tags/tag1.xml"/><Relationship Id="rId6" Type="http://schemas.openxmlformats.org/officeDocument/2006/relationships/image" Target="../media/image112.jpeg"/><Relationship Id="rId5" Type="http://schemas.openxmlformats.org/officeDocument/2006/relationships/image" Target="../media/image11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 Id="rId9" Type="http://schemas.openxmlformats.org/officeDocument/2006/relationships/image" Target="../media/image121.png"/></Relationships>
</file>

<file path=ppt/slides/_rels/slide4.xml.rels><?xml version="1.0" encoding="UTF-8" standalone="yes"?>
<Relationships xmlns="http://schemas.openxmlformats.org/package/2006/relationships"><Relationship Id="rId8" Type="http://schemas.openxmlformats.org/officeDocument/2006/relationships/image" Target="../media/image127.jpeg"/><Relationship Id="rId13" Type="http://schemas.openxmlformats.org/officeDocument/2006/relationships/image" Target="../media/image132.png"/><Relationship Id="rId3" Type="http://schemas.openxmlformats.org/officeDocument/2006/relationships/image" Target="../media/image122.emf"/><Relationship Id="rId7" Type="http://schemas.openxmlformats.org/officeDocument/2006/relationships/image" Target="../media/image126.jpeg"/><Relationship Id="rId12" Type="http://schemas.openxmlformats.org/officeDocument/2006/relationships/image" Target="../media/image131.png"/><Relationship Id="rId2" Type="http://schemas.openxmlformats.org/officeDocument/2006/relationships/notesSlide" Target="../notesSlides/notesSlide3.xml"/><Relationship Id="rId16" Type="http://schemas.openxmlformats.org/officeDocument/2006/relationships/image" Target="../media/image135.png"/><Relationship Id="rId1" Type="http://schemas.openxmlformats.org/officeDocument/2006/relationships/slideLayout" Target="../slideLayouts/slideLayout38.xml"/><Relationship Id="rId6" Type="http://schemas.openxmlformats.org/officeDocument/2006/relationships/image" Target="../media/image125.png"/><Relationship Id="rId11" Type="http://schemas.openxmlformats.org/officeDocument/2006/relationships/image" Target="../media/image130.jpe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png"/><Relationship Id="rId4" Type="http://schemas.openxmlformats.org/officeDocument/2006/relationships/image" Target="../media/image123.png"/><Relationship Id="rId9" Type="http://schemas.openxmlformats.org/officeDocument/2006/relationships/image" Target="../media/image128.jpeg"/><Relationship Id="rId14" Type="http://schemas.openxmlformats.org/officeDocument/2006/relationships/image" Target="../media/image133.png"/></Relationships>
</file>

<file path=ppt/slides/_rels/slide5.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3" Type="http://schemas.openxmlformats.org/officeDocument/2006/relationships/image" Target="../media/image136.png"/><Relationship Id="rId7" Type="http://schemas.openxmlformats.org/officeDocument/2006/relationships/image" Target="../media/image140.png"/><Relationship Id="rId12" Type="http://schemas.openxmlformats.org/officeDocument/2006/relationships/image" Target="../media/image145.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png"/><Relationship Id="rId4" Type="http://schemas.openxmlformats.org/officeDocument/2006/relationships/image" Target="../media/image137.png"/><Relationship Id="rId9" Type="http://schemas.openxmlformats.org/officeDocument/2006/relationships/image" Target="../media/image142.png"/><Relationship Id="rId14" Type="http://schemas.openxmlformats.org/officeDocument/2006/relationships/image" Target="../media/image147.png"/></Relationships>
</file>

<file path=ppt/slides/_rels/slide6.xml.rels><?xml version="1.0" encoding="UTF-8" standalone="yes"?>
<Relationships xmlns="http://schemas.openxmlformats.org/package/2006/relationships"><Relationship Id="rId8" Type="http://schemas.openxmlformats.org/officeDocument/2006/relationships/hyperlink" Target="https://www.sustainalytics.com/esg-rating/atento-sa/1270802233" TargetMode="External"/><Relationship Id="rId13" Type="http://schemas.openxmlformats.org/officeDocument/2006/relationships/image" Target="../media/image157.svg"/><Relationship Id="rId18" Type="http://schemas.openxmlformats.org/officeDocument/2006/relationships/hyperlink" Target="https://atentolive.com/video/131338700" TargetMode="External"/><Relationship Id="rId3" Type="http://schemas.openxmlformats.org/officeDocument/2006/relationships/notesSlide" Target="../notesSlides/notesSlide5.xml"/><Relationship Id="rId7" Type="http://schemas.openxmlformats.org/officeDocument/2006/relationships/image" Target="../media/image152.png"/><Relationship Id="rId12" Type="http://schemas.openxmlformats.org/officeDocument/2006/relationships/image" Target="../media/image156.png"/><Relationship Id="rId17" Type="http://schemas.openxmlformats.org/officeDocument/2006/relationships/image" Target="../media/image161.svg"/><Relationship Id="rId2" Type="http://schemas.openxmlformats.org/officeDocument/2006/relationships/slideLayout" Target="../slideLayouts/slideLayout38.xml"/><Relationship Id="rId16" Type="http://schemas.openxmlformats.org/officeDocument/2006/relationships/image" Target="../media/image160.png"/><Relationship Id="rId1" Type="http://schemas.openxmlformats.org/officeDocument/2006/relationships/tags" Target="../tags/tag2.xml"/><Relationship Id="rId6" Type="http://schemas.openxmlformats.org/officeDocument/2006/relationships/image" Target="../media/image151.jpeg"/><Relationship Id="rId11" Type="http://schemas.openxmlformats.org/officeDocument/2006/relationships/image" Target="../media/image155.png"/><Relationship Id="rId5" Type="http://schemas.openxmlformats.org/officeDocument/2006/relationships/image" Target="../media/image150.png"/><Relationship Id="rId15" Type="http://schemas.openxmlformats.org/officeDocument/2006/relationships/image" Target="../media/image159.svg"/><Relationship Id="rId10" Type="http://schemas.openxmlformats.org/officeDocument/2006/relationships/image" Target="../media/image154.png"/><Relationship Id="rId19" Type="http://schemas.openxmlformats.org/officeDocument/2006/relationships/image" Target="../media/image162.png"/><Relationship Id="rId4" Type="http://schemas.openxmlformats.org/officeDocument/2006/relationships/image" Target="../media/image149.png"/><Relationship Id="rId9" Type="http://schemas.openxmlformats.org/officeDocument/2006/relationships/image" Target="../media/image153.png"/><Relationship Id="rId14" Type="http://schemas.openxmlformats.org/officeDocument/2006/relationships/image" Target="../media/image158.png"/></Relationships>
</file>

<file path=ppt/slides/_rels/slide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6.xml"/><Relationship Id="rId1" Type="http://schemas.openxmlformats.org/officeDocument/2006/relationships/slideLayout" Target="../slideLayouts/slideLayout38.xml"/><Relationship Id="rId5" Type="http://schemas.openxmlformats.org/officeDocument/2006/relationships/image" Target="../media/image164.jpg"/><Relationship Id="rId4" Type="http://schemas.openxmlformats.org/officeDocument/2006/relationships/hyperlink" Target="mailto:maisa.lima@atento.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7.xml"/><Relationship Id="rId1" Type="http://schemas.openxmlformats.org/officeDocument/2006/relationships/slideLayout" Target="../slideLayouts/slideLayout38.xml"/><Relationship Id="rId5" Type="http://schemas.openxmlformats.org/officeDocument/2006/relationships/image" Target="../media/image167.png"/><Relationship Id="rId4" Type="http://schemas.openxmlformats.org/officeDocument/2006/relationships/image" Target="../media/image16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1C853692-8C22-5B91-67C1-38E55AB2ABF1}"/>
              </a:ext>
            </a:extLst>
          </p:cNvPr>
          <p:cNvSpPr txBox="1"/>
          <p:nvPr/>
        </p:nvSpPr>
        <p:spPr>
          <a:xfrm>
            <a:off x="699604" y="1784563"/>
            <a:ext cx="5621683"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4800" b="1" i="0" u="none" strike="noStrike" kern="1200" cap="none" spc="0" normalizeH="0" baseline="0" noProof="0" dirty="0">
                <a:ln>
                  <a:noFill/>
                </a:ln>
                <a:solidFill>
                  <a:srgbClr val="00B2A9"/>
                </a:solidFill>
                <a:effectLst/>
                <a:uLnTx/>
                <a:uFillTx/>
                <a:latin typeface="Omnes" panose="02000606040000020004" pitchFamily="50" charset="0"/>
                <a:ea typeface="+mn-ea"/>
                <a:cs typeface="+mn-cs"/>
              </a:rPr>
              <a:t>Case Ate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4800" b="1" i="0" u="none" strike="noStrike" kern="1200" cap="none" spc="0" normalizeH="0" baseline="0" noProof="0" dirty="0">
                <a:ln>
                  <a:noFill/>
                </a:ln>
                <a:solidFill>
                  <a:srgbClr val="00B2A9"/>
                </a:solidFill>
                <a:effectLst/>
                <a:uLnTx/>
                <a:uFillTx/>
                <a:latin typeface="Omnes" panose="02000606040000020004" pitchFamily="50" charset="0"/>
                <a:ea typeface="+mn-ea"/>
                <a:cs typeface="+mn-cs"/>
              </a:rPr>
              <a:t>EDBI 2024</a:t>
            </a:r>
            <a:endParaRPr kumimoji="0" lang="pt-BR" sz="3200" b="1" i="0" u="none" strike="noStrike" kern="1200" cap="none" spc="0" normalizeH="0" baseline="0" noProof="0" dirty="0">
              <a:ln>
                <a:noFill/>
              </a:ln>
              <a:solidFill>
                <a:srgbClr val="00B2A9"/>
              </a:solidFill>
              <a:effectLst/>
              <a:uLnTx/>
              <a:uFillTx/>
              <a:latin typeface="Omnes" panose="02000606040000020004" pitchFamily="50" charset="0"/>
              <a:ea typeface="+mn-ea"/>
              <a:cs typeface="+mn-cs"/>
            </a:endParaRPr>
          </a:p>
        </p:txBody>
      </p:sp>
    </p:spTree>
    <p:extLst>
      <p:ext uri="{BB962C8B-B14F-4D97-AF65-F5344CB8AC3E}">
        <p14:creationId xmlns:p14="http://schemas.microsoft.com/office/powerpoint/2010/main" val="165109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292"/>
        <p:cNvGrpSpPr/>
        <p:nvPr/>
      </p:nvGrpSpPr>
      <p:grpSpPr>
        <a:xfrm>
          <a:off x="0" y="0"/>
          <a:ext cx="0" cy="0"/>
          <a:chOff x="0" y="0"/>
          <a:chExt cx="0" cy="0"/>
        </a:xfrm>
      </p:grpSpPr>
      <p:sp>
        <p:nvSpPr>
          <p:cNvPr id="3" name="Google Shape;3230;p3">
            <a:extLst>
              <a:ext uri="{FF2B5EF4-FFF2-40B4-BE49-F238E27FC236}">
                <a16:creationId xmlns:a16="http://schemas.microsoft.com/office/drawing/2014/main" id="{9ABF75B7-3BFA-5170-C13B-EFC8BA403289}"/>
              </a:ext>
            </a:extLst>
          </p:cNvPr>
          <p:cNvSpPr txBox="1"/>
          <p:nvPr/>
        </p:nvSpPr>
        <p:spPr>
          <a:xfrm>
            <a:off x="6096000" y="2267163"/>
            <a:ext cx="5613984" cy="2323673"/>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ts val="5800"/>
              </a:lnSpc>
              <a:spcBef>
                <a:spcPts val="0"/>
              </a:spcBef>
              <a:spcAft>
                <a:spcPts val="0"/>
              </a:spcAft>
              <a:buClr>
                <a:srgbClr val="000000"/>
              </a:buClr>
              <a:buSzTx/>
              <a:buFont typeface="Arial"/>
              <a:buNone/>
              <a:tabLst/>
              <a:defRPr/>
            </a:pPr>
            <a:r>
              <a:rPr kumimoji="0" lang="pt-BR" sz="5800" b="1" i="0" u="none" strike="noStrike" kern="0" cap="none" spc="0" normalizeH="0" baseline="0" noProof="0" dirty="0">
                <a:ln>
                  <a:noFill/>
                </a:ln>
                <a:solidFill>
                  <a:schemeClr val="bg1"/>
                </a:solidFill>
                <a:effectLst/>
                <a:uLnTx/>
                <a:uFillTx/>
                <a:latin typeface="Omnes" panose="02000606040000020004" pitchFamily="50" charset="0"/>
                <a:ea typeface="Omnes SemiBold" charset="0"/>
                <a:cs typeface="Calibri" panose="020F0502020204030204" pitchFamily="34" charset="0"/>
                <a:sym typeface="Arial"/>
              </a:rPr>
              <a:t>Controle de documentos de requisitos legais</a:t>
            </a:r>
          </a:p>
        </p:txBody>
      </p:sp>
    </p:spTree>
    <p:extLst>
      <p:ext uri="{BB962C8B-B14F-4D97-AF65-F5344CB8AC3E}">
        <p14:creationId xmlns:p14="http://schemas.microsoft.com/office/powerpoint/2010/main" val="57574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en-US" sz="2800" dirty="0" err="1">
                <a:latin typeface="Omnes" panose="02000606040000020004" pitchFamily="50" charset="0"/>
              </a:rPr>
              <a:t>Situação</a:t>
            </a:r>
            <a:r>
              <a:rPr lang="en-US" sz="2800" dirty="0">
                <a:latin typeface="Omnes" panose="02000606040000020004" pitchFamily="50" charset="0"/>
              </a:rPr>
              <a:t> </a:t>
            </a:r>
            <a:r>
              <a:rPr lang="en-US" sz="2800" dirty="0" err="1">
                <a:latin typeface="Omnes" panose="02000606040000020004" pitchFamily="50" charset="0"/>
              </a:rPr>
              <a:t>Atual</a:t>
            </a:r>
            <a:endParaRPr lang="en-US" sz="2800" dirty="0">
              <a:latin typeface="Omnes" panose="02000606040000020004" pitchFamily="50" charset="0"/>
            </a:endParaRPr>
          </a:p>
        </p:txBody>
      </p:sp>
      <p:sp>
        <p:nvSpPr>
          <p:cNvPr id="5" name="TextBox 27">
            <a:extLst>
              <a:ext uri="{FF2B5EF4-FFF2-40B4-BE49-F238E27FC236}">
                <a16:creationId xmlns:a16="http://schemas.microsoft.com/office/drawing/2014/main" id="{67A2353C-34E8-2EA2-447C-6C72A2504C80}"/>
              </a:ext>
            </a:extLst>
          </p:cNvPr>
          <p:cNvSpPr txBox="1"/>
          <p:nvPr/>
        </p:nvSpPr>
        <p:spPr>
          <a:xfrm>
            <a:off x="4998270" y="1028039"/>
            <a:ext cx="5500996" cy="397994"/>
          </a:xfrm>
          <a:prstGeom prst="rect">
            <a:avLst/>
          </a:prstGeom>
          <a:noFill/>
        </p:spPr>
        <p:txBody>
          <a:bodyPr wrap="square"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br>
              <a:rPr kumimoji="0" lang="en-US" sz="6000" b="1" i="0" u="none" strike="noStrike" kern="1200" cap="none" spc="0" normalizeH="0" baseline="0" dirty="0">
                <a:ln>
                  <a:noFill/>
                </a:ln>
                <a:solidFill>
                  <a:srgbClr val="FF7900"/>
                </a:solidFill>
                <a:effectLst/>
                <a:uLnTx/>
                <a:uFillTx/>
                <a:latin typeface="+mn-lt"/>
                <a:ea typeface="+mn-ea"/>
                <a:cs typeface="Calibri" panose="020F0502020204030204" pitchFamily="34" charset="0"/>
                <a:sym typeface="Arial"/>
              </a:rPr>
            </a:br>
            <a:r>
              <a:rPr kumimoji="0" lang="pt" sz="24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rPr>
              <a:t>94 centros de prestação de serviços</a:t>
            </a:r>
          </a:p>
        </p:txBody>
      </p:sp>
      <p:sp>
        <p:nvSpPr>
          <p:cNvPr id="6" name="TextBox 27">
            <a:extLst>
              <a:ext uri="{FF2B5EF4-FFF2-40B4-BE49-F238E27FC236}">
                <a16:creationId xmlns:a16="http://schemas.microsoft.com/office/drawing/2014/main" id="{5E74A2B3-CD55-EBCD-A43E-BBD0B2096D92}"/>
              </a:ext>
            </a:extLst>
          </p:cNvPr>
          <p:cNvSpPr txBox="1"/>
          <p:nvPr/>
        </p:nvSpPr>
        <p:spPr>
          <a:xfrm>
            <a:off x="1631951" y="1681248"/>
            <a:ext cx="900954" cy="364139"/>
          </a:xfrm>
          <a:prstGeom prst="rect">
            <a:avLst/>
          </a:prstGeom>
          <a:noFill/>
        </p:spPr>
        <p:txBody>
          <a:bodyPr wrap="square"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pt" sz="2400" b="1" i="0" u="none" strike="noStrike" kern="1200" cap="none" spc="0" normalizeH="0" baseline="0" dirty="0">
                <a:ln>
                  <a:noFill/>
                </a:ln>
                <a:solidFill>
                  <a:srgbClr val="01426A"/>
                </a:solidFill>
                <a:effectLst/>
                <a:uLnTx/>
                <a:uFillTx/>
                <a:latin typeface="+mn-lt"/>
                <a:ea typeface="+mn-ea"/>
                <a:cs typeface="Calibri" panose="020F0502020204030204" pitchFamily="34" charset="0"/>
                <a:sym typeface="Arial"/>
              </a:rPr>
              <a:t>17</a:t>
            </a:r>
            <a:endParaRPr kumimoji="0" lang="en-US" sz="1000" b="1" i="0" u="none" strike="noStrike" kern="1200" cap="none" spc="0" normalizeH="0" baseline="0" dirty="0">
              <a:ln>
                <a:noFill/>
              </a:ln>
              <a:solidFill>
                <a:srgbClr val="01426A"/>
              </a:solidFill>
              <a:effectLst/>
              <a:uLnTx/>
              <a:uFillTx/>
              <a:latin typeface="+mn-lt"/>
              <a:ea typeface="+mn-ea"/>
              <a:cs typeface="Calibri" panose="020F0502020204030204" pitchFamily="34" charset="0"/>
              <a:sym typeface="Arial"/>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0" lang="pt"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rPr>
              <a:t>Países</a:t>
            </a:r>
            <a:endParaRPr kumimoji="0" lang="pt" sz="10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endParaRPr>
          </a:p>
        </p:txBody>
      </p:sp>
      <p:sp>
        <p:nvSpPr>
          <p:cNvPr id="7" name="TextBox 27">
            <a:extLst>
              <a:ext uri="{FF2B5EF4-FFF2-40B4-BE49-F238E27FC236}">
                <a16:creationId xmlns:a16="http://schemas.microsoft.com/office/drawing/2014/main" id="{168352DC-3D7C-970A-B0F5-25E7F1FDC1D1}"/>
              </a:ext>
            </a:extLst>
          </p:cNvPr>
          <p:cNvSpPr txBox="1"/>
          <p:nvPr/>
        </p:nvSpPr>
        <p:spPr>
          <a:xfrm>
            <a:off x="1631951" y="3940040"/>
            <a:ext cx="1392703" cy="350609"/>
          </a:xfrm>
          <a:prstGeom prst="rect">
            <a:avLst/>
          </a:prstGeom>
          <a:noFill/>
        </p:spPr>
        <p:txBody>
          <a:bodyPr wrap="square"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pt" sz="2400" b="1" i="0" u="none" strike="noStrike" kern="1200" cap="none" spc="0" normalizeH="0" baseline="0" dirty="0">
                <a:ln>
                  <a:noFill/>
                </a:ln>
                <a:solidFill>
                  <a:srgbClr val="01426A"/>
                </a:solidFill>
                <a:effectLst/>
                <a:uLnTx/>
                <a:uFillTx/>
                <a:latin typeface="+mn-lt"/>
                <a:ea typeface="+mn-ea"/>
                <a:cs typeface="Calibri" panose="020F0502020204030204" pitchFamily="34" charset="0"/>
                <a:sym typeface="Arial"/>
              </a:rPr>
              <a:t>+125</a:t>
            </a:r>
          </a:p>
          <a:p>
            <a:pPr marL="0" marR="0" lvl="0" indent="0" algn="l" defTabSz="914400" rtl="0" eaLnBrk="1" fontAlgn="auto" latinLnBrk="0" hangingPunct="1">
              <a:lnSpc>
                <a:spcPts val="1000"/>
              </a:lnSpc>
              <a:spcBef>
                <a:spcPts val="0"/>
              </a:spcBef>
              <a:spcAft>
                <a:spcPts val="0"/>
              </a:spcAft>
              <a:buClrTx/>
              <a:buSzTx/>
              <a:buFontTx/>
              <a:buNone/>
              <a:tabLst/>
              <a:defRPr/>
            </a:pPr>
            <a:r>
              <a:rPr kumimoji="0" lang="pt" sz="1100" b="1" i="0" u="none" strike="noStrike" kern="0" cap="none" spc="0" normalizeH="0" baseline="0" dirty="0">
                <a:ln>
                  <a:noFill/>
                </a:ln>
                <a:solidFill>
                  <a:srgbClr val="7F7F7F"/>
                </a:solidFill>
                <a:effectLst/>
                <a:uLnTx/>
                <a:uFillTx/>
                <a:latin typeface="+mn-lt"/>
                <a:cs typeface="Calibri" panose="020F0502020204030204" pitchFamily="34" charset="0"/>
                <a:sym typeface="Arial"/>
              </a:rPr>
              <a:t>Tipo de documento </a:t>
            </a:r>
            <a:endParaRPr kumimoji="0" lang="en-US" sz="11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endParaRPr>
          </a:p>
        </p:txBody>
      </p:sp>
      <p:sp>
        <p:nvSpPr>
          <p:cNvPr id="8" name="TextBox 27">
            <a:extLst>
              <a:ext uri="{FF2B5EF4-FFF2-40B4-BE49-F238E27FC236}">
                <a16:creationId xmlns:a16="http://schemas.microsoft.com/office/drawing/2014/main" id="{55331BF9-AC93-211A-15B7-7AFE35E9C8FC}"/>
              </a:ext>
            </a:extLst>
          </p:cNvPr>
          <p:cNvSpPr txBox="1"/>
          <p:nvPr/>
        </p:nvSpPr>
        <p:spPr>
          <a:xfrm>
            <a:off x="1597106" y="3152829"/>
            <a:ext cx="1392703" cy="357406"/>
          </a:xfrm>
          <a:prstGeom prst="rect">
            <a:avLst/>
          </a:prstGeom>
          <a:noFill/>
        </p:spPr>
        <p:txBody>
          <a:bodyPr wrap="square"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pt" sz="2400" b="1" i="0" u="none" strike="noStrike" kern="1200" cap="none" spc="0" normalizeH="0" baseline="0" dirty="0">
                <a:ln>
                  <a:noFill/>
                </a:ln>
                <a:solidFill>
                  <a:srgbClr val="01426A"/>
                </a:solidFill>
                <a:effectLst/>
                <a:uLnTx/>
                <a:uFillTx/>
                <a:latin typeface="+mn-lt"/>
                <a:ea typeface="+mn-ea"/>
                <a:cs typeface="Calibri" panose="020F0502020204030204" pitchFamily="34" charset="0"/>
                <a:sym typeface="Arial"/>
              </a:rPr>
              <a:t>+121k</a:t>
            </a:r>
          </a:p>
          <a:p>
            <a:pPr marL="0" marR="0" lvl="0" indent="0" algn="l" defTabSz="914400" rtl="0" eaLnBrk="1" fontAlgn="auto" latinLnBrk="0" hangingPunct="1">
              <a:lnSpc>
                <a:spcPts val="1000"/>
              </a:lnSpc>
              <a:spcBef>
                <a:spcPts val="0"/>
              </a:spcBef>
              <a:spcAft>
                <a:spcPts val="0"/>
              </a:spcAft>
              <a:buClrTx/>
              <a:buSzTx/>
              <a:buFontTx/>
              <a:buNone/>
              <a:tabLst/>
              <a:defRPr/>
            </a:pPr>
            <a:r>
              <a:rPr kumimoji="0" lang="pt" sz="12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rPr>
              <a:t>Colaboradores</a:t>
            </a:r>
            <a:endParaRPr kumimoji="0" lang="pt" sz="10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endParaRPr>
          </a:p>
        </p:txBody>
      </p:sp>
      <p:sp>
        <p:nvSpPr>
          <p:cNvPr id="10" name="Oval 13">
            <a:extLst>
              <a:ext uri="{FF2B5EF4-FFF2-40B4-BE49-F238E27FC236}">
                <a16:creationId xmlns:a16="http://schemas.microsoft.com/office/drawing/2014/main" id="{007E8323-E412-C623-E2B7-1ABC180662F2}"/>
              </a:ext>
            </a:extLst>
          </p:cNvPr>
          <p:cNvSpPr/>
          <p:nvPr/>
        </p:nvSpPr>
        <p:spPr>
          <a:xfrm>
            <a:off x="934952" y="1481185"/>
            <a:ext cx="521208" cy="520401"/>
          </a:xfrm>
          <a:prstGeom prst="ellipse">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a:ln>
                <a:noFill/>
              </a:ln>
              <a:solidFill>
                <a:srgbClr val="FFFFFF"/>
              </a:solidFill>
              <a:effectLst/>
              <a:uLnTx/>
              <a:uFillTx/>
              <a:ea typeface="+mn-ea"/>
              <a:cs typeface="+mn-cs"/>
              <a:sym typeface="Arial"/>
            </a:endParaRPr>
          </a:p>
        </p:txBody>
      </p:sp>
      <p:sp>
        <p:nvSpPr>
          <p:cNvPr id="11" name="Oval 14">
            <a:extLst>
              <a:ext uri="{FF2B5EF4-FFF2-40B4-BE49-F238E27FC236}">
                <a16:creationId xmlns:a16="http://schemas.microsoft.com/office/drawing/2014/main" id="{8C284E07-239F-3DF6-F61D-98CDD045769D}"/>
              </a:ext>
            </a:extLst>
          </p:cNvPr>
          <p:cNvSpPr/>
          <p:nvPr/>
        </p:nvSpPr>
        <p:spPr>
          <a:xfrm>
            <a:off x="949020" y="2948616"/>
            <a:ext cx="521208" cy="520401"/>
          </a:xfrm>
          <a:prstGeom prst="ellipse">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a:ln>
                <a:noFill/>
              </a:ln>
              <a:solidFill>
                <a:srgbClr val="FFFFFF"/>
              </a:solidFill>
              <a:effectLst/>
              <a:uLnTx/>
              <a:uFillTx/>
              <a:ea typeface="+mn-ea"/>
              <a:cs typeface="+mn-cs"/>
              <a:sym typeface="Arial"/>
            </a:endParaRPr>
          </a:p>
        </p:txBody>
      </p:sp>
      <p:sp>
        <p:nvSpPr>
          <p:cNvPr id="15" name="TextBox 27">
            <a:extLst>
              <a:ext uri="{FF2B5EF4-FFF2-40B4-BE49-F238E27FC236}">
                <a16:creationId xmlns:a16="http://schemas.microsoft.com/office/drawing/2014/main" id="{B7786B00-CA12-F3FA-30FC-13A3C95A17F9}"/>
              </a:ext>
            </a:extLst>
          </p:cNvPr>
          <p:cNvSpPr txBox="1"/>
          <p:nvPr/>
        </p:nvSpPr>
        <p:spPr>
          <a:xfrm>
            <a:off x="1631951" y="2400325"/>
            <a:ext cx="1392703" cy="364139"/>
          </a:xfrm>
          <a:prstGeom prst="rect">
            <a:avLst/>
          </a:prstGeom>
          <a:noFill/>
        </p:spPr>
        <p:txBody>
          <a:bodyPr wrap="square"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pt" sz="2400" b="1" i="0" u="none" strike="noStrike" kern="1200" cap="none" spc="0" normalizeH="0" baseline="0" dirty="0">
                <a:ln>
                  <a:noFill/>
                </a:ln>
                <a:solidFill>
                  <a:srgbClr val="01426A"/>
                </a:solidFill>
                <a:effectLst/>
                <a:uLnTx/>
                <a:uFillTx/>
                <a:latin typeface="+mn-lt"/>
                <a:ea typeface="+mn-ea"/>
                <a:cs typeface="Calibri" panose="020F0502020204030204" pitchFamily="34" charset="0"/>
                <a:sym typeface="Arial"/>
              </a:rPr>
              <a:t>31</a:t>
            </a:r>
          </a:p>
          <a:p>
            <a:pPr marL="0" marR="0" lvl="0" indent="0" algn="l" defTabSz="914400" rtl="0" eaLnBrk="1" fontAlgn="auto" latinLnBrk="0" hangingPunct="1">
              <a:lnSpc>
                <a:spcPts val="1000"/>
              </a:lnSpc>
              <a:spcBef>
                <a:spcPts val="0"/>
              </a:spcBef>
              <a:spcAft>
                <a:spcPts val="0"/>
              </a:spcAft>
              <a:buClrTx/>
              <a:buSzTx/>
              <a:buFontTx/>
              <a:buNone/>
              <a:tabLst/>
              <a:defRPr/>
            </a:pPr>
            <a:r>
              <a:rPr kumimoji="0" lang="pt"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rPr>
              <a:t>Idiomas</a:t>
            </a:r>
            <a:endParaRPr kumimoji="0" lang="pt" sz="10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endParaRPr>
          </a:p>
        </p:txBody>
      </p:sp>
      <p:sp>
        <p:nvSpPr>
          <p:cNvPr id="16" name="Oval 58">
            <a:extLst>
              <a:ext uri="{FF2B5EF4-FFF2-40B4-BE49-F238E27FC236}">
                <a16:creationId xmlns:a16="http://schemas.microsoft.com/office/drawing/2014/main" id="{43F652ED-DE1E-45EC-E212-84C7262A84AD}"/>
              </a:ext>
            </a:extLst>
          </p:cNvPr>
          <p:cNvSpPr/>
          <p:nvPr/>
        </p:nvSpPr>
        <p:spPr>
          <a:xfrm>
            <a:off x="949020" y="2211483"/>
            <a:ext cx="521208" cy="520401"/>
          </a:xfrm>
          <a:prstGeom prst="ellipse">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a:ln>
                <a:noFill/>
              </a:ln>
              <a:solidFill>
                <a:srgbClr val="FFFFFF"/>
              </a:solidFill>
              <a:effectLst/>
              <a:uLnTx/>
              <a:uFillTx/>
              <a:ea typeface="+mn-ea"/>
              <a:cs typeface="+mn-cs"/>
              <a:sym typeface="Arial"/>
            </a:endParaRPr>
          </a:p>
        </p:txBody>
      </p:sp>
      <p:sp>
        <p:nvSpPr>
          <p:cNvPr id="31" name="Retângulo: Cantos Diagonais Arredondados 30">
            <a:extLst>
              <a:ext uri="{FF2B5EF4-FFF2-40B4-BE49-F238E27FC236}">
                <a16:creationId xmlns:a16="http://schemas.microsoft.com/office/drawing/2014/main" id="{71B90238-70FD-BC1F-178D-A75092BC8037}"/>
              </a:ext>
            </a:extLst>
          </p:cNvPr>
          <p:cNvSpPr/>
          <p:nvPr/>
        </p:nvSpPr>
        <p:spPr>
          <a:xfrm rot="16200000">
            <a:off x="5531679" y="-911292"/>
            <a:ext cx="3770720" cy="8680584"/>
          </a:xfrm>
          <a:prstGeom prst="round2DiagRect">
            <a:avLst>
              <a:gd name="adj1" fmla="val 5618"/>
              <a:gd name="adj2" fmla="val 0"/>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pic>
        <p:nvPicPr>
          <p:cNvPr id="32" name="Gráfico 31">
            <a:extLst>
              <a:ext uri="{FF2B5EF4-FFF2-40B4-BE49-F238E27FC236}">
                <a16:creationId xmlns:a16="http://schemas.microsoft.com/office/drawing/2014/main" id="{FC10C91A-E58D-BFC6-FD0E-CEBD71D29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9020" y="1238785"/>
            <a:ext cx="317262" cy="287046"/>
          </a:xfrm>
          <a:prstGeom prst="rect">
            <a:avLst/>
          </a:prstGeom>
        </p:spPr>
      </p:pic>
      <p:pic>
        <p:nvPicPr>
          <p:cNvPr id="34" name="Gráfico 33">
            <a:extLst>
              <a:ext uri="{FF2B5EF4-FFF2-40B4-BE49-F238E27FC236}">
                <a16:creationId xmlns:a16="http://schemas.microsoft.com/office/drawing/2014/main" id="{4FFD7A58-5563-D99E-81BD-406C9056D9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9360" y="1562172"/>
            <a:ext cx="302154" cy="302154"/>
          </a:xfrm>
          <a:prstGeom prst="rect">
            <a:avLst/>
          </a:prstGeom>
        </p:spPr>
      </p:pic>
      <p:pic>
        <p:nvPicPr>
          <p:cNvPr id="39" name="Gráfico 38">
            <a:extLst>
              <a:ext uri="{FF2B5EF4-FFF2-40B4-BE49-F238E27FC236}">
                <a16:creationId xmlns:a16="http://schemas.microsoft.com/office/drawing/2014/main" id="{C6AC615C-E07D-1473-D39D-B680371D48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3428" y="2313052"/>
            <a:ext cx="271938" cy="317262"/>
          </a:xfrm>
          <a:prstGeom prst="rect">
            <a:avLst/>
          </a:prstGeom>
        </p:spPr>
      </p:pic>
      <p:pic>
        <p:nvPicPr>
          <p:cNvPr id="40" name="Gráfico 39">
            <a:extLst>
              <a:ext uri="{FF2B5EF4-FFF2-40B4-BE49-F238E27FC236}">
                <a16:creationId xmlns:a16="http://schemas.microsoft.com/office/drawing/2014/main" id="{48D9FD2C-4AF8-6423-746E-CA29924859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9360" y="3050185"/>
            <a:ext cx="317262" cy="317262"/>
          </a:xfrm>
          <a:prstGeom prst="rect">
            <a:avLst/>
          </a:prstGeom>
        </p:spPr>
      </p:pic>
      <p:sp>
        <p:nvSpPr>
          <p:cNvPr id="42" name="TextBox 45">
            <a:extLst>
              <a:ext uri="{FF2B5EF4-FFF2-40B4-BE49-F238E27FC236}">
                <a16:creationId xmlns:a16="http://schemas.microsoft.com/office/drawing/2014/main" id="{EFCEF786-5669-2A6F-F6FD-FFE46EBE99C9}"/>
              </a:ext>
            </a:extLst>
          </p:cNvPr>
          <p:cNvSpPr txBox="1"/>
          <p:nvPr/>
        </p:nvSpPr>
        <p:spPr>
          <a:xfrm>
            <a:off x="8758060" y="4333948"/>
            <a:ext cx="881886"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Marrocos</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2 </a:t>
            </a:r>
            <a:r>
              <a:rPr lang="pt" sz="1200" spc="-85">
                <a:latin typeface="+mn-lt"/>
                <a:ea typeface="Calibri"/>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43" name="Gráfico 42">
            <a:hlinkClick r:id="" action="ppaction://noaction"/>
            <a:extLst>
              <a:ext uri="{FF2B5EF4-FFF2-40B4-BE49-F238E27FC236}">
                <a16:creationId xmlns:a16="http://schemas.microsoft.com/office/drawing/2014/main" id="{E2A3720D-4993-7110-F993-AA5CC0DFE21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94203" y="3773650"/>
            <a:ext cx="609600" cy="352425"/>
          </a:xfrm>
          <a:prstGeom prst="rect">
            <a:avLst/>
          </a:prstGeom>
        </p:spPr>
      </p:pic>
      <p:sp>
        <p:nvSpPr>
          <p:cNvPr id="44" name="TextBox 44">
            <a:extLst>
              <a:ext uri="{FF2B5EF4-FFF2-40B4-BE49-F238E27FC236}">
                <a16:creationId xmlns:a16="http://schemas.microsoft.com/office/drawing/2014/main" id="{ED0885C9-1A4E-3024-82A4-0F2DF1E19C6D}"/>
              </a:ext>
            </a:extLst>
          </p:cNvPr>
          <p:cNvSpPr txBox="1"/>
          <p:nvPr/>
        </p:nvSpPr>
        <p:spPr>
          <a:xfrm>
            <a:off x="7636544" y="4356611"/>
            <a:ext cx="102945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Espanha</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16 </a:t>
            </a:r>
            <a:r>
              <a:rPr lang="pt" sz="1200" spc="-85">
                <a:latin typeface="+mn-lt"/>
                <a:ea typeface="Calibri"/>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45" name="Gráfico 44">
            <a:hlinkClick r:id="" action="ppaction://noaction"/>
            <a:extLst>
              <a:ext uri="{FF2B5EF4-FFF2-40B4-BE49-F238E27FC236}">
                <a16:creationId xmlns:a16="http://schemas.microsoft.com/office/drawing/2014/main" id="{FFDB124A-A88A-E742-992F-90EBC1A0D52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6471" y="3796313"/>
            <a:ext cx="609600" cy="352425"/>
          </a:xfrm>
          <a:prstGeom prst="rect">
            <a:avLst/>
          </a:prstGeom>
        </p:spPr>
      </p:pic>
      <p:sp>
        <p:nvSpPr>
          <p:cNvPr id="46" name="TextBox 41">
            <a:extLst>
              <a:ext uri="{FF2B5EF4-FFF2-40B4-BE49-F238E27FC236}">
                <a16:creationId xmlns:a16="http://schemas.microsoft.com/office/drawing/2014/main" id="{FF54FF22-168D-6463-676B-81F5A88AADAD}"/>
              </a:ext>
            </a:extLst>
          </p:cNvPr>
          <p:cNvSpPr txBox="1"/>
          <p:nvPr/>
        </p:nvSpPr>
        <p:spPr>
          <a:xfrm>
            <a:off x="6722723" y="4356611"/>
            <a:ext cx="102945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Chile</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3 </a:t>
            </a:r>
            <a:r>
              <a:rPr lang="pt" sz="1200" spc="-85">
                <a:latin typeface="+mn-lt"/>
                <a:ea typeface="Calibri"/>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47" name="Gráfico 46">
            <a:hlinkClick r:id="" action="ppaction://noaction"/>
            <a:extLst>
              <a:ext uri="{FF2B5EF4-FFF2-40B4-BE49-F238E27FC236}">
                <a16:creationId xmlns:a16="http://schemas.microsoft.com/office/drawing/2014/main" id="{6F4A87EC-C5BF-D8DD-B929-3B8E597190E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932650" y="3796313"/>
            <a:ext cx="609600" cy="352425"/>
          </a:xfrm>
          <a:prstGeom prst="rect">
            <a:avLst/>
          </a:prstGeom>
        </p:spPr>
      </p:pic>
      <p:sp>
        <p:nvSpPr>
          <p:cNvPr id="48" name="TextBox 40">
            <a:extLst>
              <a:ext uri="{FF2B5EF4-FFF2-40B4-BE49-F238E27FC236}">
                <a16:creationId xmlns:a16="http://schemas.microsoft.com/office/drawing/2014/main" id="{32DFCB87-4EBF-CD09-2341-7589DA9AE975}"/>
              </a:ext>
            </a:extLst>
          </p:cNvPr>
          <p:cNvSpPr txBox="1"/>
          <p:nvPr/>
        </p:nvSpPr>
        <p:spPr>
          <a:xfrm>
            <a:off x="5798408" y="4345725"/>
            <a:ext cx="102945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Argentina</a:t>
            </a:r>
          </a:p>
          <a:p>
            <a:pPr marL="12700" marR="5080" algn="ctr">
              <a:lnSpc>
                <a:spcPts val="1000"/>
              </a:lnSpc>
              <a:spcBef>
                <a:spcPts val="95"/>
              </a:spcBef>
              <a:buClrTx/>
              <a:buFontTx/>
              <a:defRPr/>
            </a:pPr>
            <a:r>
              <a:rPr lang="pt" sz="1200" spc="-85">
                <a:latin typeface="+mn-lt"/>
                <a:cs typeface="Calibri"/>
              </a:rPr>
              <a:t>9  </a:t>
            </a:r>
            <a:r>
              <a:rPr lang="pt" sz="1200" spc="-85">
                <a:latin typeface="+mn-lt"/>
                <a:ea typeface="Calibri"/>
                <a:cs typeface="Calibri"/>
              </a:rPr>
              <a:t>sites</a:t>
            </a:r>
            <a:endParaRPr lang="en-US" sz="1200" b="0" i="0" u="none" strike="noStrike" kern="1200" cap="none" spc="-85" normalizeH="0" baseline="0" noProof="0">
              <a:ln>
                <a:noFill/>
              </a:ln>
              <a:solidFill>
                <a:srgbClr val="000000"/>
              </a:solidFill>
              <a:effectLst/>
              <a:uLnTx/>
              <a:uFillTx/>
              <a:latin typeface="+mn-lt"/>
              <a:cs typeface="Calibri" panose="020F0502020204030204" pitchFamily="34" charset="0"/>
            </a:endParaRPr>
          </a:p>
        </p:txBody>
      </p:sp>
      <p:pic>
        <p:nvPicPr>
          <p:cNvPr id="49" name="Gráfico 48">
            <a:hlinkClick r:id="" action="ppaction://noaction"/>
            <a:extLst>
              <a:ext uri="{FF2B5EF4-FFF2-40B4-BE49-F238E27FC236}">
                <a16:creationId xmlns:a16="http://schemas.microsoft.com/office/drawing/2014/main" id="{11AC0816-2CB3-D6C0-3B1D-9456FE95939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08335" y="3785427"/>
            <a:ext cx="609600" cy="352425"/>
          </a:xfrm>
          <a:prstGeom prst="rect">
            <a:avLst/>
          </a:prstGeom>
        </p:spPr>
      </p:pic>
      <p:sp>
        <p:nvSpPr>
          <p:cNvPr id="50" name="TextBox 33">
            <a:extLst>
              <a:ext uri="{FF2B5EF4-FFF2-40B4-BE49-F238E27FC236}">
                <a16:creationId xmlns:a16="http://schemas.microsoft.com/office/drawing/2014/main" id="{6C3AE949-D3F3-1F09-E1EB-B3ABCAC40CF7}"/>
              </a:ext>
            </a:extLst>
          </p:cNvPr>
          <p:cNvSpPr txBox="1"/>
          <p:nvPr/>
        </p:nvSpPr>
        <p:spPr>
          <a:xfrm>
            <a:off x="4884985" y="4345725"/>
            <a:ext cx="102945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Uruguai</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1 </a:t>
            </a:r>
            <a:r>
              <a:rPr lang="pt" sz="1200" spc="-85">
                <a:latin typeface="+mn-lt"/>
                <a:ea typeface="Calibri"/>
                <a:cs typeface="Calibri"/>
              </a:rPr>
              <a:t>site</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51" name="Gráfico 50">
            <a:hlinkClick r:id="" action="ppaction://noaction"/>
            <a:extLst>
              <a:ext uri="{FF2B5EF4-FFF2-40B4-BE49-F238E27FC236}">
                <a16:creationId xmlns:a16="http://schemas.microsoft.com/office/drawing/2014/main" id="{FCE21C41-71BA-752E-1520-0565E9D0E0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094912" y="3785427"/>
            <a:ext cx="609600" cy="352425"/>
          </a:xfrm>
          <a:prstGeom prst="rect">
            <a:avLst/>
          </a:prstGeom>
        </p:spPr>
      </p:pic>
      <p:sp>
        <p:nvSpPr>
          <p:cNvPr id="52" name="TextBox 32">
            <a:extLst>
              <a:ext uri="{FF2B5EF4-FFF2-40B4-BE49-F238E27FC236}">
                <a16:creationId xmlns:a16="http://schemas.microsoft.com/office/drawing/2014/main" id="{A1DD401F-81FD-3CCB-7508-7F6581319253}"/>
              </a:ext>
            </a:extLst>
          </p:cNvPr>
          <p:cNvSpPr txBox="1"/>
          <p:nvPr/>
        </p:nvSpPr>
        <p:spPr>
          <a:xfrm>
            <a:off x="4124165" y="4345725"/>
            <a:ext cx="757102"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Brasil</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27 </a:t>
            </a:r>
            <a:r>
              <a:rPr lang="pt" sz="1200" spc="-85">
                <a:latin typeface="+mn-lt"/>
                <a:ea typeface="Calibri"/>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53" name="Gráfico 52">
            <a:hlinkClick r:id="" action="ppaction://noaction"/>
            <a:extLst>
              <a:ext uri="{FF2B5EF4-FFF2-40B4-BE49-F238E27FC236}">
                <a16:creationId xmlns:a16="http://schemas.microsoft.com/office/drawing/2014/main" id="{01E5B8DF-ADB2-39D7-AD84-8AA80AEBBB8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197916" y="3785427"/>
            <a:ext cx="609600" cy="352425"/>
          </a:xfrm>
          <a:prstGeom prst="rect">
            <a:avLst/>
          </a:prstGeom>
        </p:spPr>
      </p:pic>
      <p:sp>
        <p:nvSpPr>
          <p:cNvPr id="54" name="TextBox 31">
            <a:extLst>
              <a:ext uri="{FF2B5EF4-FFF2-40B4-BE49-F238E27FC236}">
                <a16:creationId xmlns:a16="http://schemas.microsoft.com/office/drawing/2014/main" id="{5F4C7452-B40C-D545-A0D9-96212BF2FD24}"/>
              </a:ext>
            </a:extLst>
          </p:cNvPr>
          <p:cNvSpPr txBox="1"/>
          <p:nvPr/>
        </p:nvSpPr>
        <p:spPr>
          <a:xfrm>
            <a:off x="3087633" y="4345725"/>
            <a:ext cx="923956"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Peru</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3 </a:t>
            </a:r>
            <a:r>
              <a:rPr lang="pt" sz="1200" spc="-85">
                <a:latin typeface="+mn-lt"/>
                <a:ea typeface="Calibri"/>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55" name="Gráfico 54">
            <a:hlinkClick r:id="" action="ppaction://noaction"/>
            <a:extLst>
              <a:ext uri="{FF2B5EF4-FFF2-40B4-BE49-F238E27FC236}">
                <a16:creationId xmlns:a16="http://schemas.microsoft.com/office/drawing/2014/main" id="{3035BEB9-EC33-B98C-4BC3-7583AD55956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244811" y="3785427"/>
            <a:ext cx="609600" cy="352425"/>
          </a:xfrm>
          <a:prstGeom prst="rect">
            <a:avLst/>
          </a:prstGeom>
        </p:spPr>
      </p:pic>
      <p:sp>
        <p:nvSpPr>
          <p:cNvPr id="56" name="TextBox 22">
            <a:extLst>
              <a:ext uri="{FF2B5EF4-FFF2-40B4-BE49-F238E27FC236}">
                <a16:creationId xmlns:a16="http://schemas.microsoft.com/office/drawing/2014/main" id="{25283BA7-753A-1B51-859C-119997949AC6}"/>
              </a:ext>
            </a:extLst>
          </p:cNvPr>
          <p:cNvSpPr txBox="1"/>
          <p:nvPr/>
        </p:nvSpPr>
        <p:spPr>
          <a:xfrm>
            <a:off x="3582064" y="2580542"/>
            <a:ext cx="607659"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EUA</a:t>
            </a:r>
          </a:p>
          <a:p>
            <a:pPr marL="12700" marR="5080" lvl="0" indent="0" algn="ctr" defTabSz="914400">
              <a:lnSpc>
                <a:spcPts val="1000"/>
              </a:lnSpc>
              <a:spcBef>
                <a:spcPts val="95"/>
              </a:spcBef>
              <a:spcAft>
                <a:spcPts val="0"/>
              </a:spcAft>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3 </a:t>
            </a:r>
            <a:r>
              <a:rPr lang="pt" sz="1200" spc="-85">
                <a:latin typeface="+mn-lt"/>
                <a:cs typeface="Calibri"/>
              </a:rPr>
              <a:t>sites</a:t>
            </a:r>
            <a:endParaRPr lang="en-US">
              <a:latin typeface="+mn-lt"/>
            </a:endParaRPr>
          </a:p>
        </p:txBody>
      </p:sp>
      <p:pic>
        <p:nvPicPr>
          <p:cNvPr id="57" name="Gráfico 56">
            <a:hlinkClick r:id="" action="ppaction://noaction"/>
            <a:extLst>
              <a:ext uri="{FF2B5EF4-FFF2-40B4-BE49-F238E27FC236}">
                <a16:creationId xmlns:a16="http://schemas.microsoft.com/office/drawing/2014/main" id="{FEE01080-B203-2A72-82DD-59EAFD3311D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581093" y="2109979"/>
            <a:ext cx="609600" cy="352425"/>
          </a:xfrm>
          <a:prstGeom prst="rect">
            <a:avLst/>
          </a:prstGeom>
        </p:spPr>
      </p:pic>
      <p:sp>
        <p:nvSpPr>
          <p:cNvPr id="58" name="TextBox 23">
            <a:extLst>
              <a:ext uri="{FF2B5EF4-FFF2-40B4-BE49-F238E27FC236}">
                <a16:creationId xmlns:a16="http://schemas.microsoft.com/office/drawing/2014/main" id="{E9C85A8F-FC27-C80C-D99D-345117AD5B7C}"/>
              </a:ext>
            </a:extLst>
          </p:cNvPr>
          <p:cNvSpPr txBox="1"/>
          <p:nvPr/>
        </p:nvSpPr>
        <p:spPr>
          <a:xfrm>
            <a:off x="4504938" y="2580542"/>
            <a:ext cx="762610"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México</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15 </a:t>
            </a:r>
            <a:r>
              <a:rPr lang="pt" sz="1200" spc="-85">
                <a:latin typeface="+mn-lt"/>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59" name="Gráfico 58">
            <a:hlinkClick r:id="" action="ppaction://noaction"/>
            <a:extLst>
              <a:ext uri="{FF2B5EF4-FFF2-40B4-BE49-F238E27FC236}">
                <a16:creationId xmlns:a16="http://schemas.microsoft.com/office/drawing/2014/main" id="{591CA53C-52EC-5DFC-7BDC-48AD6A4812A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581443" y="2109979"/>
            <a:ext cx="609600" cy="352425"/>
          </a:xfrm>
          <a:prstGeom prst="rect">
            <a:avLst/>
          </a:prstGeom>
        </p:spPr>
      </p:pic>
      <p:sp>
        <p:nvSpPr>
          <p:cNvPr id="60" name="TextBox 39">
            <a:extLst>
              <a:ext uri="{FF2B5EF4-FFF2-40B4-BE49-F238E27FC236}">
                <a16:creationId xmlns:a16="http://schemas.microsoft.com/office/drawing/2014/main" id="{C0D4A8A9-F438-FAA0-2AEF-57DDC6CCB303}"/>
              </a:ext>
            </a:extLst>
          </p:cNvPr>
          <p:cNvSpPr txBox="1"/>
          <p:nvPr/>
        </p:nvSpPr>
        <p:spPr>
          <a:xfrm>
            <a:off x="8364370" y="2580542"/>
            <a:ext cx="90167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El Salvador</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1 </a:t>
            </a:r>
            <a:r>
              <a:rPr lang="pt" sz="1200" spc="-85">
                <a:latin typeface="+mn-lt"/>
                <a:ea typeface="Calibri"/>
                <a:cs typeface="Calibri"/>
              </a:rPr>
              <a:t>site</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61" name="Gráfico 60">
            <a:hlinkClick r:id="" action="ppaction://noaction"/>
            <a:extLst>
              <a:ext uri="{FF2B5EF4-FFF2-40B4-BE49-F238E27FC236}">
                <a16:creationId xmlns:a16="http://schemas.microsoft.com/office/drawing/2014/main" id="{56FFDAC6-51C1-A542-D1FF-BA0AD67CCE9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510407" y="2109979"/>
            <a:ext cx="609600" cy="352425"/>
          </a:xfrm>
          <a:prstGeom prst="rect">
            <a:avLst/>
          </a:prstGeom>
        </p:spPr>
      </p:pic>
      <p:sp>
        <p:nvSpPr>
          <p:cNvPr id="62" name="TextBox 42">
            <a:extLst>
              <a:ext uri="{FF2B5EF4-FFF2-40B4-BE49-F238E27FC236}">
                <a16:creationId xmlns:a16="http://schemas.microsoft.com/office/drawing/2014/main" id="{874F06A2-9CF7-6133-0A1F-5D696C42DEBC}"/>
              </a:ext>
            </a:extLst>
          </p:cNvPr>
          <p:cNvSpPr txBox="1"/>
          <p:nvPr/>
        </p:nvSpPr>
        <p:spPr>
          <a:xfrm>
            <a:off x="9416999" y="2580542"/>
            <a:ext cx="837538"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Colômbia</a:t>
            </a:r>
          </a:p>
          <a:p>
            <a:pPr marL="12700" marR="5080" lvl="0" indent="0" algn="ctr" defTabSz="914400" rtl="0" eaLnBrk="1" fontAlgn="auto" latinLnBrk="0" hangingPunct="1">
              <a:lnSpc>
                <a:spcPts val="1000"/>
              </a:lnSpc>
              <a:spcBef>
                <a:spcPts val="95"/>
              </a:spcBef>
              <a:spcAft>
                <a:spcPts val="0"/>
              </a:spcAft>
              <a:buClrTx/>
              <a:buSzTx/>
              <a:buFontTx/>
              <a:buNone/>
              <a:tabLst/>
              <a:defRPr/>
            </a:pPr>
            <a:r>
              <a:rPr lang="pt" sz="1200" spc="-85">
                <a:latin typeface="+mn-lt"/>
                <a:cs typeface="Calibri"/>
              </a:rPr>
              <a:t>8 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63" name="Gráfico 62">
            <a:hlinkClick r:id="" action="ppaction://noaction"/>
            <a:extLst>
              <a:ext uri="{FF2B5EF4-FFF2-40B4-BE49-F238E27FC236}">
                <a16:creationId xmlns:a16="http://schemas.microsoft.com/office/drawing/2014/main" id="{B67AFB58-BA2B-90D1-B117-2ABC800F4AF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530968" y="2109979"/>
            <a:ext cx="609600" cy="352425"/>
          </a:xfrm>
          <a:prstGeom prst="rect">
            <a:avLst/>
          </a:prstGeom>
        </p:spPr>
      </p:pic>
      <p:sp>
        <p:nvSpPr>
          <p:cNvPr id="64" name="TextBox 27">
            <a:extLst>
              <a:ext uri="{FF2B5EF4-FFF2-40B4-BE49-F238E27FC236}">
                <a16:creationId xmlns:a16="http://schemas.microsoft.com/office/drawing/2014/main" id="{76A28292-ACFA-50B3-7123-A9F9A57EFEF1}"/>
              </a:ext>
            </a:extLst>
          </p:cNvPr>
          <p:cNvSpPr txBox="1"/>
          <p:nvPr/>
        </p:nvSpPr>
        <p:spPr>
          <a:xfrm>
            <a:off x="6330124" y="2580542"/>
            <a:ext cx="102945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Porto Rico</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1 </a:t>
            </a:r>
            <a:r>
              <a:rPr lang="pt" sz="1200" spc="-85">
                <a:latin typeface="+mn-lt"/>
                <a:cs typeface="Calibri"/>
              </a:rPr>
              <a:t>site</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sp>
        <p:nvSpPr>
          <p:cNvPr id="65" name="TextBox 25">
            <a:extLst>
              <a:ext uri="{FF2B5EF4-FFF2-40B4-BE49-F238E27FC236}">
                <a16:creationId xmlns:a16="http://schemas.microsoft.com/office/drawing/2014/main" id="{8D29B566-B1FC-0536-8690-B92F80BB0AB9}"/>
              </a:ext>
            </a:extLst>
          </p:cNvPr>
          <p:cNvSpPr txBox="1"/>
          <p:nvPr/>
        </p:nvSpPr>
        <p:spPr>
          <a:xfrm>
            <a:off x="5440271" y="2580542"/>
            <a:ext cx="923956"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Guatemala</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2 </a:t>
            </a:r>
            <a:r>
              <a:rPr lang="pt" sz="1200" spc="-85">
                <a:latin typeface="+mn-lt"/>
                <a:cs typeface="Calibri"/>
              </a:rPr>
              <a:t>sites</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66" name="Gráfico 65">
            <a:hlinkClick r:id="" action="ppaction://noaction"/>
            <a:extLst>
              <a:ext uri="{FF2B5EF4-FFF2-40B4-BE49-F238E27FC236}">
                <a16:creationId xmlns:a16="http://schemas.microsoft.com/office/drawing/2014/main" id="{68D3BD04-D709-7BE5-12EB-03E9674F5B0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597449" y="2109979"/>
            <a:ext cx="609600" cy="352425"/>
          </a:xfrm>
          <a:prstGeom prst="rect">
            <a:avLst/>
          </a:prstGeom>
        </p:spPr>
      </p:pic>
      <p:sp>
        <p:nvSpPr>
          <p:cNvPr id="67" name="TextBox 47">
            <a:extLst>
              <a:ext uri="{FF2B5EF4-FFF2-40B4-BE49-F238E27FC236}">
                <a16:creationId xmlns:a16="http://schemas.microsoft.com/office/drawing/2014/main" id="{29A61068-C542-8F8F-FD6A-2FD99EF1FD0D}"/>
              </a:ext>
            </a:extLst>
          </p:cNvPr>
          <p:cNvSpPr txBox="1"/>
          <p:nvPr/>
        </p:nvSpPr>
        <p:spPr>
          <a:xfrm>
            <a:off x="10242204" y="2580542"/>
            <a:ext cx="1300639" cy="370230"/>
          </a:xfrm>
          <a:prstGeom prst="rect">
            <a:avLst/>
          </a:prstGeom>
          <a:noFill/>
        </p:spPr>
        <p:txBody>
          <a:bodyPr wrap="square">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Filipinas</a:t>
            </a:r>
          </a:p>
          <a:p>
            <a:pPr marL="12700" marR="5080" lvl="0" indent="0" algn="ctr" defTabSz="914400" rtl="0" eaLnBrk="1" fontAlgn="auto" latinLnBrk="0" hangingPunct="1">
              <a:lnSpc>
                <a:spcPts val="1000"/>
              </a:lnSpc>
              <a:spcBef>
                <a:spcPts val="95"/>
              </a:spcBef>
              <a:spcAft>
                <a:spcPts val="0"/>
              </a:spcAft>
              <a:buClrTx/>
              <a:buSzTx/>
              <a:buFontTx/>
              <a:buNone/>
              <a:tabLst/>
              <a:defRPr/>
            </a:pPr>
            <a:r>
              <a:rPr lang="pt" sz="1200" spc="-85">
                <a:latin typeface="+mn-lt"/>
                <a:cs typeface="Calibri" panose="020F0502020204030204" pitchFamily="34" charset="0"/>
              </a:rPr>
              <a:t>1 Site (abertura)</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68" name="Gráfico 67">
            <a:extLst>
              <a:ext uri="{FF2B5EF4-FFF2-40B4-BE49-F238E27FC236}">
                <a16:creationId xmlns:a16="http://schemas.microsoft.com/office/drawing/2014/main" id="{A5D3A7E2-E2DA-267F-D317-0850FD9F2D82}"/>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577825" y="2109979"/>
            <a:ext cx="629397" cy="352425"/>
          </a:xfrm>
          <a:prstGeom prst="rect">
            <a:avLst/>
          </a:prstGeom>
        </p:spPr>
      </p:pic>
      <p:sp>
        <p:nvSpPr>
          <p:cNvPr id="69" name="TextBox 29">
            <a:extLst>
              <a:ext uri="{FF2B5EF4-FFF2-40B4-BE49-F238E27FC236}">
                <a16:creationId xmlns:a16="http://schemas.microsoft.com/office/drawing/2014/main" id="{3553FA8C-E672-AC8B-DD6A-9E3F012D8D5A}"/>
              </a:ext>
            </a:extLst>
          </p:cNvPr>
          <p:cNvSpPr txBox="1"/>
          <p:nvPr/>
        </p:nvSpPr>
        <p:spPr>
          <a:xfrm>
            <a:off x="7325475" y="2580542"/>
            <a:ext cx="1029454"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Panamá</a:t>
            </a:r>
          </a:p>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200" b="0" i="0" u="none" strike="noStrike" kern="0" cap="none" spc="-85" normalizeH="0" baseline="0" noProof="0">
                <a:ln>
                  <a:noFill/>
                </a:ln>
                <a:solidFill>
                  <a:srgbClr val="000000"/>
                </a:solidFill>
                <a:effectLst/>
                <a:uLnTx/>
                <a:uFillTx/>
                <a:latin typeface="+mn-lt"/>
                <a:cs typeface="Calibri"/>
                <a:sym typeface="Arial"/>
              </a:rPr>
              <a:t>1 </a:t>
            </a:r>
            <a:r>
              <a:rPr lang="pt" sz="1200" spc="-85">
                <a:latin typeface="+mn-lt"/>
                <a:ea typeface="Calibri"/>
                <a:cs typeface="Calibri"/>
              </a:rPr>
              <a:t>site</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pic>
        <p:nvPicPr>
          <p:cNvPr id="70" name="Gráfico 69">
            <a:extLst>
              <a:ext uri="{FF2B5EF4-FFF2-40B4-BE49-F238E27FC236}">
                <a16:creationId xmlns:a16="http://schemas.microsoft.com/office/drawing/2014/main" id="{7185A8FF-4798-1815-E355-99626366B80B}"/>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7535402" y="2109979"/>
            <a:ext cx="609600" cy="352425"/>
          </a:xfrm>
          <a:prstGeom prst="rect">
            <a:avLst/>
          </a:prstGeom>
        </p:spPr>
      </p:pic>
      <p:pic>
        <p:nvPicPr>
          <p:cNvPr id="71" name="Picture 2" descr="Bandeira do Paraguai | Britannica">
            <a:hlinkClick r:id="" action="ppaction://noaction"/>
            <a:extLst>
              <a:ext uri="{FF2B5EF4-FFF2-40B4-BE49-F238E27FC236}">
                <a16:creationId xmlns:a16="http://schemas.microsoft.com/office/drawing/2014/main" id="{08F77F5E-4C47-7474-79BD-1B508A219EFF}"/>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l="5651" t="2039" r="3362" b="-1"/>
          <a:stretch/>
        </p:blipFill>
        <p:spPr bwMode="auto">
          <a:xfrm>
            <a:off x="9799028" y="3777367"/>
            <a:ext cx="597475" cy="352425"/>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26">
            <a:hlinkClick r:id="" action="ppaction://noaction"/>
            <a:extLst>
              <a:ext uri="{FF2B5EF4-FFF2-40B4-BE49-F238E27FC236}">
                <a16:creationId xmlns:a16="http://schemas.microsoft.com/office/drawing/2014/main" id="{E0A5D4D9-D882-C6B5-D9C9-AEB4930DB827}"/>
              </a:ext>
            </a:extLst>
          </p:cNvPr>
          <p:cNvSpPr txBox="1"/>
          <p:nvPr/>
        </p:nvSpPr>
        <p:spPr>
          <a:xfrm>
            <a:off x="9631517" y="4367497"/>
            <a:ext cx="881886" cy="370230"/>
          </a:xfrm>
          <a:prstGeom prst="rect">
            <a:avLst/>
          </a:prstGeom>
          <a:noFill/>
        </p:spPr>
        <p:txBody>
          <a:bodyPr wrap="square" lIns="91440" tIns="45720" rIns="91440" bIns="45720" anchor="t">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Paraguai</a:t>
            </a:r>
          </a:p>
          <a:p>
            <a:pPr marL="12700" marR="5080" lvl="0" indent="0" algn="ctr" defTabSz="914400" rtl="0" eaLnBrk="1" fontAlgn="auto" latinLnBrk="0" hangingPunct="1">
              <a:lnSpc>
                <a:spcPts val="1000"/>
              </a:lnSpc>
              <a:spcBef>
                <a:spcPts val="95"/>
              </a:spcBef>
              <a:spcAft>
                <a:spcPts val="0"/>
              </a:spcAft>
              <a:buClrTx/>
              <a:buSzTx/>
              <a:buFontTx/>
              <a:buNone/>
              <a:tabLst/>
              <a:defRPr/>
            </a:pPr>
            <a:r>
              <a:rPr lang="pt" sz="1200" spc="-85">
                <a:latin typeface="+mn-lt"/>
                <a:cs typeface="Calibri"/>
              </a:rPr>
              <a:t>1 </a:t>
            </a:r>
            <a:r>
              <a:rPr lang="pt" sz="1200" spc="-85">
                <a:latin typeface="+mn-lt"/>
                <a:ea typeface="Calibri"/>
                <a:cs typeface="Calibri"/>
              </a:rPr>
              <a:t>site</a:t>
            </a:r>
            <a:endParaRPr kumimoji="0" lang="en-US" sz="1200" b="0" i="0" u="none" strike="noStrike" kern="1200" cap="none" spc="-85" normalizeH="0" baseline="0" noProof="0">
              <a:ln>
                <a:noFill/>
              </a:ln>
              <a:solidFill>
                <a:srgbClr val="000000"/>
              </a:solidFill>
              <a:effectLst/>
              <a:uLnTx/>
              <a:uFillTx/>
              <a:latin typeface="+mn-lt"/>
              <a:cs typeface="Calibri" panose="020F0502020204030204" pitchFamily="34" charset="0"/>
              <a:sym typeface="Arial"/>
            </a:endParaRPr>
          </a:p>
        </p:txBody>
      </p:sp>
      <p:sp>
        <p:nvSpPr>
          <p:cNvPr id="73" name="TextBox 43">
            <a:extLst>
              <a:ext uri="{FF2B5EF4-FFF2-40B4-BE49-F238E27FC236}">
                <a16:creationId xmlns:a16="http://schemas.microsoft.com/office/drawing/2014/main" id="{A8843FB6-0301-9F9D-0F6D-CEE6BC0226AC}"/>
              </a:ext>
            </a:extLst>
          </p:cNvPr>
          <p:cNvSpPr txBox="1"/>
          <p:nvPr/>
        </p:nvSpPr>
        <p:spPr>
          <a:xfrm>
            <a:off x="10621456" y="4365920"/>
            <a:ext cx="1029454" cy="235898"/>
          </a:xfrm>
          <a:prstGeom prst="rect">
            <a:avLst/>
          </a:prstGeom>
          <a:noFill/>
        </p:spPr>
        <p:txBody>
          <a:bodyPr wrap="square">
            <a:spAutoFit/>
          </a:bodyPr>
          <a:lstStyle/>
          <a:p>
            <a:pPr marL="12700" marR="5080" lvl="0" indent="0" algn="ctr" defTabSz="914400" rtl="0" eaLnBrk="1" fontAlgn="auto" latinLnBrk="0" hangingPunct="1">
              <a:lnSpc>
                <a:spcPts val="1000"/>
              </a:lnSpc>
              <a:spcBef>
                <a:spcPts val="95"/>
              </a:spcBef>
              <a:spcAft>
                <a:spcPts val="0"/>
              </a:spcAft>
              <a:buClrTx/>
              <a:buSzTx/>
              <a:buFontTx/>
              <a:buNone/>
              <a:tabLst/>
              <a:defRPr/>
            </a:pPr>
            <a:r>
              <a:rPr kumimoji="0" lang="pt" sz="1400" b="1" i="0" u="none" strike="noStrike" kern="1200" cap="none" spc="-85" normalizeH="0" baseline="0" noProof="0">
                <a:ln>
                  <a:noFill/>
                </a:ln>
                <a:solidFill>
                  <a:srgbClr val="01426A"/>
                </a:solidFill>
                <a:effectLst/>
                <a:uLnTx/>
                <a:uFillTx/>
                <a:latin typeface="+mn-lt"/>
                <a:cs typeface="Calibri" panose="020F0502020204030204" pitchFamily="34" charset="0"/>
                <a:sym typeface="Arial"/>
              </a:rPr>
              <a:t>Costa Rica</a:t>
            </a:r>
          </a:p>
        </p:txBody>
      </p:sp>
      <p:pic>
        <p:nvPicPr>
          <p:cNvPr id="74" name="Picture 2" descr="Bandera de Costa Rica: ¿por qué es de tres colores y en qué se diferencia del Pabellón Nacional? - AS.com">
            <a:extLst>
              <a:ext uri="{FF2B5EF4-FFF2-40B4-BE49-F238E27FC236}">
                <a16:creationId xmlns:a16="http://schemas.microsoft.com/office/drawing/2014/main" id="{7C3F6067-4457-19D3-65AE-142DF0A2115B}"/>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0853701" y="3783850"/>
            <a:ext cx="589716" cy="352800"/>
          </a:xfrm>
          <a:prstGeom prst="rect">
            <a:avLst/>
          </a:prstGeom>
          <a:ln w="9525" cap="flat">
            <a:noFill/>
            <a:prstDash val="solid"/>
            <a:miter/>
          </a:ln>
          <a:extLst>
            <a:ext uri="{909E8E84-426E-40DD-AFC4-6F175D3DCCD1}">
              <a14:hiddenFill xmlns:a14="http://schemas.microsoft.com/office/drawing/2010/main">
                <a:solidFill>
                  <a:srgbClr val="FFFFFF"/>
                </a:solidFill>
              </a14:hiddenFill>
            </a:ext>
          </a:extLst>
        </p:spPr>
      </p:pic>
      <p:pic>
        <p:nvPicPr>
          <p:cNvPr id="75" name="Imagem 74" descr="Bandeira do país porto rico ilustração vetorial | Vetor Premium">
            <a:extLst>
              <a:ext uri="{FF2B5EF4-FFF2-40B4-BE49-F238E27FC236}">
                <a16:creationId xmlns:a16="http://schemas.microsoft.com/office/drawing/2014/main" id="{8ACB44D4-ACD4-B3B6-82AF-480F1B92D981}"/>
              </a:ext>
            </a:extLst>
          </p:cNvPr>
          <p:cNvPicPr>
            <a:picLocks noChangeAspect="1"/>
          </p:cNvPicPr>
          <p:nvPr/>
        </p:nvPicPr>
        <p:blipFill>
          <a:blip r:embed="rId41"/>
          <a:stretch>
            <a:fillRect/>
          </a:stretch>
        </p:blipFill>
        <p:spPr>
          <a:xfrm>
            <a:off x="6580554" y="2067169"/>
            <a:ext cx="574431" cy="564662"/>
          </a:xfrm>
          <a:prstGeom prst="rect">
            <a:avLst/>
          </a:prstGeom>
        </p:spPr>
      </p:pic>
      <p:sp>
        <p:nvSpPr>
          <p:cNvPr id="76" name="CaixaDeTexto 75">
            <a:extLst>
              <a:ext uri="{FF2B5EF4-FFF2-40B4-BE49-F238E27FC236}">
                <a16:creationId xmlns:a16="http://schemas.microsoft.com/office/drawing/2014/main" id="{C192400F-A61A-C4C4-5454-5F76FB0AE240}"/>
              </a:ext>
            </a:extLst>
          </p:cNvPr>
          <p:cNvSpPr txBox="1"/>
          <p:nvPr/>
        </p:nvSpPr>
        <p:spPr>
          <a:xfrm rot="16200000">
            <a:off x="-1459692" y="1544221"/>
            <a:ext cx="3368084" cy="307777"/>
          </a:xfrm>
          <a:prstGeom prst="rect">
            <a:avLst/>
          </a:prstGeom>
          <a:noFill/>
        </p:spPr>
        <p:txBody>
          <a:bodyPr wrap="square" rtlCol="0">
            <a:spAutoFit/>
          </a:bodyPr>
          <a:lstStyle/>
          <a:p>
            <a:pPr algn="ctr"/>
            <a:r>
              <a:rPr lang="pt-BR" dirty="0">
                <a:solidFill>
                  <a:schemeClr val="bg1"/>
                </a:solidFill>
                <a:latin typeface="+mn-lt"/>
              </a:rPr>
              <a:t>Nossa dor</a:t>
            </a:r>
          </a:p>
        </p:txBody>
      </p:sp>
      <p:sp>
        <p:nvSpPr>
          <p:cNvPr id="77" name="Oval 13">
            <a:extLst>
              <a:ext uri="{FF2B5EF4-FFF2-40B4-BE49-F238E27FC236}">
                <a16:creationId xmlns:a16="http://schemas.microsoft.com/office/drawing/2014/main" id="{6F15D826-E45B-2C50-39B4-78612C60D316}"/>
              </a:ext>
            </a:extLst>
          </p:cNvPr>
          <p:cNvSpPr/>
          <p:nvPr/>
        </p:nvSpPr>
        <p:spPr>
          <a:xfrm>
            <a:off x="4359201" y="958065"/>
            <a:ext cx="521208" cy="520401"/>
          </a:xfrm>
          <a:prstGeom prst="ellipse">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a:ln>
                <a:noFill/>
              </a:ln>
              <a:solidFill>
                <a:srgbClr val="FFFFFF"/>
              </a:solidFill>
              <a:effectLst/>
              <a:uLnTx/>
              <a:uFillTx/>
              <a:ea typeface="+mn-ea"/>
              <a:cs typeface="+mn-cs"/>
              <a:sym typeface="Arial"/>
            </a:endParaRPr>
          </a:p>
        </p:txBody>
      </p:sp>
      <p:grpSp>
        <p:nvGrpSpPr>
          <p:cNvPr id="78" name="Gráfico 1">
            <a:extLst>
              <a:ext uri="{FF2B5EF4-FFF2-40B4-BE49-F238E27FC236}">
                <a16:creationId xmlns:a16="http://schemas.microsoft.com/office/drawing/2014/main" id="{71494A64-3DE7-19FA-A413-5A70D78A5416}"/>
              </a:ext>
            </a:extLst>
          </p:cNvPr>
          <p:cNvGrpSpPr/>
          <p:nvPr/>
        </p:nvGrpSpPr>
        <p:grpSpPr>
          <a:xfrm>
            <a:off x="4480278" y="1076239"/>
            <a:ext cx="286738" cy="262842"/>
            <a:chOff x="2836294" y="2997543"/>
            <a:chExt cx="333020" cy="319396"/>
          </a:xfrm>
          <a:solidFill>
            <a:schemeClr val="bg1"/>
          </a:solidFill>
        </p:grpSpPr>
        <p:sp>
          <p:nvSpPr>
            <p:cNvPr id="79" name="Forma libre: forma 807">
              <a:extLst>
                <a:ext uri="{FF2B5EF4-FFF2-40B4-BE49-F238E27FC236}">
                  <a16:creationId xmlns:a16="http://schemas.microsoft.com/office/drawing/2014/main" id="{EF3B79F7-916A-D4ED-293E-AABF5C15E33B}"/>
                </a:ext>
              </a:extLst>
            </p:cNvPr>
            <p:cNvSpPr/>
            <p:nvPr/>
          </p:nvSpPr>
          <p:spPr>
            <a:xfrm>
              <a:off x="2836294" y="2997543"/>
              <a:ext cx="333020" cy="319396"/>
            </a:xfrm>
            <a:custGeom>
              <a:avLst/>
              <a:gdLst>
                <a:gd name="connsiteX0" fmla="*/ 290204 w 333020"/>
                <a:gd name="connsiteY0" fmla="*/ 300410 h 319396"/>
                <a:gd name="connsiteX1" fmla="*/ 290204 w 333020"/>
                <a:gd name="connsiteY1" fmla="*/ 102890 h 319396"/>
                <a:gd name="connsiteX2" fmla="*/ 208505 w 333020"/>
                <a:gd name="connsiteY2" fmla="*/ 102890 h 319396"/>
                <a:gd name="connsiteX3" fmla="*/ 208505 w 333020"/>
                <a:gd name="connsiteY3" fmla="*/ 0 h 319396"/>
                <a:gd name="connsiteX4" fmla="*/ 43942 w 333020"/>
                <a:gd name="connsiteY4" fmla="*/ 0 h 319396"/>
                <a:gd name="connsiteX5" fmla="*/ 43942 w 333020"/>
                <a:gd name="connsiteY5" fmla="*/ 300367 h 319396"/>
                <a:gd name="connsiteX6" fmla="*/ 0 w 333020"/>
                <a:gd name="connsiteY6" fmla="*/ 300367 h 319396"/>
                <a:gd name="connsiteX7" fmla="*/ 0 w 333020"/>
                <a:gd name="connsiteY7" fmla="*/ 319397 h 319396"/>
                <a:gd name="connsiteX8" fmla="*/ 43942 w 333020"/>
                <a:gd name="connsiteY8" fmla="*/ 319397 h 319396"/>
                <a:gd name="connsiteX9" fmla="*/ 97052 w 333020"/>
                <a:gd name="connsiteY9" fmla="*/ 319397 h 319396"/>
                <a:gd name="connsiteX10" fmla="*/ 155395 w 333020"/>
                <a:gd name="connsiteY10" fmla="*/ 319397 h 319396"/>
                <a:gd name="connsiteX11" fmla="*/ 189476 w 333020"/>
                <a:gd name="connsiteY11" fmla="*/ 319397 h 319396"/>
                <a:gd name="connsiteX12" fmla="*/ 208505 w 333020"/>
                <a:gd name="connsiteY12" fmla="*/ 319397 h 319396"/>
                <a:gd name="connsiteX13" fmla="*/ 290204 w 333020"/>
                <a:gd name="connsiteY13" fmla="*/ 319397 h 319396"/>
                <a:gd name="connsiteX14" fmla="*/ 333020 w 333020"/>
                <a:gd name="connsiteY14" fmla="*/ 319397 h 319396"/>
                <a:gd name="connsiteX15" fmla="*/ 333020 w 333020"/>
                <a:gd name="connsiteY15" fmla="*/ 300367 h 319396"/>
                <a:gd name="connsiteX16" fmla="*/ 290204 w 333020"/>
                <a:gd name="connsiteY16" fmla="*/ 300367 h 319396"/>
                <a:gd name="connsiteX17" fmla="*/ 116125 w 333020"/>
                <a:gd name="connsiteY17" fmla="*/ 300410 h 319396"/>
                <a:gd name="connsiteX18" fmla="*/ 116125 w 333020"/>
                <a:gd name="connsiteY18" fmla="*/ 252576 h 319396"/>
                <a:gd name="connsiteX19" fmla="*/ 136409 w 333020"/>
                <a:gd name="connsiteY19" fmla="*/ 252576 h 319396"/>
                <a:gd name="connsiteX20" fmla="*/ 136409 w 333020"/>
                <a:gd name="connsiteY20" fmla="*/ 300410 h 319396"/>
                <a:gd name="connsiteX21" fmla="*/ 116125 w 333020"/>
                <a:gd name="connsiteY21" fmla="*/ 300410 h 319396"/>
                <a:gd name="connsiteX22" fmla="*/ 155438 w 333020"/>
                <a:gd name="connsiteY22" fmla="*/ 300410 h 319396"/>
                <a:gd name="connsiteX23" fmla="*/ 155438 w 333020"/>
                <a:gd name="connsiteY23" fmla="*/ 233547 h 319396"/>
                <a:gd name="connsiteX24" fmla="*/ 97095 w 333020"/>
                <a:gd name="connsiteY24" fmla="*/ 233547 h 319396"/>
                <a:gd name="connsiteX25" fmla="*/ 97095 w 333020"/>
                <a:gd name="connsiteY25" fmla="*/ 300410 h 319396"/>
                <a:gd name="connsiteX26" fmla="*/ 63014 w 333020"/>
                <a:gd name="connsiteY26" fmla="*/ 300410 h 319396"/>
                <a:gd name="connsiteX27" fmla="*/ 63014 w 333020"/>
                <a:gd name="connsiteY27" fmla="*/ 19073 h 319396"/>
                <a:gd name="connsiteX28" fmla="*/ 189519 w 333020"/>
                <a:gd name="connsiteY28" fmla="*/ 19073 h 319396"/>
                <a:gd name="connsiteX29" fmla="*/ 189519 w 333020"/>
                <a:gd name="connsiteY29" fmla="*/ 102933 h 319396"/>
                <a:gd name="connsiteX30" fmla="*/ 189519 w 333020"/>
                <a:gd name="connsiteY30" fmla="*/ 300454 h 319396"/>
                <a:gd name="connsiteX31" fmla="*/ 155438 w 333020"/>
                <a:gd name="connsiteY31" fmla="*/ 300454 h 319396"/>
                <a:gd name="connsiteX32" fmla="*/ 208549 w 333020"/>
                <a:gd name="connsiteY32" fmla="*/ 300410 h 319396"/>
                <a:gd name="connsiteX33" fmla="*/ 208549 w 333020"/>
                <a:gd name="connsiteY33" fmla="*/ 121920 h 319396"/>
                <a:gd name="connsiteX34" fmla="*/ 271217 w 333020"/>
                <a:gd name="connsiteY34" fmla="*/ 121920 h 319396"/>
                <a:gd name="connsiteX35" fmla="*/ 271217 w 333020"/>
                <a:gd name="connsiteY35" fmla="*/ 300410 h 319396"/>
                <a:gd name="connsiteX36" fmla="*/ 208549 w 333020"/>
                <a:gd name="connsiteY36" fmla="*/ 300410 h 31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3020" h="319396">
                  <a:moveTo>
                    <a:pt x="290204" y="300410"/>
                  </a:moveTo>
                  <a:lnTo>
                    <a:pt x="290204" y="102890"/>
                  </a:lnTo>
                  <a:lnTo>
                    <a:pt x="208505" y="102890"/>
                  </a:lnTo>
                  <a:lnTo>
                    <a:pt x="208505" y="0"/>
                  </a:lnTo>
                  <a:lnTo>
                    <a:pt x="43942" y="0"/>
                  </a:lnTo>
                  <a:lnTo>
                    <a:pt x="43942" y="300367"/>
                  </a:lnTo>
                  <a:lnTo>
                    <a:pt x="0" y="300367"/>
                  </a:lnTo>
                  <a:lnTo>
                    <a:pt x="0" y="319397"/>
                  </a:lnTo>
                  <a:lnTo>
                    <a:pt x="43942" y="319397"/>
                  </a:lnTo>
                  <a:lnTo>
                    <a:pt x="97052" y="319397"/>
                  </a:lnTo>
                  <a:lnTo>
                    <a:pt x="155395" y="319397"/>
                  </a:lnTo>
                  <a:lnTo>
                    <a:pt x="189476" y="319397"/>
                  </a:lnTo>
                  <a:lnTo>
                    <a:pt x="208505" y="319397"/>
                  </a:lnTo>
                  <a:lnTo>
                    <a:pt x="290204" y="319397"/>
                  </a:lnTo>
                  <a:lnTo>
                    <a:pt x="333020" y="319397"/>
                  </a:lnTo>
                  <a:lnTo>
                    <a:pt x="333020" y="300367"/>
                  </a:lnTo>
                  <a:lnTo>
                    <a:pt x="290204" y="300367"/>
                  </a:lnTo>
                  <a:close/>
                  <a:moveTo>
                    <a:pt x="116125" y="300410"/>
                  </a:moveTo>
                  <a:lnTo>
                    <a:pt x="116125" y="252576"/>
                  </a:lnTo>
                  <a:lnTo>
                    <a:pt x="136409" y="252576"/>
                  </a:lnTo>
                  <a:lnTo>
                    <a:pt x="136409" y="300410"/>
                  </a:lnTo>
                  <a:lnTo>
                    <a:pt x="116125" y="300410"/>
                  </a:lnTo>
                  <a:close/>
                  <a:moveTo>
                    <a:pt x="155438" y="300410"/>
                  </a:moveTo>
                  <a:lnTo>
                    <a:pt x="155438" y="233547"/>
                  </a:lnTo>
                  <a:lnTo>
                    <a:pt x="97095" y="233547"/>
                  </a:lnTo>
                  <a:lnTo>
                    <a:pt x="97095" y="300410"/>
                  </a:lnTo>
                  <a:lnTo>
                    <a:pt x="63014" y="300410"/>
                  </a:lnTo>
                  <a:lnTo>
                    <a:pt x="63014" y="19073"/>
                  </a:lnTo>
                  <a:lnTo>
                    <a:pt x="189519" y="19073"/>
                  </a:lnTo>
                  <a:lnTo>
                    <a:pt x="189519" y="102933"/>
                  </a:lnTo>
                  <a:lnTo>
                    <a:pt x="189519" y="300454"/>
                  </a:lnTo>
                  <a:lnTo>
                    <a:pt x="155438" y="300454"/>
                  </a:lnTo>
                  <a:close/>
                  <a:moveTo>
                    <a:pt x="208549" y="300410"/>
                  </a:moveTo>
                  <a:lnTo>
                    <a:pt x="208549" y="121920"/>
                  </a:lnTo>
                  <a:lnTo>
                    <a:pt x="271217" y="121920"/>
                  </a:lnTo>
                  <a:lnTo>
                    <a:pt x="271217" y="300410"/>
                  </a:lnTo>
                  <a:lnTo>
                    <a:pt x="208549" y="300410"/>
                  </a:lnTo>
                  <a:close/>
                </a:path>
              </a:pathLst>
            </a:custGeom>
            <a:grpFill/>
            <a:ln w="4325" cap="flat">
              <a:noFill/>
              <a:prstDash val="solid"/>
              <a:miter/>
            </a:ln>
          </p:spPr>
          <p:txBody>
            <a:bodyPr rtlCol="0" anchor="ctr"/>
            <a:lstStyle/>
            <a:p>
              <a:endParaRPr lang="es-ES">
                <a:solidFill>
                  <a:schemeClr val="bg1"/>
                </a:solidFill>
              </a:endParaRPr>
            </a:p>
          </p:txBody>
        </p:sp>
        <p:sp>
          <p:nvSpPr>
            <p:cNvPr id="80" name="Forma libre: forma 808">
              <a:extLst>
                <a:ext uri="{FF2B5EF4-FFF2-40B4-BE49-F238E27FC236}">
                  <a16:creationId xmlns:a16="http://schemas.microsoft.com/office/drawing/2014/main" id="{BE91A551-172B-C049-72D2-17668C4C7C4A}"/>
                </a:ext>
              </a:extLst>
            </p:cNvPr>
            <p:cNvSpPr/>
            <p:nvPr/>
          </p:nvSpPr>
          <p:spPr>
            <a:xfrm>
              <a:off x="2925950" y="3052946"/>
              <a:ext cx="17991" cy="30923"/>
            </a:xfrm>
            <a:custGeom>
              <a:avLst/>
              <a:gdLst>
                <a:gd name="connsiteX0" fmla="*/ 0 w 17991"/>
                <a:gd name="connsiteY0" fmla="*/ 0 h 30923"/>
                <a:gd name="connsiteX1" fmla="*/ 17992 w 17991"/>
                <a:gd name="connsiteY1" fmla="*/ 0 h 30923"/>
                <a:gd name="connsiteX2" fmla="*/ 17992 w 17991"/>
                <a:gd name="connsiteY2" fmla="*/ 30923 h 30923"/>
                <a:gd name="connsiteX3" fmla="*/ 0 w 17991"/>
                <a:gd name="connsiteY3" fmla="*/ 30923 h 30923"/>
              </a:gdLst>
              <a:ahLst/>
              <a:cxnLst>
                <a:cxn ang="0">
                  <a:pos x="connsiteX0" y="connsiteY0"/>
                </a:cxn>
                <a:cxn ang="0">
                  <a:pos x="connsiteX1" y="connsiteY1"/>
                </a:cxn>
                <a:cxn ang="0">
                  <a:pos x="connsiteX2" y="connsiteY2"/>
                </a:cxn>
                <a:cxn ang="0">
                  <a:pos x="connsiteX3" y="connsiteY3"/>
                </a:cxn>
              </a:cxnLst>
              <a:rect l="l" t="t" r="r" b="b"/>
              <a:pathLst>
                <a:path w="17991" h="30923">
                  <a:moveTo>
                    <a:pt x="0" y="0"/>
                  </a:moveTo>
                  <a:lnTo>
                    <a:pt x="17992" y="0"/>
                  </a:lnTo>
                  <a:lnTo>
                    <a:pt x="17992" y="30923"/>
                  </a:lnTo>
                  <a:lnTo>
                    <a:pt x="0" y="30923"/>
                  </a:lnTo>
                  <a:close/>
                </a:path>
              </a:pathLst>
            </a:custGeom>
            <a:grpFill/>
            <a:ln w="4325" cap="flat">
              <a:noFill/>
              <a:prstDash val="solid"/>
              <a:miter/>
            </a:ln>
          </p:spPr>
          <p:txBody>
            <a:bodyPr rtlCol="0" anchor="ctr"/>
            <a:lstStyle/>
            <a:p>
              <a:endParaRPr lang="es-ES">
                <a:solidFill>
                  <a:schemeClr val="bg1"/>
                </a:solidFill>
              </a:endParaRPr>
            </a:p>
          </p:txBody>
        </p:sp>
        <p:sp>
          <p:nvSpPr>
            <p:cNvPr id="81" name="Forma libre: forma 809">
              <a:extLst>
                <a:ext uri="{FF2B5EF4-FFF2-40B4-BE49-F238E27FC236}">
                  <a16:creationId xmlns:a16="http://schemas.microsoft.com/office/drawing/2014/main" id="{4F88B3D5-A81D-6EF5-1E67-A0FEE5B82B2A}"/>
                </a:ext>
              </a:extLst>
            </p:cNvPr>
            <p:cNvSpPr/>
            <p:nvPr/>
          </p:nvSpPr>
          <p:spPr>
            <a:xfrm>
              <a:off x="2925950" y="3111376"/>
              <a:ext cx="17991" cy="30923"/>
            </a:xfrm>
            <a:custGeom>
              <a:avLst/>
              <a:gdLst>
                <a:gd name="connsiteX0" fmla="*/ 0 w 17991"/>
                <a:gd name="connsiteY0" fmla="*/ 0 h 30923"/>
                <a:gd name="connsiteX1" fmla="*/ 17992 w 17991"/>
                <a:gd name="connsiteY1" fmla="*/ 0 h 30923"/>
                <a:gd name="connsiteX2" fmla="*/ 17992 w 17991"/>
                <a:gd name="connsiteY2" fmla="*/ 30923 h 30923"/>
                <a:gd name="connsiteX3" fmla="*/ 0 w 17991"/>
                <a:gd name="connsiteY3" fmla="*/ 30923 h 30923"/>
              </a:gdLst>
              <a:ahLst/>
              <a:cxnLst>
                <a:cxn ang="0">
                  <a:pos x="connsiteX0" y="connsiteY0"/>
                </a:cxn>
                <a:cxn ang="0">
                  <a:pos x="connsiteX1" y="connsiteY1"/>
                </a:cxn>
                <a:cxn ang="0">
                  <a:pos x="connsiteX2" y="connsiteY2"/>
                </a:cxn>
                <a:cxn ang="0">
                  <a:pos x="connsiteX3" y="connsiteY3"/>
                </a:cxn>
              </a:cxnLst>
              <a:rect l="l" t="t" r="r" b="b"/>
              <a:pathLst>
                <a:path w="17991" h="30923">
                  <a:moveTo>
                    <a:pt x="0" y="0"/>
                  </a:moveTo>
                  <a:lnTo>
                    <a:pt x="17992" y="0"/>
                  </a:lnTo>
                  <a:lnTo>
                    <a:pt x="17992" y="30923"/>
                  </a:lnTo>
                  <a:lnTo>
                    <a:pt x="0" y="30923"/>
                  </a:lnTo>
                  <a:close/>
                </a:path>
              </a:pathLst>
            </a:custGeom>
            <a:grpFill/>
            <a:ln w="4325" cap="flat">
              <a:noFill/>
              <a:prstDash val="solid"/>
              <a:miter/>
            </a:ln>
          </p:spPr>
          <p:txBody>
            <a:bodyPr rtlCol="0" anchor="ctr"/>
            <a:lstStyle/>
            <a:p>
              <a:endParaRPr lang="es-ES">
                <a:solidFill>
                  <a:schemeClr val="bg1"/>
                </a:solidFill>
              </a:endParaRPr>
            </a:p>
          </p:txBody>
        </p:sp>
        <p:sp>
          <p:nvSpPr>
            <p:cNvPr id="82" name="Forma libre: forma 810">
              <a:extLst>
                <a:ext uri="{FF2B5EF4-FFF2-40B4-BE49-F238E27FC236}">
                  <a16:creationId xmlns:a16="http://schemas.microsoft.com/office/drawing/2014/main" id="{B52E3B26-BECA-600F-7F00-386006CCF6FB}"/>
                </a:ext>
              </a:extLst>
            </p:cNvPr>
            <p:cNvSpPr/>
            <p:nvPr/>
          </p:nvSpPr>
          <p:spPr>
            <a:xfrm>
              <a:off x="3065818" y="3178412"/>
              <a:ext cx="20629" cy="20673"/>
            </a:xfrm>
            <a:custGeom>
              <a:avLst/>
              <a:gdLst>
                <a:gd name="connsiteX0" fmla="*/ 0 w 20629"/>
                <a:gd name="connsiteY0" fmla="*/ 0 h 20673"/>
                <a:gd name="connsiteX1" fmla="*/ 20630 w 20629"/>
                <a:gd name="connsiteY1" fmla="*/ 0 h 20673"/>
                <a:gd name="connsiteX2" fmla="*/ 20630 w 20629"/>
                <a:gd name="connsiteY2" fmla="*/ 20673 h 20673"/>
                <a:gd name="connsiteX3" fmla="*/ 0 w 20629"/>
                <a:gd name="connsiteY3" fmla="*/ 20673 h 20673"/>
              </a:gdLst>
              <a:ahLst/>
              <a:cxnLst>
                <a:cxn ang="0">
                  <a:pos x="connsiteX0" y="connsiteY0"/>
                </a:cxn>
                <a:cxn ang="0">
                  <a:pos x="connsiteX1" y="connsiteY1"/>
                </a:cxn>
                <a:cxn ang="0">
                  <a:pos x="connsiteX2" y="connsiteY2"/>
                </a:cxn>
                <a:cxn ang="0">
                  <a:pos x="connsiteX3" y="connsiteY3"/>
                </a:cxn>
              </a:cxnLst>
              <a:rect l="l" t="t" r="r" b="b"/>
              <a:pathLst>
                <a:path w="20629" h="20673">
                  <a:moveTo>
                    <a:pt x="0" y="0"/>
                  </a:moveTo>
                  <a:lnTo>
                    <a:pt x="20630" y="0"/>
                  </a:lnTo>
                  <a:lnTo>
                    <a:pt x="20630" y="20673"/>
                  </a:lnTo>
                  <a:lnTo>
                    <a:pt x="0" y="20673"/>
                  </a:lnTo>
                  <a:close/>
                </a:path>
              </a:pathLst>
            </a:custGeom>
            <a:grpFill/>
            <a:ln w="4325" cap="flat">
              <a:noFill/>
              <a:prstDash val="solid"/>
              <a:miter/>
            </a:ln>
          </p:spPr>
          <p:txBody>
            <a:bodyPr rtlCol="0" anchor="ctr"/>
            <a:lstStyle/>
            <a:p>
              <a:endParaRPr lang="es-ES">
                <a:solidFill>
                  <a:schemeClr val="bg1"/>
                </a:solidFill>
              </a:endParaRPr>
            </a:p>
          </p:txBody>
        </p:sp>
        <p:sp>
          <p:nvSpPr>
            <p:cNvPr id="83" name="Forma libre: forma 811">
              <a:extLst>
                <a:ext uri="{FF2B5EF4-FFF2-40B4-BE49-F238E27FC236}">
                  <a16:creationId xmlns:a16="http://schemas.microsoft.com/office/drawing/2014/main" id="{78021958-3602-27ED-C988-C8B28BAE08B5}"/>
                </a:ext>
              </a:extLst>
            </p:cNvPr>
            <p:cNvSpPr/>
            <p:nvPr/>
          </p:nvSpPr>
          <p:spPr>
            <a:xfrm>
              <a:off x="3065818" y="3219932"/>
              <a:ext cx="20629" cy="20673"/>
            </a:xfrm>
            <a:custGeom>
              <a:avLst/>
              <a:gdLst>
                <a:gd name="connsiteX0" fmla="*/ 0 w 20629"/>
                <a:gd name="connsiteY0" fmla="*/ 0 h 20673"/>
                <a:gd name="connsiteX1" fmla="*/ 20630 w 20629"/>
                <a:gd name="connsiteY1" fmla="*/ 0 h 20673"/>
                <a:gd name="connsiteX2" fmla="*/ 20630 w 20629"/>
                <a:gd name="connsiteY2" fmla="*/ 20673 h 20673"/>
                <a:gd name="connsiteX3" fmla="*/ 0 w 20629"/>
                <a:gd name="connsiteY3" fmla="*/ 20673 h 20673"/>
              </a:gdLst>
              <a:ahLst/>
              <a:cxnLst>
                <a:cxn ang="0">
                  <a:pos x="connsiteX0" y="connsiteY0"/>
                </a:cxn>
                <a:cxn ang="0">
                  <a:pos x="connsiteX1" y="connsiteY1"/>
                </a:cxn>
                <a:cxn ang="0">
                  <a:pos x="connsiteX2" y="connsiteY2"/>
                </a:cxn>
                <a:cxn ang="0">
                  <a:pos x="connsiteX3" y="connsiteY3"/>
                </a:cxn>
              </a:cxnLst>
              <a:rect l="l" t="t" r="r" b="b"/>
              <a:pathLst>
                <a:path w="20629" h="20673">
                  <a:moveTo>
                    <a:pt x="0" y="0"/>
                  </a:moveTo>
                  <a:lnTo>
                    <a:pt x="20630" y="0"/>
                  </a:lnTo>
                  <a:lnTo>
                    <a:pt x="20630" y="20673"/>
                  </a:lnTo>
                  <a:lnTo>
                    <a:pt x="0" y="20673"/>
                  </a:lnTo>
                  <a:close/>
                </a:path>
              </a:pathLst>
            </a:custGeom>
            <a:grpFill/>
            <a:ln w="4325" cap="flat">
              <a:noFill/>
              <a:prstDash val="solid"/>
              <a:miter/>
            </a:ln>
          </p:spPr>
          <p:txBody>
            <a:bodyPr rtlCol="0" anchor="ctr"/>
            <a:lstStyle/>
            <a:p>
              <a:endParaRPr lang="es-ES">
                <a:solidFill>
                  <a:schemeClr val="bg1"/>
                </a:solidFill>
              </a:endParaRPr>
            </a:p>
          </p:txBody>
        </p:sp>
        <p:sp>
          <p:nvSpPr>
            <p:cNvPr id="84" name="Forma libre: forma 812">
              <a:extLst>
                <a:ext uri="{FF2B5EF4-FFF2-40B4-BE49-F238E27FC236}">
                  <a16:creationId xmlns:a16="http://schemas.microsoft.com/office/drawing/2014/main" id="{90F792A6-B25A-10CC-6764-B3B011D2DD04}"/>
                </a:ext>
              </a:extLst>
            </p:cNvPr>
            <p:cNvSpPr/>
            <p:nvPr/>
          </p:nvSpPr>
          <p:spPr>
            <a:xfrm>
              <a:off x="2925950" y="3169805"/>
              <a:ext cx="17991" cy="30923"/>
            </a:xfrm>
            <a:custGeom>
              <a:avLst/>
              <a:gdLst>
                <a:gd name="connsiteX0" fmla="*/ 0 w 17991"/>
                <a:gd name="connsiteY0" fmla="*/ 0 h 30923"/>
                <a:gd name="connsiteX1" fmla="*/ 17992 w 17991"/>
                <a:gd name="connsiteY1" fmla="*/ 0 h 30923"/>
                <a:gd name="connsiteX2" fmla="*/ 17992 w 17991"/>
                <a:gd name="connsiteY2" fmla="*/ 30923 h 30923"/>
                <a:gd name="connsiteX3" fmla="*/ 0 w 17991"/>
                <a:gd name="connsiteY3" fmla="*/ 30923 h 30923"/>
              </a:gdLst>
              <a:ahLst/>
              <a:cxnLst>
                <a:cxn ang="0">
                  <a:pos x="connsiteX0" y="connsiteY0"/>
                </a:cxn>
                <a:cxn ang="0">
                  <a:pos x="connsiteX1" y="connsiteY1"/>
                </a:cxn>
                <a:cxn ang="0">
                  <a:pos x="connsiteX2" y="connsiteY2"/>
                </a:cxn>
                <a:cxn ang="0">
                  <a:pos x="connsiteX3" y="connsiteY3"/>
                </a:cxn>
              </a:cxnLst>
              <a:rect l="l" t="t" r="r" b="b"/>
              <a:pathLst>
                <a:path w="17991" h="30923">
                  <a:moveTo>
                    <a:pt x="0" y="0"/>
                  </a:moveTo>
                  <a:lnTo>
                    <a:pt x="17992" y="0"/>
                  </a:lnTo>
                  <a:lnTo>
                    <a:pt x="17992" y="30923"/>
                  </a:lnTo>
                  <a:lnTo>
                    <a:pt x="0" y="30923"/>
                  </a:lnTo>
                  <a:close/>
                </a:path>
              </a:pathLst>
            </a:custGeom>
            <a:grpFill/>
            <a:ln w="4325" cap="flat">
              <a:noFill/>
              <a:prstDash val="solid"/>
              <a:miter/>
            </a:ln>
          </p:spPr>
          <p:txBody>
            <a:bodyPr rtlCol="0" anchor="ctr"/>
            <a:lstStyle/>
            <a:p>
              <a:endParaRPr lang="es-ES">
                <a:solidFill>
                  <a:schemeClr val="bg1"/>
                </a:solidFill>
              </a:endParaRPr>
            </a:p>
          </p:txBody>
        </p:sp>
        <p:sp>
          <p:nvSpPr>
            <p:cNvPr id="85" name="Forma libre: forma 813">
              <a:extLst>
                <a:ext uri="{FF2B5EF4-FFF2-40B4-BE49-F238E27FC236}">
                  <a16:creationId xmlns:a16="http://schemas.microsoft.com/office/drawing/2014/main" id="{29214A40-AC5C-BECB-048C-7F0D119919BA}"/>
                </a:ext>
              </a:extLst>
            </p:cNvPr>
            <p:cNvSpPr/>
            <p:nvPr/>
          </p:nvSpPr>
          <p:spPr>
            <a:xfrm>
              <a:off x="2981612" y="3052946"/>
              <a:ext cx="17991" cy="30923"/>
            </a:xfrm>
            <a:custGeom>
              <a:avLst/>
              <a:gdLst>
                <a:gd name="connsiteX0" fmla="*/ 0 w 17991"/>
                <a:gd name="connsiteY0" fmla="*/ 0 h 30923"/>
                <a:gd name="connsiteX1" fmla="*/ 17992 w 17991"/>
                <a:gd name="connsiteY1" fmla="*/ 0 h 30923"/>
                <a:gd name="connsiteX2" fmla="*/ 17992 w 17991"/>
                <a:gd name="connsiteY2" fmla="*/ 30923 h 30923"/>
                <a:gd name="connsiteX3" fmla="*/ 0 w 17991"/>
                <a:gd name="connsiteY3" fmla="*/ 30923 h 30923"/>
              </a:gdLst>
              <a:ahLst/>
              <a:cxnLst>
                <a:cxn ang="0">
                  <a:pos x="connsiteX0" y="connsiteY0"/>
                </a:cxn>
                <a:cxn ang="0">
                  <a:pos x="connsiteX1" y="connsiteY1"/>
                </a:cxn>
                <a:cxn ang="0">
                  <a:pos x="connsiteX2" y="connsiteY2"/>
                </a:cxn>
                <a:cxn ang="0">
                  <a:pos x="connsiteX3" y="connsiteY3"/>
                </a:cxn>
              </a:cxnLst>
              <a:rect l="l" t="t" r="r" b="b"/>
              <a:pathLst>
                <a:path w="17991" h="30923">
                  <a:moveTo>
                    <a:pt x="0" y="0"/>
                  </a:moveTo>
                  <a:lnTo>
                    <a:pt x="17992" y="0"/>
                  </a:lnTo>
                  <a:lnTo>
                    <a:pt x="17992" y="30923"/>
                  </a:lnTo>
                  <a:lnTo>
                    <a:pt x="0" y="30923"/>
                  </a:lnTo>
                  <a:close/>
                </a:path>
              </a:pathLst>
            </a:custGeom>
            <a:grpFill/>
            <a:ln w="4325" cap="flat">
              <a:noFill/>
              <a:prstDash val="solid"/>
              <a:miter/>
            </a:ln>
          </p:spPr>
          <p:txBody>
            <a:bodyPr rtlCol="0" anchor="ctr"/>
            <a:lstStyle/>
            <a:p>
              <a:endParaRPr lang="es-ES">
                <a:solidFill>
                  <a:schemeClr val="bg1"/>
                </a:solidFill>
              </a:endParaRPr>
            </a:p>
          </p:txBody>
        </p:sp>
        <p:sp>
          <p:nvSpPr>
            <p:cNvPr id="86" name="Forma libre: forma 814">
              <a:extLst>
                <a:ext uri="{FF2B5EF4-FFF2-40B4-BE49-F238E27FC236}">
                  <a16:creationId xmlns:a16="http://schemas.microsoft.com/office/drawing/2014/main" id="{81D9D6DF-AE3C-82AE-E432-D4393AA2F296}"/>
                </a:ext>
              </a:extLst>
            </p:cNvPr>
            <p:cNvSpPr/>
            <p:nvPr/>
          </p:nvSpPr>
          <p:spPr>
            <a:xfrm>
              <a:off x="2981612" y="3111376"/>
              <a:ext cx="17991" cy="30923"/>
            </a:xfrm>
            <a:custGeom>
              <a:avLst/>
              <a:gdLst>
                <a:gd name="connsiteX0" fmla="*/ 0 w 17991"/>
                <a:gd name="connsiteY0" fmla="*/ 0 h 30923"/>
                <a:gd name="connsiteX1" fmla="*/ 17992 w 17991"/>
                <a:gd name="connsiteY1" fmla="*/ 0 h 30923"/>
                <a:gd name="connsiteX2" fmla="*/ 17992 w 17991"/>
                <a:gd name="connsiteY2" fmla="*/ 30923 h 30923"/>
                <a:gd name="connsiteX3" fmla="*/ 0 w 17991"/>
                <a:gd name="connsiteY3" fmla="*/ 30923 h 30923"/>
              </a:gdLst>
              <a:ahLst/>
              <a:cxnLst>
                <a:cxn ang="0">
                  <a:pos x="connsiteX0" y="connsiteY0"/>
                </a:cxn>
                <a:cxn ang="0">
                  <a:pos x="connsiteX1" y="connsiteY1"/>
                </a:cxn>
                <a:cxn ang="0">
                  <a:pos x="connsiteX2" y="connsiteY2"/>
                </a:cxn>
                <a:cxn ang="0">
                  <a:pos x="connsiteX3" y="connsiteY3"/>
                </a:cxn>
              </a:cxnLst>
              <a:rect l="l" t="t" r="r" b="b"/>
              <a:pathLst>
                <a:path w="17991" h="30923">
                  <a:moveTo>
                    <a:pt x="0" y="0"/>
                  </a:moveTo>
                  <a:lnTo>
                    <a:pt x="17992" y="0"/>
                  </a:lnTo>
                  <a:lnTo>
                    <a:pt x="17992" y="30923"/>
                  </a:lnTo>
                  <a:lnTo>
                    <a:pt x="0" y="30923"/>
                  </a:lnTo>
                  <a:close/>
                </a:path>
              </a:pathLst>
            </a:custGeom>
            <a:grpFill/>
            <a:ln w="4325" cap="flat">
              <a:noFill/>
              <a:prstDash val="solid"/>
              <a:miter/>
            </a:ln>
          </p:spPr>
          <p:txBody>
            <a:bodyPr rtlCol="0" anchor="ctr"/>
            <a:lstStyle/>
            <a:p>
              <a:endParaRPr lang="es-ES">
                <a:solidFill>
                  <a:schemeClr val="bg1"/>
                </a:solidFill>
              </a:endParaRPr>
            </a:p>
          </p:txBody>
        </p:sp>
        <p:sp>
          <p:nvSpPr>
            <p:cNvPr id="87" name="Forma libre: forma 815">
              <a:extLst>
                <a:ext uri="{FF2B5EF4-FFF2-40B4-BE49-F238E27FC236}">
                  <a16:creationId xmlns:a16="http://schemas.microsoft.com/office/drawing/2014/main" id="{C6B2AC16-545B-6672-160A-A1EF8A20D53A}"/>
                </a:ext>
              </a:extLst>
            </p:cNvPr>
            <p:cNvSpPr/>
            <p:nvPr/>
          </p:nvSpPr>
          <p:spPr>
            <a:xfrm>
              <a:off x="2981612" y="3169805"/>
              <a:ext cx="17991" cy="30923"/>
            </a:xfrm>
            <a:custGeom>
              <a:avLst/>
              <a:gdLst>
                <a:gd name="connsiteX0" fmla="*/ 0 w 17991"/>
                <a:gd name="connsiteY0" fmla="*/ 0 h 30923"/>
                <a:gd name="connsiteX1" fmla="*/ 17992 w 17991"/>
                <a:gd name="connsiteY1" fmla="*/ 0 h 30923"/>
                <a:gd name="connsiteX2" fmla="*/ 17992 w 17991"/>
                <a:gd name="connsiteY2" fmla="*/ 30923 h 30923"/>
                <a:gd name="connsiteX3" fmla="*/ 0 w 17991"/>
                <a:gd name="connsiteY3" fmla="*/ 30923 h 30923"/>
              </a:gdLst>
              <a:ahLst/>
              <a:cxnLst>
                <a:cxn ang="0">
                  <a:pos x="connsiteX0" y="connsiteY0"/>
                </a:cxn>
                <a:cxn ang="0">
                  <a:pos x="connsiteX1" y="connsiteY1"/>
                </a:cxn>
                <a:cxn ang="0">
                  <a:pos x="connsiteX2" y="connsiteY2"/>
                </a:cxn>
                <a:cxn ang="0">
                  <a:pos x="connsiteX3" y="connsiteY3"/>
                </a:cxn>
              </a:cxnLst>
              <a:rect l="l" t="t" r="r" b="b"/>
              <a:pathLst>
                <a:path w="17991" h="30923">
                  <a:moveTo>
                    <a:pt x="0" y="0"/>
                  </a:moveTo>
                  <a:lnTo>
                    <a:pt x="17992" y="0"/>
                  </a:lnTo>
                  <a:lnTo>
                    <a:pt x="17992" y="30923"/>
                  </a:lnTo>
                  <a:lnTo>
                    <a:pt x="0" y="30923"/>
                  </a:lnTo>
                  <a:close/>
                </a:path>
              </a:pathLst>
            </a:custGeom>
            <a:grpFill/>
            <a:ln w="4325" cap="flat">
              <a:noFill/>
              <a:prstDash val="solid"/>
              <a:miter/>
            </a:ln>
          </p:spPr>
          <p:txBody>
            <a:bodyPr rtlCol="0" anchor="ctr"/>
            <a:lstStyle/>
            <a:p>
              <a:endParaRPr lang="es-ES">
                <a:solidFill>
                  <a:schemeClr val="bg1"/>
                </a:solidFill>
              </a:endParaRPr>
            </a:p>
          </p:txBody>
        </p:sp>
      </p:grpSp>
      <p:sp>
        <p:nvSpPr>
          <p:cNvPr id="88" name="TextBox 27">
            <a:extLst>
              <a:ext uri="{FF2B5EF4-FFF2-40B4-BE49-F238E27FC236}">
                <a16:creationId xmlns:a16="http://schemas.microsoft.com/office/drawing/2014/main" id="{E31C032E-1B2F-8E05-DB7D-486DFEEC78CE}"/>
              </a:ext>
            </a:extLst>
          </p:cNvPr>
          <p:cNvSpPr txBox="1"/>
          <p:nvPr/>
        </p:nvSpPr>
        <p:spPr>
          <a:xfrm>
            <a:off x="1629609" y="4655145"/>
            <a:ext cx="1392703" cy="357406"/>
          </a:xfrm>
          <a:prstGeom prst="rect">
            <a:avLst/>
          </a:prstGeom>
          <a:noFill/>
        </p:spPr>
        <p:txBody>
          <a:bodyPr wrap="square"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pt" sz="2400" b="1" i="0" u="none" strike="noStrike" kern="1200" cap="none" spc="0" normalizeH="0" baseline="0" dirty="0">
                <a:ln>
                  <a:noFill/>
                </a:ln>
                <a:solidFill>
                  <a:srgbClr val="01426A"/>
                </a:solidFill>
                <a:effectLst/>
                <a:uLnTx/>
                <a:uFillTx/>
                <a:latin typeface="+mn-lt"/>
                <a:ea typeface="+mn-ea"/>
                <a:cs typeface="Calibri" panose="020F0502020204030204" pitchFamily="34" charset="0"/>
                <a:sym typeface="Arial"/>
              </a:rPr>
              <a:t>+1236</a:t>
            </a:r>
          </a:p>
          <a:p>
            <a:pPr marL="0" marR="0" lvl="0" indent="0" algn="l" defTabSz="914400" rtl="0" eaLnBrk="1" fontAlgn="auto" latinLnBrk="0" hangingPunct="1">
              <a:lnSpc>
                <a:spcPts val="1000"/>
              </a:lnSpc>
              <a:spcBef>
                <a:spcPts val="0"/>
              </a:spcBef>
              <a:spcAft>
                <a:spcPts val="0"/>
              </a:spcAft>
              <a:buClrTx/>
              <a:buSzTx/>
              <a:buFontTx/>
              <a:buNone/>
              <a:tabLst/>
              <a:defRPr/>
            </a:pPr>
            <a:r>
              <a:rPr kumimoji="0" lang="pt" sz="1200" b="1" i="0" u="none" strike="noStrike" kern="0" cap="none" spc="0" normalizeH="0" baseline="0" dirty="0">
                <a:ln>
                  <a:noFill/>
                </a:ln>
                <a:solidFill>
                  <a:srgbClr val="7F7F7F"/>
                </a:solidFill>
                <a:effectLst/>
                <a:uLnTx/>
                <a:uFillTx/>
                <a:latin typeface="+mn-lt"/>
                <a:cs typeface="Calibri" panose="020F0502020204030204" pitchFamily="34" charset="0"/>
                <a:sym typeface="Arial"/>
              </a:rPr>
              <a:t>Documentos</a:t>
            </a:r>
            <a:r>
              <a:rPr kumimoji="0" lang="pt" sz="1000" b="1" i="0" u="none" strike="noStrike" kern="0" cap="none" spc="0" normalizeH="0" baseline="0" dirty="0">
                <a:ln>
                  <a:noFill/>
                </a:ln>
                <a:solidFill>
                  <a:srgbClr val="7F7F7F"/>
                </a:solidFill>
                <a:effectLst/>
                <a:uLnTx/>
                <a:uFillTx/>
                <a:latin typeface="+mn-lt"/>
                <a:cs typeface="Calibri" panose="020F0502020204030204" pitchFamily="34" charset="0"/>
                <a:sym typeface="Arial"/>
              </a:rPr>
              <a:t> </a:t>
            </a:r>
            <a:endParaRPr kumimoji="0" lang="en-US" sz="1000" b="1" i="0" u="none" strike="noStrike" kern="1200" cap="none" spc="0" normalizeH="0" baseline="0" dirty="0">
              <a:ln>
                <a:noFill/>
              </a:ln>
              <a:solidFill>
                <a:srgbClr val="7F7F7F"/>
              </a:solidFill>
              <a:effectLst/>
              <a:uLnTx/>
              <a:uFillTx/>
              <a:latin typeface="+mn-lt"/>
              <a:ea typeface="+mn-ea"/>
              <a:cs typeface="Calibri" panose="020F0502020204030204" pitchFamily="34" charset="0"/>
              <a:sym typeface="Arial"/>
            </a:endParaRPr>
          </a:p>
        </p:txBody>
      </p:sp>
      <p:sp>
        <p:nvSpPr>
          <p:cNvPr id="89" name="Oval 15">
            <a:extLst>
              <a:ext uri="{FF2B5EF4-FFF2-40B4-BE49-F238E27FC236}">
                <a16:creationId xmlns:a16="http://schemas.microsoft.com/office/drawing/2014/main" id="{F28BCD16-F825-AAC7-7689-961F28A77F65}"/>
              </a:ext>
            </a:extLst>
          </p:cNvPr>
          <p:cNvSpPr/>
          <p:nvPr/>
        </p:nvSpPr>
        <p:spPr>
          <a:xfrm>
            <a:off x="949020" y="3741440"/>
            <a:ext cx="521208" cy="520401"/>
          </a:xfrm>
          <a:prstGeom prst="ellipse">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a:ln>
                <a:noFill/>
              </a:ln>
              <a:solidFill>
                <a:srgbClr val="FFFFFF"/>
              </a:solidFill>
              <a:effectLst/>
              <a:uLnTx/>
              <a:uFillTx/>
              <a:ea typeface="+mn-ea"/>
              <a:cs typeface="+mn-cs"/>
              <a:sym typeface="Arial"/>
            </a:endParaRPr>
          </a:p>
        </p:txBody>
      </p:sp>
      <p:grpSp>
        <p:nvGrpSpPr>
          <p:cNvPr id="91" name="Gráfico 1">
            <a:extLst>
              <a:ext uri="{FF2B5EF4-FFF2-40B4-BE49-F238E27FC236}">
                <a16:creationId xmlns:a16="http://schemas.microsoft.com/office/drawing/2014/main" id="{59F9A1F7-A71B-A4C5-DDCE-9AFB082C2DDC}"/>
              </a:ext>
            </a:extLst>
          </p:cNvPr>
          <p:cNvGrpSpPr/>
          <p:nvPr/>
        </p:nvGrpSpPr>
        <p:grpSpPr>
          <a:xfrm>
            <a:off x="1075632" y="3869533"/>
            <a:ext cx="221643" cy="257933"/>
            <a:chOff x="5723221" y="3242909"/>
            <a:chExt cx="250024" cy="310122"/>
          </a:xfrm>
          <a:solidFill>
            <a:schemeClr val="bg1"/>
          </a:solidFill>
        </p:grpSpPr>
        <p:sp>
          <p:nvSpPr>
            <p:cNvPr id="92" name="Forma libre: forma 923">
              <a:extLst>
                <a:ext uri="{FF2B5EF4-FFF2-40B4-BE49-F238E27FC236}">
                  <a16:creationId xmlns:a16="http://schemas.microsoft.com/office/drawing/2014/main" id="{5656726B-A549-3975-043E-25FFADD84E59}"/>
                </a:ext>
              </a:extLst>
            </p:cNvPr>
            <p:cNvSpPr/>
            <p:nvPr/>
          </p:nvSpPr>
          <p:spPr>
            <a:xfrm>
              <a:off x="5723221" y="3242909"/>
              <a:ext cx="250024" cy="310122"/>
            </a:xfrm>
            <a:custGeom>
              <a:avLst/>
              <a:gdLst>
                <a:gd name="connsiteX0" fmla="*/ 201264 w 250024"/>
                <a:gd name="connsiteY0" fmla="*/ 0 h 310122"/>
                <a:gd name="connsiteX1" fmla="*/ 80045 w 250024"/>
                <a:gd name="connsiteY1" fmla="*/ 0 h 310122"/>
                <a:gd name="connsiteX2" fmla="*/ 0 w 250024"/>
                <a:gd name="connsiteY2" fmla="*/ 79875 h 310122"/>
                <a:gd name="connsiteX3" fmla="*/ 0 w 250024"/>
                <a:gd name="connsiteY3" fmla="*/ 261362 h 310122"/>
                <a:gd name="connsiteX4" fmla="*/ 48760 w 250024"/>
                <a:gd name="connsiteY4" fmla="*/ 310123 h 310122"/>
                <a:gd name="connsiteX5" fmla="*/ 201264 w 250024"/>
                <a:gd name="connsiteY5" fmla="*/ 310123 h 310122"/>
                <a:gd name="connsiteX6" fmla="*/ 250025 w 250024"/>
                <a:gd name="connsiteY6" fmla="*/ 261362 h 310122"/>
                <a:gd name="connsiteX7" fmla="*/ 250025 w 250024"/>
                <a:gd name="connsiteY7" fmla="*/ 48760 h 310122"/>
                <a:gd name="connsiteX8" fmla="*/ 201264 w 250024"/>
                <a:gd name="connsiteY8" fmla="*/ 0 h 310122"/>
                <a:gd name="connsiteX9" fmla="*/ 71137 w 250024"/>
                <a:gd name="connsiteY9" fmla="*/ 20502 h 310122"/>
                <a:gd name="connsiteX10" fmla="*/ 71137 w 250024"/>
                <a:gd name="connsiteY10" fmla="*/ 66577 h 310122"/>
                <a:gd name="connsiteX11" fmla="*/ 66747 w 250024"/>
                <a:gd name="connsiteY11" fmla="*/ 70967 h 310122"/>
                <a:gd name="connsiteX12" fmla="*/ 20501 w 250024"/>
                <a:gd name="connsiteY12" fmla="*/ 70967 h 310122"/>
                <a:gd name="connsiteX13" fmla="*/ 71137 w 250024"/>
                <a:gd name="connsiteY13" fmla="*/ 20502 h 310122"/>
                <a:gd name="connsiteX14" fmla="*/ 232209 w 250024"/>
                <a:gd name="connsiteY14" fmla="*/ 261362 h 310122"/>
                <a:gd name="connsiteX15" fmla="*/ 201264 w 250024"/>
                <a:gd name="connsiteY15" fmla="*/ 292307 h 310122"/>
                <a:gd name="connsiteX16" fmla="*/ 48760 w 250024"/>
                <a:gd name="connsiteY16" fmla="*/ 292307 h 310122"/>
                <a:gd name="connsiteX17" fmla="*/ 17816 w 250024"/>
                <a:gd name="connsiteY17" fmla="*/ 261362 h 310122"/>
                <a:gd name="connsiteX18" fmla="*/ 17816 w 250024"/>
                <a:gd name="connsiteY18" fmla="*/ 88783 h 310122"/>
                <a:gd name="connsiteX19" fmla="*/ 66790 w 250024"/>
                <a:gd name="connsiteY19" fmla="*/ 88783 h 310122"/>
                <a:gd name="connsiteX20" fmla="*/ 88996 w 250024"/>
                <a:gd name="connsiteY20" fmla="*/ 66577 h 310122"/>
                <a:gd name="connsiteX21" fmla="*/ 88996 w 250024"/>
                <a:gd name="connsiteY21" fmla="*/ 17774 h 310122"/>
                <a:gd name="connsiteX22" fmla="*/ 201307 w 250024"/>
                <a:gd name="connsiteY22" fmla="*/ 17774 h 310122"/>
                <a:gd name="connsiteX23" fmla="*/ 232251 w 250024"/>
                <a:gd name="connsiteY23" fmla="*/ 48718 h 310122"/>
                <a:gd name="connsiteX24" fmla="*/ 232251 w 250024"/>
                <a:gd name="connsiteY24" fmla="*/ 261362 h 31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0024" h="310122">
                  <a:moveTo>
                    <a:pt x="201264" y="0"/>
                  </a:moveTo>
                  <a:lnTo>
                    <a:pt x="80045" y="0"/>
                  </a:lnTo>
                  <a:cubicBezTo>
                    <a:pt x="53108" y="0"/>
                    <a:pt x="0" y="53023"/>
                    <a:pt x="0" y="79875"/>
                  </a:cubicBezTo>
                  <a:lnTo>
                    <a:pt x="0" y="261362"/>
                  </a:lnTo>
                  <a:cubicBezTo>
                    <a:pt x="0" y="288257"/>
                    <a:pt x="21865" y="310123"/>
                    <a:pt x="48760" y="310123"/>
                  </a:cubicBezTo>
                  <a:lnTo>
                    <a:pt x="201264" y="310123"/>
                  </a:lnTo>
                  <a:cubicBezTo>
                    <a:pt x="228159" y="310123"/>
                    <a:pt x="250025" y="288257"/>
                    <a:pt x="250025" y="261362"/>
                  </a:cubicBezTo>
                  <a:lnTo>
                    <a:pt x="250025" y="48760"/>
                  </a:lnTo>
                  <a:cubicBezTo>
                    <a:pt x="250025" y="21865"/>
                    <a:pt x="228159" y="0"/>
                    <a:pt x="201264" y="0"/>
                  </a:cubicBezTo>
                  <a:close/>
                  <a:moveTo>
                    <a:pt x="71137" y="20502"/>
                  </a:moveTo>
                  <a:lnTo>
                    <a:pt x="71137" y="66577"/>
                  </a:lnTo>
                  <a:cubicBezTo>
                    <a:pt x="71137" y="68964"/>
                    <a:pt x="69134" y="70967"/>
                    <a:pt x="66747" y="70967"/>
                  </a:cubicBezTo>
                  <a:lnTo>
                    <a:pt x="20501" y="70967"/>
                  </a:lnTo>
                  <a:cubicBezTo>
                    <a:pt x="28770" y="54259"/>
                    <a:pt x="54387" y="28685"/>
                    <a:pt x="71137" y="20502"/>
                  </a:cubicBezTo>
                  <a:close/>
                  <a:moveTo>
                    <a:pt x="232209" y="261362"/>
                  </a:moveTo>
                  <a:cubicBezTo>
                    <a:pt x="232209" y="278454"/>
                    <a:pt x="218314" y="292307"/>
                    <a:pt x="201264" y="292307"/>
                  </a:cubicBezTo>
                  <a:lnTo>
                    <a:pt x="48760" y="292307"/>
                  </a:lnTo>
                  <a:cubicBezTo>
                    <a:pt x="31668" y="292307"/>
                    <a:pt x="17816" y="278412"/>
                    <a:pt x="17816" y="261362"/>
                  </a:cubicBezTo>
                  <a:lnTo>
                    <a:pt x="17816" y="88783"/>
                  </a:lnTo>
                  <a:lnTo>
                    <a:pt x="66790" y="88783"/>
                  </a:lnTo>
                  <a:cubicBezTo>
                    <a:pt x="79022" y="88783"/>
                    <a:pt x="88996" y="78809"/>
                    <a:pt x="88996" y="66577"/>
                  </a:cubicBezTo>
                  <a:lnTo>
                    <a:pt x="88996" y="17774"/>
                  </a:lnTo>
                  <a:lnTo>
                    <a:pt x="201307" y="17774"/>
                  </a:lnTo>
                  <a:cubicBezTo>
                    <a:pt x="218399" y="17774"/>
                    <a:pt x="232251" y="31669"/>
                    <a:pt x="232251" y="48718"/>
                  </a:cubicBezTo>
                  <a:lnTo>
                    <a:pt x="232251" y="261362"/>
                  </a:lnTo>
                  <a:close/>
                </a:path>
              </a:pathLst>
            </a:custGeom>
            <a:grpFill/>
            <a:ln w="4262" cap="flat">
              <a:noFill/>
              <a:prstDash val="solid"/>
              <a:miter/>
            </a:ln>
          </p:spPr>
          <p:txBody>
            <a:bodyPr rtlCol="0" anchor="ctr"/>
            <a:lstStyle/>
            <a:p>
              <a:endParaRPr lang="es-ES">
                <a:solidFill>
                  <a:schemeClr val="bg1"/>
                </a:solidFill>
              </a:endParaRPr>
            </a:p>
          </p:txBody>
        </p:sp>
        <p:sp>
          <p:nvSpPr>
            <p:cNvPr id="93" name="Forma libre: forma 924">
              <a:extLst>
                <a:ext uri="{FF2B5EF4-FFF2-40B4-BE49-F238E27FC236}">
                  <a16:creationId xmlns:a16="http://schemas.microsoft.com/office/drawing/2014/main" id="{83A50EBE-1640-CD4F-AE4A-CA3FB327D7C6}"/>
                </a:ext>
              </a:extLst>
            </p:cNvPr>
            <p:cNvSpPr/>
            <p:nvPr/>
          </p:nvSpPr>
          <p:spPr>
            <a:xfrm>
              <a:off x="5782935" y="3366941"/>
              <a:ext cx="132727" cy="17816"/>
            </a:xfrm>
            <a:custGeom>
              <a:avLst/>
              <a:gdLst>
                <a:gd name="connsiteX0" fmla="*/ 0 w 132727"/>
                <a:gd name="connsiteY0" fmla="*/ 0 h 17816"/>
                <a:gd name="connsiteX1" fmla="*/ 132728 w 132727"/>
                <a:gd name="connsiteY1" fmla="*/ 0 h 17816"/>
                <a:gd name="connsiteX2" fmla="*/ 132728 w 132727"/>
                <a:gd name="connsiteY2" fmla="*/ 17816 h 17816"/>
                <a:gd name="connsiteX3" fmla="*/ 0 w 132727"/>
                <a:gd name="connsiteY3" fmla="*/ 17816 h 17816"/>
              </a:gdLst>
              <a:ahLst/>
              <a:cxnLst>
                <a:cxn ang="0">
                  <a:pos x="connsiteX0" y="connsiteY0"/>
                </a:cxn>
                <a:cxn ang="0">
                  <a:pos x="connsiteX1" y="connsiteY1"/>
                </a:cxn>
                <a:cxn ang="0">
                  <a:pos x="connsiteX2" y="connsiteY2"/>
                </a:cxn>
                <a:cxn ang="0">
                  <a:pos x="connsiteX3" y="connsiteY3"/>
                </a:cxn>
              </a:cxnLst>
              <a:rect l="l" t="t" r="r" b="b"/>
              <a:pathLst>
                <a:path w="132727" h="17816">
                  <a:moveTo>
                    <a:pt x="0" y="0"/>
                  </a:moveTo>
                  <a:lnTo>
                    <a:pt x="132728" y="0"/>
                  </a:lnTo>
                  <a:lnTo>
                    <a:pt x="132728" y="17816"/>
                  </a:lnTo>
                  <a:lnTo>
                    <a:pt x="0" y="17816"/>
                  </a:lnTo>
                  <a:close/>
                </a:path>
              </a:pathLst>
            </a:custGeom>
            <a:grpFill/>
            <a:ln w="4262" cap="flat">
              <a:noFill/>
              <a:prstDash val="solid"/>
              <a:miter/>
            </a:ln>
          </p:spPr>
          <p:txBody>
            <a:bodyPr rtlCol="0" anchor="ctr"/>
            <a:lstStyle/>
            <a:p>
              <a:endParaRPr lang="es-ES">
                <a:solidFill>
                  <a:schemeClr val="bg1"/>
                </a:solidFill>
              </a:endParaRPr>
            </a:p>
          </p:txBody>
        </p:sp>
        <p:sp>
          <p:nvSpPr>
            <p:cNvPr id="94" name="Forma libre: forma 925">
              <a:extLst>
                <a:ext uri="{FF2B5EF4-FFF2-40B4-BE49-F238E27FC236}">
                  <a16:creationId xmlns:a16="http://schemas.microsoft.com/office/drawing/2014/main" id="{2CFE94A8-B488-7051-3FA8-328D268FF0D4}"/>
                </a:ext>
              </a:extLst>
            </p:cNvPr>
            <p:cNvSpPr/>
            <p:nvPr/>
          </p:nvSpPr>
          <p:spPr>
            <a:xfrm>
              <a:off x="5782935" y="3414934"/>
              <a:ext cx="132727" cy="17816"/>
            </a:xfrm>
            <a:custGeom>
              <a:avLst/>
              <a:gdLst>
                <a:gd name="connsiteX0" fmla="*/ 0 w 132727"/>
                <a:gd name="connsiteY0" fmla="*/ 0 h 17816"/>
                <a:gd name="connsiteX1" fmla="*/ 132728 w 132727"/>
                <a:gd name="connsiteY1" fmla="*/ 0 h 17816"/>
                <a:gd name="connsiteX2" fmla="*/ 132728 w 132727"/>
                <a:gd name="connsiteY2" fmla="*/ 17816 h 17816"/>
                <a:gd name="connsiteX3" fmla="*/ 0 w 132727"/>
                <a:gd name="connsiteY3" fmla="*/ 17816 h 17816"/>
              </a:gdLst>
              <a:ahLst/>
              <a:cxnLst>
                <a:cxn ang="0">
                  <a:pos x="connsiteX0" y="connsiteY0"/>
                </a:cxn>
                <a:cxn ang="0">
                  <a:pos x="connsiteX1" y="connsiteY1"/>
                </a:cxn>
                <a:cxn ang="0">
                  <a:pos x="connsiteX2" y="connsiteY2"/>
                </a:cxn>
                <a:cxn ang="0">
                  <a:pos x="connsiteX3" y="connsiteY3"/>
                </a:cxn>
              </a:cxnLst>
              <a:rect l="l" t="t" r="r" b="b"/>
              <a:pathLst>
                <a:path w="132727" h="17816">
                  <a:moveTo>
                    <a:pt x="0" y="0"/>
                  </a:moveTo>
                  <a:lnTo>
                    <a:pt x="132728" y="0"/>
                  </a:lnTo>
                  <a:lnTo>
                    <a:pt x="132728" y="17816"/>
                  </a:lnTo>
                  <a:lnTo>
                    <a:pt x="0" y="17816"/>
                  </a:lnTo>
                  <a:close/>
                </a:path>
              </a:pathLst>
            </a:custGeom>
            <a:grpFill/>
            <a:ln w="4262" cap="flat">
              <a:noFill/>
              <a:prstDash val="solid"/>
              <a:miter/>
            </a:ln>
          </p:spPr>
          <p:txBody>
            <a:bodyPr rtlCol="0" anchor="ctr"/>
            <a:lstStyle/>
            <a:p>
              <a:endParaRPr lang="es-ES">
                <a:solidFill>
                  <a:schemeClr val="bg1"/>
                </a:solidFill>
              </a:endParaRPr>
            </a:p>
          </p:txBody>
        </p:sp>
        <p:sp>
          <p:nvSpPr>
            <p:cNvPr id="95" name="Forma libre: forma 926">
              <a:extLst>
                <a:ext uri="{FF2B5EF4-FFF2-40B4-BE49-F238E27FC236}">
                  <a16:creationId xmlns:a16="http://schemas.microsoft.com/office/drawing/2014/main" id="{8EB02204-1AD2-33DE-1A20-D37B47E7A491}"/>
                </a:ext>
              </a:extLst>
            </p:cNvPr>
            <p:cNvSpPr/>
            <p:nvPr/>
          </p:nvSpPr>
          <p:spPr>
            <a:xfrm>
              <a:off x="5782935" y="3462927"/>
              <a:ext cx="109753" cy="17816"/>
            </a:xfrm>
            <a:custGeom>
              <a:avLst/>
              <a:gdLst>
                <a:gd name="connsiteX0" fmla="*/ 0 w 109753"/>
                <a:gd name="connsiteY0" fmla="*/ 0 h 17816"/>
                <a:gd name="connsiteX1" fmla="*/ 109754 w 109753"/>
                <a:gd name="connsiteY1" fmla="*/ 0 h 17816"/>
                <a:gd name="connsiteX2" fmla="*/ 109754 w 109753"/>
                <a:gd name="connsiteY2" fmla="*/ 17816 h 17816"/>
                <a:gd name="connsiteX3" fmla="*/ 0 w 109753"/>
                <a:gd name="connsiteY3" fmla="*/ 17816 h 17816"/>
              </a:gdLst>
              <a:ahLst/>
              <a:cxnLst>
                <a:cxn ang="0">
                  <a:pos x="connsiteX0" y="connsiteY0"/>
                </a:cxn>
                <a:cxn ang="0">
                  <a:pos x="connsiteX1" y="connsiteY1"/>
                </a:cxn>
                <a:cxn ang="0">
                  <a:pos x="connsiteX2" y="connsiteY2"/>
                </a:cxn>
                <a:cxn ang="0">
                  <a:pos x="connsiteX3" y="connsiteY3"/>
                </a:cxn>
              </a:cxnLst>
              <a:rect l="l" t="t" r="r" b="b"/>
              <a:pathLst>
                <a:path w="109753" h="17816">
                  <a:moveTo>
                    <a:pt x="0" y="0"/>
                  </a:moveTo>
                  <a:lnTo>
                    <a:pt x="109754" y="0"/>
                  </a:lnTo>
                  <a:lnTo>
                    <a:pt x="109754" y="17816"/>
                  </a:lnTo>
                  <a:lnTo>
                    <a:pt x="0" y="17816"/>
                  </a:lnTo>
                  <a:close/>
                </a:path>
              </a:pathLst>
            </a:custGeom>
            <a:grpFill/>
            <a:ln w="4262" cap="flat">
              <a:noFill/>
              <a:prstDash val="solid"/>
              <a:miter/>
            </a:ln>
          </p:spPr>
          <p:txBody>
            <a:bodyPr rtlCol="0" anchor="ctr"/>
            <a:lstStyle/>
            <a:p>
              <a:endParaRPr lang="es-ES">
                <a:solidFill>
                  <a:schemeClr val="bg1"/>
                </a:solidFill>
              </a:endParaRPr>
            </a:p>
          </p:txBody>
        </p:sp>
      </p:grpSp>
      <p:sp>
        <p:nvSpPr>
          <p:cNvPr id="127" name="Oval 14">
            <a:extLst>
              <a:ext uri="{FF2B5EF4-FFF2-40B4-BE49-F238E27FC236}">
                <a16:creationId xmlns:a16="http://schemas.microsoft.com/office/drawing/2014/main" id="{7AE030CE-5C97-307F-012E-6316786EEC7A}"/>
              </a:ext>
            </a:extLst>
          </p:cNvPr>
          <p:cNvSpPr/>
          <p:nvPr/>
        </p:nvSpPr>
        <p:spPr>
          <a:xfrm>
            <a:off x="949020" y="4466640"/>
            <a:ext cx="521208" cy="520401"/>
          </a:xfrm>
          <a:prstGeom prst="ellipse">
            <a:avLst/>
          </a:prstGeom>
          <a:solidFill>
            <a:srgbClr val="01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a:ln>
                <a:noFill/>
              </a:ln>
              <a:solidFill>
                <a:srgbClr val="FFFFFF"/>
              </a:solidFill>
              <a:effectLst/>
              <a:uLnTx/>
              <a:uFillTx/>
              <a:ea typeface="+mn-ea"/>
              <a:cs typeface="+mn-cs"/>
              <a:sym typeface="Arial"/>
            </a:endParaRPr>
          </a:p>
        </p:txBody>
      </p:sp>
      <p:grpSp>
        <p:nvGrpSpPr>
          <p:cNvPr id="117" name="Gráfico 1">
            <a:extLst>
              <a:ext uri="{FF2B5EF4-FFF2-40B4-BE49-F238E27FC236}">
                <a16:creationId xmlns:a16="http://schemas.microsoft.com/office/drawing/2014/main" id="{321C17AF-7C1E-6309-2562-1BA9FD4EF190}"/>
              </a:ext>
            </a:extLst>
          </p:cNvPr>
          <p:cNvGrpSpPr/>
          <p:nvPr/>
        </p:nvGrpSpPr>
        <p:grpSpPr>
          <a:xfrm>
            <a:off x="1033428" y="4569720"/>
            <a:ext cx="300985" cy="283394"/>
            <a:chOff x="2293730" y="4650861"/>
            <a:chExt cx="349566" cy="344370"/>
          </a:xfrm>
          <a:solidFill>
            <a:schemeClr val="bg1"/>
          </a:solidFill>
        </p:grpSpPr>
        <p:sp>
          <p:nvSpPr>
            <p:cNvPr id="118" name="Forma libre: forma 611">
              <a:extLst>
                <a:ext uri="{FF2B5EF4-FFF2-40B4-BE49-F238E27FC236}">
                  <a16:creationId xmlns:a16="http://schemas.microsoft.com/office/drawing/2014/main" id="{5BA228D7-37B1-B66D-E42B-30DD5229407E}"/>
                </a:ext>
              </a:extLst>
            </p:cNvPr>
            <p:cNvSpPr/>
            <p:nvPr/>
          </p:nvSpPr>
          <p:spPr>
            <a:xfrm>
              <a:off x="2293730" y="4664374"/>
              <a:ext cx="90694" cy="330857"/>
            </a:xfrm>
            <a:custGeom>
              <a:avLst/>
              <a:gdLst>
                <a:gd name="connsiteX0" fmla="*/ 81655 w 90694"/>
                <a:gd name="connsiteY0" fmla="*/ 0 h 330857"/>
                <a:gd name="connsiteX1" fmla="*/ 9039 w 90694"/>
                <a:gd name="connsiteY1" fmla="*/ 0 h 330857"/>
                <a:gd name="connsiteX2" fmla="*/ 0 w 90694"/>
                <a:gd name="connsiteY2" fmla="*/ 9039 h 330857"/>
                <a:gd name="connsiteX3" fmla="*/ 0 w 90694"/>
                <a:gd name="connsiteY3" fmla="*/ 321819 h 330857"/>
                <a:gd name="connsiteX4" fmla="*/ 9039 w 90694"/>
                <a:gd name="connsiteY4" fmla="*/ 330858 h 330857"/>
                <a:gd name="connsiteX5" fmla="*/ 81655 w 90694"/>
                <a:gd name="connsiteY5" fmla="*/ 330858 h 330857"/>
                <a:gd name="connsiteX6" fmla="*/ 90694 w 90694"/>
                <a:gd name="connsiteY6" fmla="*/ 321819 h 330857"/>
                <a:gd name="connsiteX7" fmla="*/ 90694 w 90694"/>
                <a:gd name="connsiteY7" fmla="*/ 9039 h 330857"/>
                <a:gd name="connsiteX8" fmla="*/ 81655 w 90694"/>
                <a:gd name="connsiteY8" fmla="*/ 0 h 330857"/>
                <a:gd name="connsiteX9" fmla="*/ 72616 w 90694"/>
                <a:gd name="connsiteY9" fmla="*/ 312779 h 330857"/>
                <a:gd name="connsiteX10" fmla="*/ 18078 w 90694"/>
                <a:gd name="connsiteY10" fmla="*/ 312779 h 330857"/>
                <a:gd name="connsiteX11" fmla="*/ 18078 w 90694"/>
                <a:gd name="connsiteY11" fmla="*/ 18078 h 330857"/>
                <a:gd name="connsiteX12" fmla="*/ 72616 w 90694"/>
                <a:gd name="connsiteY12" fmla="*/ 18078 h 330857"/>
                <a:gd name="connsiteX13" fmla="*/ 72616 w 90694"/>
                <a:gd name="connsiteY13" fmla="*/ 312779 h 33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694" h="330857">
                  <a:moveTo>
                    <a:pt x="81655" y="0"/>
                  </a:moveTo>
                  <a:lnTo>
                    <a:pt x="9039" y="0"/>
                  </a:lnTo>
                  <a:cubicBezTo>
                    <a:pt x="4065" y="0"/>
                    <a:pt x="0" y="4065"/>
                    <a:pt x="0" y="9039"/>
                  </a:cubicBezTo>
                  <a:lnTo>
                    <a:pt x="0" y="321819"/>
                  </a:lnTo>
                  <a:cubicBezTo>
                    <a:pt x="0" y="326792"/>
                    <a:pt x="4065" y="330858"/>
                    <a:pt x="9039" y="330858"/>
                  </a:cubicBezTo>
                  <a:lnTo>
                    <a:pt x="81655" y="330858"/>
                  </a:lnTo>
                  <a:cubicBezTo>
                    <a:pt x="86629" y="330858"/>
                    <a:pt x="90694" y="326792"/>
                    <a:pt x="90694" y="321819"/>
                  </a:cubicBezTo>
                  <a:lnTo>
                    <a:pt x="90694" y="9039"/>
                  </a:lnTo>
                  <a:cubicBezTo>
                    <a:pt x="90694" y="4065"/>
                    <a:pt x="86672" y="0"/>
                    <a:pt x="81655" y="0"/>
                  </a:cubicBezTo>
                  <a:close/>
                  <a:moveTo>
                    <a:pt x="72616" y="312779"/>
                  </a:moveTo>
                  <a:lnTo>
                    <a:pt x="18078" y="312779"/>
                  </a:lnTo>
                  <a:lnTo>
                    <a:pt x="18078" y="18078"/>
                  </a:lnTo>
                  <a:lnTo>
                    <a:pt x="72616" y="18078"/>
                  </a:lnTo>
                  <a:lnTo>
                    <a:pt x="72616" y="312779"/>
                  </a:lnTo>
                  <a:close/>
                </a:path>
              </a:pathLst>
            </a:custGeom>
            <a:grpFill/>
            <a:ln w="4325" cap="flat">
              <a:noFill/>
              <a:prstDash val="solid"/>
              <a:miter/>
            </a:ln>
          </p:spPr>
          <p:txBody>
            <a:bodyPr rtlCol="0" anchor="ctr"/>
            <a:lstStyle/>
            <a:p>
              <a:endParaRPr lang="es-ES">
                <a:solidFill>
                  <a:schemeClr val="bg1"/>
                </a:solidFill>
              </a:endParaRPr>
            </a:p>
          </p:txBody>
        </p:sp>
        <p:sp>
          <p:nvSpPr>
            <p:cNvPr id="119" name="Forma libre: forma 612">
              <a:extLst>
                <a:ext uri="{FF2B5EF4-FFF2-40B4-BE49-F238E27FC236}">
                  <a16:creationId xmlns:a16="http://schemas.microsoft.com/office/drawing/2014/main" id="{3FEFE96C-3A66-04E6-79B6-B11B7DF7E75A}"/>
                </a:ext>
              </a:extLst>
            </p:cNvPr>
            <p:cNvSpPr/>
            <p:nvPr/>
          </p:nvSpPr>
          <p:spPr>
            <a:xfrm>
              <a:off x="2327508" y="4893812"/>
              <a:ext cx="23182" cy="23182"/>
            </a:xfrm>
            <a:custGeom>
              <a:avLst/>
              <a:gdLst>
                <a:gd name="connsiteX0" fmla="*/ 11591 w 23182"/>
                <a:gd name="connsiteY0" fmla="*/ 23182 h 23182"/>
                <a:gd name="connsiteX1" fmla="*/ 23182 w 23182"/>
                <a:gd name="connsiteY1" fmla="*/ 11591 h 23182"/>
                <a:gd name="connsiteX2" fmla="*/ 11591 w 23182"/>
                <a:gd name="connsiteY2" fmla="*/ 0 h 23182"/>
                <a:gd name="connsiteX3" fmla="*/ 0 w 23182"/>
                <a:gd name="connsiteY3" fmla="*/ 11591 h 23182"/>
                <a:gd name="connsiteX4" fmla="*/ 11591 w 23182"/>
                <a:gd name="connsiteY4" fmla="*/ 23182 h 23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82" h="23182">
                  <a:moveTo>
                    <a:pt x="11591" y="23182"/>
                  </a:moveTo>
                  <a:cubicBezTo>
                    <a:pt x="17992" y="23182"/>
                    <a:pt x="23182" y="17992"/>
                    <a:pt x="23182" y="11591"/>
                  </a:cubicBezTo>
                  <a:cubicBezTo>
                    <a:pt x="23182" y="5190"/>
                    <a:pt x="17992" y="0"/>
                    <a:pt x="11591" y="0"/>
                  </a:cubicBezTo>
                  <a:cubicBezTo>
                    <a:pt x="5190" y="0"/>
                    <a:pt x="0" y="5190"/>
                    <a:pt x="0" y="11591"/>
                  </a:cubicBezTo>
                  <a:cubicBezTo>
                    <a:pt x="-43" y="17992"/>
                    <a:pt x="5190" y="23182"/>
                    <a:pt x="11591" y="23182"/>
                  </a:cubicBezTo>
                  <a:close/>
                </a:path>
              </a:pathLst>
            </a:custGeom>
            <a:grpFill/>
            <a:ln w="4325" cap="flat">
              <a:noFill/>
              <a:prstDash val="solid"/>
              <a:miter/>
            </a:ln>
          </p:spPr>
          <p:txBody>
            <a:bodyPr rtlCol="0" anchor="ctr"/>
            <a:lstStyle/>
            <a:p>
              <a:endParaRPr lang="es-ES">
                <a:solidFill>
                  <a:schemeClr val="bg1"/>
                </a:solidFill>
              </a:endParaRPr>
            </a:p>
          </p:txBody>
        </p:sp>
        <p:sp>
          <p:nvSpPr>
            <p:cNvPr id="120" name="Forma libre: forma 613">
              <a:extLst>
                <a:ext uri="{FF2B5EF4-FFF2-40B4-BE49-F238E27FC236}">
                  <a16:creationId xmlns:a16="http://schemas.microsoft.com/office/drawing/2014/main" id="{499AA2BC-082B-B6B6-B6EB-76B67975D92E}"/>
                </a:ext>
              </a:extLst>
            </p:cNvPr>
            <p:cNvSpPr/>
            <p:nvPr/>
          </p:nvSpPr>
          <p:spPr>
            <a:xfrm>
              <a:off x="2330060" y="4724491"/>
              <a:ext cx="18078" cy="135067"/>
            </a:xfrm>
            <a:custGeom>
              <a:avLst/>
              <a:gdLst>
                <a:gd name="connsiteX0" fmla="*/ 0 w 18078"/>
                <a:gd name="connsiteY0" fmla="*/ 0 h 135067"/>
                <a:gd name="connsiteX1" fmla="*/ 18078 w 18078"/>
                <a:gd name="connsiteY1" fmla="*/ 0 h 135067"/>
                <a:gd name="connsiteX2" fmla="*/ 18078 w 18078"/>
                <a:gd name="connsiteY2" fmla="*/ 135068 h 135067"/>
                <a:gd name="connsiteX3" fmla="*/ 0 w 18078"/>
                <a:gd name="connsiteY3" fmla="*/ 135068 h 135067"/>
              </a:gdLst>
              <a:ahLst/>
              <a:cxnLst>
                <a:cxn ang="0">
                  <a:pos x="connsiteX0" y="connsiteY0"/>
                </a:cxn>
                <a:cxn ang="0">
                  <a:pos x="connsiteX1" y="connsiteY1"/>
                </a:cxn>
                <a:cxn ang="0">
                  <a:pos x="connsiteX2" y="connsiteY2"/>
                </a:cxn>
                <a:cxn ang="0">
                  <a:pos x="connsiteX3" y="connsiteY3"/>
                </a:cxn>
              </a:cxnLst>
              <a:rect l="l" t="t" r="r" b="b"/>
              <a:pathLst>
                <a:path w="18078" h="135067">
                  <a:moveTo>
                    <a:pt x="0" y="0"/>
                  </a:moveTo>
                  <a:lnTo>
                    <a:pt x="18078" y="0"/>
                  </a:lnTo>
                  <a:lnTo>
                    <a:pt x="18078" y="135068"/>
                  </a:lnTo>
                  <a:lnTo>
                    <a:pt x="0" y="135068"/>
                  </a:lnTo>
                  <a:close/>
                </a:path>
              </a:pathLst>
            </a:custGeom>
            <a:grpFill/>
            <a:ln w="4325" cap="flat">
              <a:noFill/>
              <a:prstDash val="solid"/>
              <a:miter/>
            </a:ln>
          </p:spPr>
          <p:txBody>
            <a:bodyPr rtlCol="0" anchor="ctr"/>
            <a:lstStyle/>
            <a:p>
              <a:endParaRPr lang="es-ES">
                <a:solidFill>
                  <a:schemeClr val="bg1"/>
                </a:solidFill>
              </a:endParaRPr>
            </a:p>
          </p:txBody>
        </p:sp>
        <p:sp>
          <p:nvSpPr>
            <p:cNvPr id="121" name="Forma libre: forma 614">
              <a:extLst>
                <a:ext uri="{FF2B5EF4-FFF2-40B4-BE49-F238E27FC236}">
                  <a16:creationId xmlns:a16="http://schemas.microsoft.com/office/drawing/2014/main" id="{B9C7F381-53FE-84BE-B01F-E8B6C5CB5C63}"/>
                </a:ext>
              </a:extLst>
            </p:cNvPr>
            <p:cNvSpPr/>
            <p:nvPr/>
          </p:nvSpPr>
          <p:spPr>
            <a:xfrm>
              <a:off x="2397788" y="4664374"/>
              <a:ext cx="90694" cy="330857"/>
            </a:xfrm>
            <a:custGeom>
              <a:avLst/>
              <a:gdLst>
                <a:gd name="connsiteX0" fmla="*/ 81655 w 90694"/>
                <a:gd name="connsiteY0" fmla="*/ 0 h 330857"/>
                <a:gd name="connsiteX1" fmla="*/ 9039 w 90694"/>
                <a:gd name="connsiteY1" fmla="*/ 0 h 330857"/>
                <a:gd name="connsiteX2" fmla="*/ 0 w 90694"/>
                <a:gd name="connsiteY2" fmla="*/ 9039 h 330857"/>
                <a:gd name="connsiteX3" fmla="*/ 0 w 90694"/>
                <a:gd name="connsiteY3" fmla="*/ 321819 h 330857"/>
                <a:gd name="connsiteX4" fmla="*/ 9039 w 90694"/>
                <a:gd name="connsiteY4" fmla="*/ 330858 h 330857"/>
                <a:gd name="connsiteX5" fmla="*/ 81655 w 90694"/>
                <a:gd name="connsiteY5" fmla="*/ 330858 h 330857"/>
                <a:gd name="connsiteX6" fmla="*/ 90694 w 90694"/>
                <a:gd name="connsiteY6" fmla="*/ 321819 h 330857"/>
                <a:gd name="connsiteX7" fmla="*/ 90694 w 90694"/>
                <a:gd name="connsiteY7" fmla="*/ 9039 h 330857"/>
                <a:gd name="connsiteX8" fmla="*/ 81655 w 90694"/>
                <a:gd name="connsiteY8" fmla="*/ 0 h 330857"/>
                <a:gd name="connsiteX9" fmla="*/ 72616 w 90694"/>
                <a:gd name="connsiteY9" fmla="*/ 312779 h 330857"/>
                <a:gd name="connsiteX10" fmla="*/ 18078 w 90694"/>
                <a:gd name="connsiteY10" fmla="*/ 312779 h 330857"/>
                <a:gd name="connsiteX11" fmla="*/ 18078 w 90694"/>
                <a:gd name="connsiteY11" fmla="*/ 18078 h 330857"/>
                <a:gd name="connsiteX12" fmla="*/ 72616 w 90694"/>
                <a:gd name="connsiteY12" fmla="*/ 18078 h 330857"/>
                <a:gd name="connsiteX13" fmla="*/ 72616 w 90694"/>
                <a:gd name="connsiteY13" fmla="*/ 312779 h 33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694" h="330857">
                  <a:moveTo>
                    <a:pt x="81655" y="0"/>
                  </a:moveTo>
                  <a:lnTo>
                    <a:pt x="9039" y="0"/>
                  </a:lnTo>
                  <a:cubicBezTo>
                    <a:pt x="4065" y="0"/>
                    <a:pt x="0" y="4065"/>
                    <a:pt x="0" y="9039"/>
                  </a:cubicBezTo>
                  <a:lnTo>
                    <a:pt x="0" y="321819"/>
                  </a:lnTo>
                  <a:cubicBezTo>
                    <a:pt x="0" y="326792"/>
                    <a:pt x="4065" y="330858"/>
                    <a:pt x="9039" y="330858"/>
                  </a:cubicBezTo>
                  <a:lnTo>
                    <a:pt x="81655" y="330858"/>
                  </a:lnTo>
                  <a:cubicBezTo>
                    <a:pt x="86629" y="330858"/>
                    <a:pt x="90694" y="326792"/>
                    <a:pt x="90694" y="321819"/>
                  </a:cubicBezTo>
                  <a:lnTo>
                    <a:pt x="90694" y="9039"/>
                  </a:lnTo>
                  <a:cubicBezTo>
                    <a:pt x="90694" y="4065"/>
                    <a:pt x="86629" y="0"/>
                    <a:pt x="81655" y="0"/>
                  </a:cubicBezTo>
                  <a:close/>
                  <a:moveTo>
                    <a:pt x="72616" y="312779"/>
                  </a:moveTo>
                  <a:lnTo>
                    <a:pt x="18078" y="312779"/>
                  </a:lnTo>
                  <a:lnTo>
                    <a:pt x="18078" y="18078"/>
                  </a:lnTo>
                  <a:lnTo>
                    <a:pt x="72616" y="18078"/>
                  </a:lnTo>
                  <a:lnTo>
                    <a:pt x="72616" y="312779"/>
                  </a:lnTo>
                  <a:close/>
                </a:path>
              </a:pathLst>
            </a:custGeom>
            <a:grpFill/>
            <a:ln w="4325" cap="flat">
              <a:noFill/>
              <a:prstDash val="solid"/>
              <a:miter/>
            </a:ln>
          </p:spPr>
          <p:txBody>
            <a:bodyPr rtlCol="0" anchor="ctr"/>
            <a:lstStyle/>
            <a:p>
              <a:endParaRPr lang="es-ES">
                <a:solidFill>
                  <a:schemeClr val="bg1"/>
                </a:solidFill>
              </a:endParaRPr>
            </a:p>
          </p:txBody>
        </p:sp>
        <p:sp>
          <p:nvSpPr>
            <p:cNvPr id="122" name="Forma libre: forma 615">
              <a:extLst>
                <a:ext uri="{FF2B5EF4-FFF2-40B4-BE49-F238E27FC236}">
                  <a16:creationId xmlns:a16="http://schemas.microsoft.com/office/drawing/2014/main" id="{B730497C-2ADE-7690-D59F-7191F31F8A00}"/>
                </a:ext>
              </a:extLst>
            </p:cNvPr>
            <p:cNvSpPr/>
            <p:nvPr/>
          </p:nvSpPr>
          <p:spPr>
            <a:xfrm>
              <a:off x="2431523" y="4893812"/>
              <a:ext cx="23181" cy="23182"/>
            </a:xfrm>
            <a:custGeom>
              <a:avLst/>
              <a:gdLst>
                <a:gd name="connsiteX0" fmla="*/ 11591 w 23181"/>
                <a:gd name="connsiteY0" fmla="*/ 23182 h 23182"/>
                <a:gd name="connsiteX1" fmla="*/ 23182 w 23181"/>
                <a:gd name="connsiteY1" fmla="*/ 11591 h 23182"/>
                <a:gd name="connsiteX2" fmla="*/ 11591 w 23181"/>
                <a:gd name="connsiteY2" fmla="*/ 0 h 23182"/>
                <a:gd name="connsiteX3" fmla="*/ 0 w 23181"/>
                <a:gd name="connsiteY3" fmla="*/ 11591 h 23182"/>
                <a:gd name="connsiteX4" fmla="*/ 11591 w 23181"/>
                <a:gd name="connsiteY4" fmla="*/ 23182 h 23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81" h="23182">
                  <a:moveTo>
                    <a:pt x="11591" y="23182"/>
                  </a:moveTo>
                  <a:cubicBezTo>
                    <a:pt x="17992" y="23182"/>
                    <a:pt x="23182" y="17992"/>
                    <a:pt x="23182" y="11591"/>
                  </a:cubicBezTo>
                  <a:cubicBezTo>
                    <a:pt x="23182" y="5190"/>
                    <a:pt x="17992" y="0"/>
                    <a:pt x="11591" y="0"/>
                  </a:cubicBezTo>
                  <a:cubicBezTo>
                    <a:pt x="5190" y="0"/>
                    <a:pt x="0" y="5190"/>
                    <a:pt x="0" y="11591"/>
                  </a:cubicBezTo>
                  <a:cubicBezTo>
                    <a:pt x="0" y="17992"/>
                    <a:pt x="5190" y="23182"/>
                    <a:pt x="11591" y="23182"/>
                  </a:cubicBezTo>
                  <a:close/>
                </a:path>
              </a:pathLst>
            </a:custGeom>
            <a:grpFill/>
            <a:ln w="4325" cap="flat">
              <a:noFill/>
              <a:prstDash val="solid"/>
              <a:miter/>
            </a:ln>
          </p:spPr>
          <p:txBody>
            <a:bodyPr rtlCol="0" anchor="ctr"/>
            <a:lstStyle/>
            <a:p>
              <a:endParaRPr lang="es-ES">
                <a:solidFill>
                  <a:schemeClr val="bg1"/>
                </a:solidFill>
              </a:endParaRPr>
            </a:p>
          </p:txBody>
        </p:sp>
        <p:sp>
          <p:nvSpPr>
            <p:cNvPr id="123" name="Forma libre: forma 616">
              <a:extLst>
                <a:ext uri="{FF2B5EF4-FFF2-40B4-BE49-F238E27FC236}">
                  <a16:creationId xmlns:a16="http://schemas.microsoft.com/office/drawing/2014/main" id="{249FE7A2-91F9-BE1F-009C-C2E59C1C3B4D}"/>
                </a:ext>
              </a:extLst>
            </p:cNvPr>
            <p:cNvSpPr/>
            <p:nvPr/>
          </p:nvSpPr>
          <p:spPr>
            <a:xfrm>
              <a:off x="2434075" y="4724491"/>
              <a:ext cx="18078" cy="135067"/>
            </a:xfrm>
            <a:custGeom>
              <a:avLst/>
              <a:gdLst>
                <a:gd name="connsiteX0" fmla="*/ 0 w 18078"/>
                <a:gd name="connsiteY0" fmla="*/ 0 h 135067"/>
                <a:gd name="connsiteX1" fmla="*/ 18078 w 18078"/>
                <a:gd name="connsiteY1" fmla="*/ 0 h 135067"/>
                <a:gd name="connsiteX2" fmla="*/ 18078 w 18078"/>
                <a:gd name="connsiteY2" fmla="*/ 135068 h 135067"/>
                <a:gd name="connsiteX3" fmla="*/ 0 w 18078"/>
                <a:gd name="connsiteY3" fmla="*/ 135068 h 135067"/>
              </a:gdLst>
              <a:ahLst/>
              <a:cxnLst>
                <a:cxn ang="0">
                  <a:pos x="connsiteX0" y="connsiteY0"/>
                </a:cxn>
                <a:cxn ang="0">
                  <a:pos x="connsiteX1" y="connsiteY1"/>
                </a:cxn>
                <a:cxn ang="0">
                  <a:pos x="connsiteX2" y="connsiteY2"/>
                </a:cxn>
                <a:cxn ang="0">
                  <a:pos x="connsiteX3" y="connsiteY3"/>
                </a:cxn>
              </a:cxnLst>
              <a:rect l="l" t="t" r="r" b="b"/>
              <a:pathLst>
                <a:path w="18078" h="135067">
                  <a:moveTo>
                    <a:pt x="0" y="0"/>
                  </a:moveTo>
                  <a:lnTo>
                    <a:pt x="18078" y="0"/>
                  </a:lnTo>
                  <a:lnTo>
                    <a:pt x="18078" y="135068"/>
                  </a:lnTo>
                  <a:lnTo>
                    <a:pt x="0" y="135068"/>
                  </a:lnTo>
                  <a:close/>
                </a:path>
              </a:pathLst>
            </a:custGeom>
            <a:grpFill/>
            <a:ln w="4325" cap="flat">
              <a:noFill/>
              <a:prstDash val="solid"/>
              <a:miter/>
            </a:ln>
          </p:spPr>
          <p:txBody>
            <a:bodyPr rtlCol="0" anchor="ctr"/>
            <a:lstStyle/>
            <a:p>
              <a:endParaRPr lang="es-ES">
                <a:solidFill>
                  <a:schemeClr val="bg1"/>
                </a:solidFill>
              </a:endParaRPr>
            </a:p>
          </p:txBody>
        </p:sp>
        <p:sp>
          <p:nvSpPr>
            <p:cNvPr id="124" name="Forma libre: forma 617">
              <a:extLst>
                <a:ext uri="{FF2B5EF4-FFF2-40B4-BE49-F238E27FC236}">
                  <a16:creationId xmlns:a16="http://schemas.microsoft.com/office/drawing/2014/main" id="{ADFA21E7-CEBA-0AA2-EA23-560846421FBD}"/>
                </a:ext>
              </a:extLst>
            </p:cNvPr>
            <p:cNvSpPr/>
            <p:nvPr/>
          </p:nvSpPr>
          <p:spPr>
            <a:xfrm>
              <a:off x="2495985" y="4650861"/>
              <a:ext cx="147311" cy="338878"/>
            </a:xfrm>
            <a:custGeom>
              <a:avLst/>
              <a:gdLst>
                <a:gd name="connsiteX0" fmla="*/ 147157 w 147311"/>
                <a:gd name="connsiteY0" fmla="*/ 314745 h 338878"/>
                <a:gd name="connsiteX1" fmla="*/ 89289 w 147311"/>
                <a:gd name="connsiteY1" fmla="*/ 7372 h 338878"/>
                <a:gd name="connsiteX2" fmla="*/ 85527 w 147311"/>
                <a:gd name="connsiteY2" fmla="*/ 1576 h 338878"/>
                <a:gd name="connsiteX3" fmla="*/ 78737 w 147311"/>
                <a:gd name="connsiteY3" fmla="*/ 149 h 338878"/>
                <a:gd name="connsiteX4" fmla="*/ 7375 w 147311"/>
                <a:gd name="connsiteY4" fmla="*/ 13600 h 338878"/>
                <a:gd name="connsiteX5" fmla="*/ 152 w 147311"/>
                <a:gd name="connsiteY5" fmla="*/ 24152 h 338878"/>
                <a:gd name="connsiteX6" fmla="*/ 58020 w 147311"/>
                <a:gd name="connsiteY6" fmla="*/ 331526 h 338878"/>
                <a:gd name="connsiteX7" fmla="*/ 66886 w 147311"/>
                <a:gd name="connsiteY7" fmla="*/ 338878 h 338878"/>
                <a:gd name="connsiteX8" fmla="*/ 68573 w 147311"/>
                <a:gd name="connsiteY8" fmla="*/ 338705 h 338878"/>
                <a:gd name="connsiteX9" fmla="*/ 139934 w 147311"/>
                <a:gd name="connsiteY9" fmla="*/ 325298 h 338878"/>
                <a:gd name="connsiteX10" fmla="*/ 145730 w 147311"/>
                <a:gd name="connsiteY10" fmla="*/ 321535 h 338878"/>
                <a:gd name="connsiteX11" fmla="*/ 147157 w 147311"/>
                <a:gd name="connsiteY11" fmla="*/ 314745 h 338878"/>
                <a:gd name="connsiteX12" fmla="*/ 74152 w 147311"/>
                <a:gd name="connsiteY12" fmla="*/ 319286 h 338878"/>
                <a:gd name="connsiteX13" fmla="*/ 19658 w 147311"/>
                <a:gd name="connsiteY13" fmla="*/ 29645 h 338878"/>
                <a:gd name="connsiteX14" fmla="*/ 73244 w 147311"/>
                <a:gd name="connsiteY14" fmla="*/ 19568 h 338878"/>
                <a:gd name="connsiteX15" fmla="*/ 127738 w 147311"/>
                <a:gd name="connsiteY15" fmla="*/ 309209 h 338878"/>
                <a:gd name="connsiteX16" fmla="*/ 74152 w 147311"/>
                <a:gd name="connsiteY16" fmla="*/ 319286 h 33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311" h="338878">
                  <a:moveTo>
                    <a:pt x="147157" y="314745"/>
                  </a:moveTo>
                  <a:lnTo>
                    <a:pt x="89289" y="7372"/>
                  </a:lnTo>
                  <a:cubicBezTo>
                    <a:pt x="88857" y="5036"/>
                    <a:pt x="87473" y="2917"/>
                    <a:pt x="85527" y="1576"/>
                  </a:cubicBezTo>
                  <a:cubicBezTo>
                    <a:pt x="83537" y="235"/>
                    <a:pt x="81115" y="-284"/>
                    <a:pt x="78737" y="149"/>
                  </a:cubicBezTo>
                  <a:lnTo>
                    <a:pt x="7375" y="13600"/>
                  </a:lnTo>
                  <a:cubicBezTo>
                    <a:pt x="2488" y="14508"/>
                    <a:pt x="-756" y="19265"/>
                    <a:pt x="152" y="24152"/>
                  </a:cubicBezTo>
                  <a:lnTo>
                    <a:pt x="58020" y="331526"/>
                  </a:lnTo>
                  <a:cubicBezTo>
                    <a:pt x="58842" y="335851"/>
                    <a:pt x="62648" y="338878"/>
                    <a:pt x="66886" y="338878"/>
                  </a:cubicBezTo>
                  <a:cubicBezTo>
                    <a:pt x="67449" y="338878"/>
                    <a:pt x="68011" y="338835"/>
                    <a:pt x="68573" y="338705"/>
                  </a:cubicBezTo>
                  <a:lnTo>
                    <a:pt x="139934" y="325298"/>
                  </a:lnTo>
                  <a:cubicBezTo>
                    <a:pt x="142270" y="324865"/>
                    <a:pt x="144389" y="323482"/>
                    <a:pt x="145730" y="321535"/>
                  </a:cubicBezTo>
                  <a:cubicBezTo>
                    <a:pt x="147114" y="319546"/>
                    <a:pt x="147589" y="317080"/>
                    <a:pt x="147157" y="314745"/>
                  </a:cubicBezTo>
                  <a:close/>
                  <a:moveTo>
                    <a:pt x="74152" y="319286"/>
                  </a:moveTo>
                  <a:lnTo>
                    <a:pt x="19658" y="29645"/>
                  </a:lnTo>
                  <a:lnTo>
                    <a:pt x="73244" y="19568"/>
                  </a:lnTo>
                  <a:lnTo>
                    <a:pt x="127738" y="309209"/>
                  </a:lnTo>
                  <a:lnTo>
                    <a:pt x="74152" y="319286"/>
                  </a:lnTo>
                  <a:close/>
                </a:path>
              </a:pathLst>
            </a:custGeom>
            <a:grpFill/>
            <a:ln w="4325" cap="flat">
              <a:noFill/>
              <a:prstDash val="solid"/>
              <a:miter/>
            </a:ln>
          </p:spPr>
          <p:txBody>
            <a:bodyPr rtlCol="0" anchor="ctr"/>
            <a:lstStyle/>
            <a:p>
              <a:endParaRPr lang="es-ES">
                <a:solidFill>
                  <a:schemeClr val="bg1"/>
                </a:solidFill>
              </a:endParaRPr>
            </a:p>
          </p:txBody>
        </p:sp>
        <p:sp>
          <p:nvSpPr>
            <p:cNvPr id="125" name="Forma libre: forma 618">
              <a:extLst>
                <a:ext uri="{FF2B5EF4-FFF2-40B4-BE49-F238E27FC236}">
                  <a16:creationId xmlns:a16="http://schemas.microsoft.com/office/drawing/2014/main" id="{C17E03BC-4CA2-2D38-6E38-7CCD36C0690C}"/>
                </a:ext>
              </a:extLst>
            </p:cNvPr>
            <p:cNvSpPr/>
            <p:nvPr/>
          </p:nvSpPr>
          <p:spPr>
            <a:xfrm>
              <a:off x="2572046" y="4882963"/>
              <a:ext cx="23212" cy="23212"/>
            </a:xfrm>
            <a:custGeom>
              <a:avLst/>
              <a:gdLst>
                <a:gd name="connsiteX0" fmla="*/ 9465 w 23212"/>
                <a:gd name="connsiteY0" fmla="*/ 210 h 23212"/>
                <a:gd name="connsiteX1" fmla="*/ 210 w 23212"/>
                <a:gd name="connsiteY1" fmla="*/ 13747 h 23212"/>
                <a:gd name="connsiteX2" fmla="*/ 13747 w 23212"/>
                <a:gd name="connsiteY2" fmla="*/ 23003 h 23212"/>
                <a:gd name="connsiteX3" fmla="*/ 23002 w 23212"/>
                <a:gd name="connsiteY3" fmla="*/ 9422 h 23212"/>
                <a:gd name="connsiteX4" fmla="*/ 9465 w 23212"/>
                <a:gd name="connsiteY4" fmla="*/ 210 h 2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2" h="23212">
                  <a:moveTo>
                    <a:pt x="9465" y="210"/>
                  </a:moveTo>
                  <a:cubicBezTo>
                    <a:pt x="3151" y="1378"/>
                    <a:pt x="-1001" y="7476"/>
                    <a:pt x="210" y="13747"/>
                  </a:cubicBezTo>
                  <a:cubicBezTo>
                    <a:pt x="1378" y="20061"/>
                    <a:pt x="7476" y="24214"/>
                    <a:pt x="13747" y="23003"/>
                  </a:cubicBezTo>
                  <a:cubicBezTo>
                    <a:pt x="20062" y="21835"/>
                    <a:pt x="24213" y="15736"/>
                    <a:pt x="23002" y="9422"/>
                  </a:cubicBezTo>
                  <a:cubicBezTo>
                    <a:pt x="21835" y="3151"/>
                    <a:pt x="15737" y="-1001"/>
                    <a:pt x="9465" y="210"/>
                  </a:cubicBezTo>
                  <a:close/>
                </a:path>
              </a:pathLst>
            </a:custGeom>
            <a:grpFill/>
            <a:ln w="4325" cap="flat">
              <a:noFill/>
              <a:prstDash val="solid"/>
              <a:miter/>
            </a:ln>
          </p:spPr>
          <p:txBody>
            <a:bodyPr rtlCol="0" anchor="ctr"/>
            <a:lstStyle/>
            <a:p>
              <a:endParaRPr lang="es-ES">
                <a:solidFill>
                  <a:schemeClr val="bg1"/>
                </a:solidFill>
              </a:endParaRPr>
            </a:p>
          </p:txBody>
        </p:sp>
        <p:sp>
          <p:nvSpPr>
            <p:cNvPr id="126" name="Forma libre: forma 619">
              <a:extLst>
                <a:ext uri="{FF2B5EF4-FFF2-40B4-BE49-F238E27FC236}">
                  <a16:creationId xmlns:a16="http://schemas.microsoft.com/office/drawing/2014/main" id="{78832F24-A728-9F35-A505-A7699036F1EF}"/>
                </a:ext>
              </a:extLst>
            </p:cNvPr>
            <p:cNvSpPr/>
            <p:nvPr/>
          </p:nvSpPr>
          <p:spPr>
            <a:xfrm rot="-639291">
              <a:off x="2553580" y="4715946"/>
              <a:ext cx="18078" cy="135073"/>
            </a:xfrm>
            <a:custGeom>
              <a:avLst/>
              <a:gdLst>
                <a:gd name="connsiteX0" fmla="*/ 0 w 18078"/>
                <a:gd name="connsiteY0" fmla="*/ 0 h 135073"/>
                <a:gd name="connsiteX1" fmla="*/ 18079 w 18078"/>
                <a:gd name="connsiteY1" fmla="*/ 0 h 135073"/>
                <a:gd name="connsiteX2" fmla="*/ 18079 w 18078"/>
                <a:gd name="connsiteY2" fmla="*/ 135073 h 135073"/>
                <a:gd name="connsiteX3" fmla="*/ 0 w 18078"/>
                <a:gd name="connsiteY3" fmla="*/ 135073 h 135073"/>
              </a:gdLst>
              <a:ahLst/>
              <a:cxnLst>
                <a:cxn ang="0">
                  <a:pos x="connsiteX0" y="connsiteY0"/>
                </a:cxn>
                <a:cxn ang="0">
                  <a:pos x="connsiteX1" y="connsiteY1"/>
                </a:cxn>
                <a:cxn ang="0">
                  <a:pos x="connsiteX2" y="connsiteY2"/>
                </a:cxn>
                <a:cxn ang="0">
                  <a:pos x="connsiteX3" y="connsiteY3"/>
                </a:cxn>
              </a:cxnLst>
              <a:rect l="l" t="t" r="r" b="b"/>
              <a:pathLst>
                <a:path w="18078" h="135073">
                  <a:moveTo>
                    <a:pt x="0" y="0"/>
                  </a:moveTo>
                  <a:lnTo>
                    <a:pt x="18079" y="0"/>
                  </a:lnTo>
                  <a:lnTo>
                    <a:pt x="18079" y="135073"/>
                  </a:lnTo>
                  <a:lnTo>
                    <a:pt x="0" y="135073"/>
                  </a:lnTo>
                  <a:close/>
                </a:path>
              </a:pathLst>
            </a:custGeom>
            <a:grpFill/>
            <a:ln w="4325" cap="flat">
              <a:noFill/>
              <a:prstDash val="solid"/>
              <a:miter/>
            </a:ln>
          </p:spPr>
          <p:txBody>
            <a:bodyPr rtlCol="0" anchor="ctr"/>
            <a:lstStyle/>
            <a:p>
              <a:endParaRPr lang="es-ES">
                <a:solidFill>
                  <a:schemeClr val="bg1"/>
                </a:solidFill>
              </a:endParaRPr>
            </a:p>
          </p:txBody>
        </p:sp>
      </p:grpSp>
      <p:pic>
        <p:nvPicPr>
          <p:cNvPr id="136" name="Imagem 135">
            <a:extLst>
              <a:ext uri="{FF2B5EF4-FFF2-40B4-BE49-F238E27FC236}">
                <a16:creationId xmlns:a16="http://schemas.microsoft.com/office/drawing/2014/main" id="{DE56211B-E78E-F77C-0F36-7377B17406F7}"/>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3604679" y="3499307"/>
            <a:ext cx="543523" cy="421653"/>
          </a:xfrm>
          <a:prstGeom prst="rect">
            <a:avLst/>
          </a:prstGeom>
        </p:spPr>
      </p:pic>
      <p:pic>
        <p:nvPicPr>
          <p:cNvPr id="130" name="Imagem 129">
            <a:extLst>
              <a:ext uri="{FF2B5EF4-FFF2-40B4-BE49-F238E27FC236}">
                <a16:creationId xmlns:a16="http://schemas.microsoft.com/office/drawing/2014/main" id="{03C2AB4E-E669-D5A4-850F-E751CB6E98B8}"/>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3972563" y="1771318"/>
            <a:ext cx="543523" cy="421653"/>
          </a:xfrm>
          <a:prstGeom prst="rect">
            <a:avLst/>
          </a:prstGeom>
        </p:spPr>
      </p:pic>
      <p:pic>
        <p:nvPicPr>
          <p:cNvPr id="131" name="Imagem 130">
            <a:extLst>
              <a:ext uri="{FF2B5EF4-FFF2-40B4-BE49-F238E27FC236}">
                <a16:creationId xmlns:a16="http://schemas.microsoft.com/office/drawing/2014/main" id="{FCB9A5AD-A576-E0BE-6B1B-2DD4B8E29C88}"/>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5026709" y="1771318"/>
            <a:ext cx="543523" cy="421653"/>
          </a:xfrm>
          <a:prstGeom prst="rect">
            <a:avLst/>
          </a:prstGeom>
        </p:spPr>
      </p:pic>
      <p:pic>
        <p:nvPicPr>
          <p:cNvPr id="132" name="Imagem 131">
            <a:extLst>
              <a:ext uri="{FF2B5EF4-FFF2-40B4-BE49-F238E27FC236}">
                <a16:creationId xmlns:a16="http://schemas.microsoft.com/office/drawing/2014/main" id="{DBD88248-990A-A6D7-371B-0AED4013329C}"/>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5987379" y="1771318"/>
            <a:ext cx="543523" cy="421653"/>
          </a:xfrm>
          <a:prstGeom prst="rect">
            <a:avLst/>
          </a:prstGeom>
        </p:spPr>
      </p:pic>
      <p:pic>
        <p:nvPicPr>
          <p:cNvPr id="133" name="Imagem 132">
            <a:extLst>
              <a:ext uri="{FF2B5EF4-FFF2-40B4-BE49-F238E27FC236}">
                <a16:creationId xmlns:a16="http://schemas.microsoft.com/office/drawing/2014/main" id="{0EF47279-1B1A-C189-E7A0-6B62C6C0FB26}"/>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6883223" y="1771318"/>
            <a:ext cx="543523" cy="421653"/>
          </a:xfrm>
          <a:prstGeom prst="rect">
            <a:avLst/>
          </a:prstGeom>
        </p:spPr>
      </p:pic>
      <p:pic>
        <p:nvPicPr>
          <p:cNvPr id="134" name="Imagem 133">
            <a:extLst>
              <a:ext uri="{FF2B5EF4-FFF2-40B4-BE49-F238E27FC236}">
                <a16:creationId xmlns:a16="http://schemas.microsoft.com/office/drawing/2014/main" id="{EB68F64B-08DF-9259-8CF4-086B347647BB}"/>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8894203" y="1771318"/>
            <a:ext cx="543523" cy="421653"/>
          </a:xfrm>
          <a:prstGeom prst="rect">
            <a:avLst/>
          </a:prstGeom>
        </p:spPr>
      </p:pic>
      <p:pic>
        <p:nvPicPr>
          <p:cNvPr id="135" name="Imagem 134">
            <a:extLst>
              <a:ext uri="{FF2B5EF4-FFF2-40B4-BE49-F238E27FC236}">
                <a16:creationId xmlns:a16="http://schemas.microsoft.com/office/drawing/2014/main" id="{8EE3A587-A12A-70AC-BC85-B561E6902E3E}"/>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9955743" y="1771318"/>
            <a:ext cx="543523" cy="421653"/>
          </a:xfrm>
          <a:prstGeom prst="rect">
            <a:avLst/>
          </a:prstGeom>
        </p:spPr>
      </p:pic>
      <p:pic>
        <p:nvPicPr>
          <p:cNvPr id="137" name="Imagem 136">
            <a:extLst>
              <a:ext uri="{FF2B5EF4-FFF2-40B4-BE49-F238E27FC236}">
                <a16:creationId xmlns:a16="http://schemas.microsoft.com/office/drawing/2014/main" id="{5073C15A-EA22-0C83-1C5B-1D220BC3FE95}"/>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4585468" y="3499307"/>
            <a:ext cx="543523" cy="421653"/>
          </a:xfrm>
          <a:prstGeom prst="rect">
            <a:avLst/>
          </a:prstGeom>
        </p:spPr>
      </p:pic>
      <p:pic>
        <p:nvPicPr>
          <p:cNvPr id="138" name="Imagem 137">
            <a:extLst>
              <a:ext uri="{FF2B5EF4-FFF2-40B4-BE49-F238E27FC236}">
                <a16:creationId xmlns:a16="http://schemas.microsoft.com/office/drawing/2014/main" id="{153274C2-1801-01EF-3F6B-8354280238AB}"/>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5475704" y="3499307"/>
            <a:ext cx="543523" cy="421653"/>
          </a:xfrm>
          <a:prstGeom prst="rect">
            <a:avLst/>
          </a:prstGeom>
        </p:spPr>
      </p:pic>
      <p:pic>
        <p:nvPicPr>
          <p:cNvPr id="139" name="Imagem 138">
            <a:extLst>
              <a:ext uri="{FF2B5EF4-FFF2-40B4-BE49-F238E27FC236}">
                <a16:creationId xmlns:a16="http://schemas.microsoft.com/office/drawing/2014/main" id="{A5C176F1-6A93-31A8-3A66-889F2711E3F7}"/>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6375895" y="3499307"/>
            <a:ext cx="543523" cy="421653"/>
          </a:xfrm>
          <a:prstGeom prst="rect">
            <a:avLst/>
          </a:prstGeom>
        </p:spPr>
      </p:pic>
      <p:pic>
        <p:nvPicPr>
          <p:cNvPr id="140" name="Imagem 139">
            <a:extLst>
              <a:ext uri="{FF2B5EF4-FFF2-40B4-BE49-F238E27FC236}">
                <a16:creationId xmlns:a16="http://schemas.microsoft.com/office/drawing/2014/main" id="{D46F9EF1-C95F-16DD-599D-B60F9B309482}"/>
              </a:ext>
            </a:extLst>
          </p:cNvPr>
          <p:cNvPicPr>
            <a:picLocks noChangeAspect="1"/>
          </p:cNvPicPr>
          <p:nvPr/>
        </p:nvPicPr>
        <p:blipFill>
          <a:blip r:embed="rId42">
            <a:clrChange>
              <a:clrFrom>
                <a:srgbClr val="FFFFFF"/>
              </a:clrFrom>
              <a:clrTo>
                <a:srgbClr val="FFFFFF">
                  <a:alpha val="0"/>
                </a:srgbClr>
              </a:clrTo>
            </a:clrChange>
          </a:blip>
          <a:stretch>
            <a:fillRect/>
          </a:stretch>
        </p:blipFill>
        <p:spPr>
          <a:xfrm>
            <a:off x="7346111" y="3499307"/>
            <a:ext cx="543523" cy="421653"/>
          </a:xfrm>
          <a:prstGeom prst="rect">
            <a:avLst/>
          </a:prstGeom>
        </p:spPr>
      </p:pic>
    </p:spTree>
    <p:extLst>
      <p:ext uri="{BB962C8B-B14F-4D97-AF65-F5344CB8AC3E}">
        <p14:creationId xmlns:p14="http://schemas.microsoft.com/office/powerpoint/2010/main" val="867526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tângulo 23">
            <a:extLst>
              <a:ext uri="{FF2B5EF4-FFF2-40B4-BE49-F238E27FC236}">
                <a16:creationId xmlns:a16="http://schemas.microsoft.com/office/drawing/2014/main" id="{F201020D-E8D9-40BD-BBB0-34399D82CCA5}"/>
              </a:ext>
            </a:extLst>
          </p:cNvPr>
          <p:cNvSpPr/>
          <p:nvPr/>
        </p:nvSpPr>
        <p:spPr>
          <a:xfrm>
            <a:off x="6923455" y="1684041"/>
            <a:ext cx="4401037" cy="3539430"/>
          </a:xfrm>
          <a:prstGeom prst="rect">
            <a:avLst/>
          </a:prstGeom>
        </p:spPr>
        <p:txBody>
          <a:bodyPr wrap="square">
            <a:spAutoFit/>
          </a:bodyPr>
          <a:lstStyle/>
          <a:p>
            <a:pPr marL="171450" indent="-171450">
              <a:buFont typeface="Arial" panose="020B0604020202020204" pitchFamily="34" charset="0"/>
              <a:buChar char="•"/>
            </a:pPr>
            <a:r>
              <a:rPr lang="pt-BR" sz="1600" dirty="0">
                <a:solidFill>
                  <a:srgbClr val="01426A"/>
                </a:solidFill>
              </a:rPr>
              <a:t>Controle centralizado</a:t>
            </a:r>
          </a:p>
          <a:p>
            <a:pPr marL="171450" indent="-171450">
              <a:buFont typeface="Arial" panose="020B0604020202020204" pitchFamily="34" charset="0"/>
              <a:buChar char="•"/>
            </a:pPr>
            <a:endParaRPr lang="pt-BR" sz="1600" dirty="0">
              <a:solidFill>
                <a:srgbClr val="01426A"/>
              </a:solidFill>
            </a:endParaRPr>
          </a:p>
          <a:p>
            <a:pPr marL="171450" indent="-171450">
              <a:buFont typeface="Arial" panose="020B0604020202020204" pitchFamily="34" charset="0"/>
              <a:buChar char="•"/>
            </a:pPr>
            <a:r>
              <a:rPr lang="pt-BR" sz="1600" dirty="0">
                <a:solidFill>
                  <a:srgbClr val="01426A"/>
                </a:solidFill>
              </a:rPr>
              <a:t>Processos padronizados</a:t>
            </a:r>
          </a:p>
          <a:p>
            <a:pPr marL="171450" indent="-171450">
              <a:buFont typeface="Arial" panose="020B0604020202020204" pitchFamily="34" charset="0"/>
              <a:buChar char="•"/>
            </a:pPr>
            <a:endParaRPr lang="pt-BR" sz="1600" dirty="0">
              <a:solidFill>
                <a:srgbClr val="01426A"/>
              </a:solidFill>
            </a:endParaRPr>
          </a:p>
          <a:p>
            <a:pPr marL="171450" indent="-171450">
              <a:buFont typeface="Arial" panose="020B0604020202020204" pitchFamily="34" charset="0"/>
              <a:buChar char="•"/>
            </a:pPr>
            <a:r>
              <a:rPr lang="pt-BR" sz="1600" dirty="0">
                <a:solidFill>
                  <a:srgbClr val="01426A"/>
                </a:solidFill>
              </a:rPr>
              <a:t>Rastreabilidade de dados</a:t>
            </a:r>
          </a:p>
          <a:p>
            <a:pPr marL="171450" indent="-171450">
              <a:buFont typeface="Arial" panose="020B0604020202020204" pitchFamily="34" charset="0"/>
              <a:buChar char="•"/>
            </a:pPr>
            <a:endParaRPr lang="pt-BR" sz="1600" dirty="0">
              <a:solidFill>
                <a:srgbClr val="01426A"/>
              </a:solidFill>
            </a:endParaRPr>
          </a:p>
          <a:p>
            <a:pPr marL="171450" indent="-171450">
              <a:buFont typeface="Arial" panose="020B0604020202020204" pitchFamily="34" charset="0"/>
              <a:buChar char="•"/>
            </a:pPr>
            <a:r>
              <a:rPr lang="pt-BR" sz="1600" dirty="0">
                <a:solidFill>
                  <a:srgbClr val="01426A"/>
                </a:solidFill>
              </a:rPr>
              <a:t>Visibilidade (disponível para a área)</a:t>
            </a:r>
          </a:p>
          <a:p>
            <a:pPr marL="171450" indent="-171450">
              <a:buFont typeface="Arial" panose="020B0604020202020204" pitchFamily="34" charset="0"/>
              <a:buChar char="•"/>
            </a:pPr>
            <a:endParaRPr lang="pt-BR" sz="1600" dirty="0">
              <a:solidFill>
                <a:srgbClr val="01426A"/>
              </a:solidFill>
            </a:endParaRPr>
          </a:p>
          <a:p>
            <a:pPr marL="171450" indent="-171450">
              <a:buFont typeface="Arial" panose="020B0604020202020204" pitchFamily="34" charset="0"/>
              <a:buChar char="•"/>
            </a:pPr>
            <a:r>
              <a:rPr lang="pt-BR" sz="1600" dirty="0">
                <a:solidFill>
                  <a:srgbClr val="01426A"/>
                </a:solidFill>
              </a:rPr>
              <a:t>Gestão da vigência e conteúdo do documento</a:t>
            </a:r>
          </a:p>
          <a:p>
            <a:pPr marL="171450" indent="-171450">
              <a:buFont typeface="Arial" panose="020B0604020202020204" pitchFamily="34" charset="0"/>
              <a:buChar char="•"/>
            </a:pPr>
            <a:endParaRPr lang="pt-BR" sz="1600" dirty="0">
              <a:solidFill>
                <a:srgbClr val="01426A"/>
              </a:solidFill>
            </a:endParaRPr>
          </a:p>
          <a:p>
            <a:pPr marL="171450" indent="-171450">
              <a:buFont typeface="Arial" panose="020B0604020202020204" pitchFamily="34" charset="0"/>
              <a:buChar char="•"/>
            </a:pPr>
            <a:r>
              <a:rPr lang="pt-BR" sz="1600" dirty="0">
                <a:solidFill>
                  <a:srgbClr val="01426A"/>
                </a:solidFill>
              </a:rPr>
              <a:t>Confiabilidade do conteúdo do documento</a:t>
            </a:r>
          </a:p>
          <a:p>
            <a:pPr marL="171450" indent="-171450">
              <a:buFont typeface="Arial" panose="020B0604020202020204" pitchFamily="34" charset="0"/>
              <a:buChar char="•"/>
            </a:pPr>
            <a:endParaRPr lang="pt-BR" sz="1600" dirty="0">
              <a:solidFill>
                <a:srgbClr val="01426A"/>
              </a:solidFill>
            </a:endParaRPr>
          </a:p>
          <a:p>
            <a:pPr marL="171450" indent="-171450">
              <a:buFont typeface="Arial" panose="020B0604020202020204" pitchFamily="34" charset="0"/>
              <a:buChar char="•"/>
            </a:pPr>
            <a:r>
              <a:rPr lang="pt-BR" sz="1600" dirty="0">
                <a:solidFill>
                  <a:srgbClr val="01426A"/>
                </a:solidFill>
              </a:rPr>
              <a:t>Versionamento</a:t>
            </a:r>
          </a:p>
        </p:txBody>
      </p:sp>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pt" sz="2800" b="1" dirty="0">
                <a:latin typeface="Omnes" panose="02000606040000020004" pitchFamily="50" charset="0"/>
                <a:cs typeface="Calibri" panose="020F0502020204030204" pitchFamily="34" charset="0"/>
              </a:rPr>
              <a:t>Desafio</a:t>
            </a:r>
            <a:endParaRPr lang="en-US" sz="2800" dirty="0">
              <a:latin typeface="Omnes" panose="02000606040000020004" pitchFamily="50" charset="0"/>
            </a:endParaRPr>
          </a:p>
        </p:txBody>
      </p:sp>
      <p:sp>
        <p:nvSpPr>
          <p:cNvPr id="2" name="CaixaDeTexto 1">
            <a:extLst>
              <a:ext uri="{FF2B5EF4-FFF2-40B4-BE49-F238E27FC236}">
                <a16:creationId xmlns:a16="http://schemas.microsoft.com/office/drawing/2014/main" id="{4A976FEB-9992-856F-5BA6-43EE3E6B9B21}"/>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Nossos objetivos</a:t>
            </a:r>
          </a:p>
        </p:txBody>
      </p:sp>
      <p:pic>
        <p:nvPicPr>
          <p:cNvPr id="9" name="Imagem 8">
            <a:extLst>
              <a:ext uri="{FF2B5EF4-FFF2-40B4-BE49-F238E27FC236}">
                <a16:creationId xmlns:a16="http://schemas.microsoft.com/office/drawing/2014/main" id="{606DD89C-C5D3-FABA-7FE3-AE5C83B3CD16}"/>
              </a:ext>
            </a:extLst>
          </p:cNvPr>
          <p:cNvPicPr>
            <a:picLocks noChangeAspect="1"/>
          </p:cNvPicPr>
          <p:nvPr/>
        </p:nvPicPr>
        <p:blipFill>
          <a:blip r:embed="rId3">
            <a:clrChange>
              <a:clrFrom>
                <a:srgbClr val="E0CBCB"/>
              </a:clrFrom>
              <a:clrTo>
                <a:srgbClr val="E0CBCB">
                  <a:alpha val="0"/>
                </a:srgbClr>
              </a:clrTo>
            </a:clrChange>
            <a:alphaModFix amt="70000"/>
          </a:blip>
          <a:stretch>
            <a:fillRect/>
          </a:stretch>
        </p:blipFill>
        <p:spPr>
          <a:xfrm>
            <a:off x="1275742" y="1224549"/>
            <a:ext cx="5115126" cy="476211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612787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n 16" descr="Gesto de toque duplo estrutura de tópicos">
            <a:hlinkClick r:id="" action="ppaction://noaction"/>
            <a:extLst>
              <a:ext uri="{FF2B5EF4-FFF2-40B4-BE49-F238E27FC236}">
                <a16:creationId xmlns:a16="http://schemas.microsoft.com/office/drawing/2014/main" id="{094E7924-CC30-AA23-4C92-2A056891D89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95803" y="2535060"/>
            <a:ext cx="371069" cy="371069"/>
          </a:xfrm>
          <a:prstGeom prst="rect">
            <a:avLst/>
          </a:prstGeom>
        </p:spPr>
      </p:pic>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pt" sz="2800" b="1" dirty="0">
                <a:latin typeface="Omnes" panose="02000606040000020004" pitchFamily="50" charset="0"/>
                <a:cs typeface="Calibri" panose="020F0502020204030204" pitchFamily="34" charset="0"/>
              </a:rPr>
              <a:t>Migração de sistema com automação</a:t>
            </a:r>
            <a:endParaRPr lang="en-US" sz="2800" dirty="0">
              <a:latin typeface="Omnes" panose="02000606040000020004" pitchFamily="50" charset="0"/>
            </a:endParaRPr>
          </a:p>
        </p:txBody>
      </p:sp>
      <p:sp>
        <p:nvSpPr>
          <p:cNvPr id="21" name="CaixaDeTexto 158">
            <a:extLst>
              <a:ext uri="{FF2B5EF4-FFF2-40B4-BE49-F238E27FC236}">
                <a16:creationId xmlns:a16="http://schemas.microsoft.com/office/drawing/2014/main" id="{C4600C9B-4128-D9CA-A839-9933BBA58EBE}"/>
              </a:ext>
            </a:extLst>
          </p:cNvPr>
          <p:cNvSpPr txBox="1"/>
          <p:nvPr/>
        </p:nvSpPr>
        <p:spPr>
          <a:xfrm>
            <a:off x="4046538" y="2378403"/>
            <a:ext cx="1635125" cy="523220"/>
          </a:xfrm>
          <a:prstGeom prst="rect">
            <a:avLst/>
          </a:prstGeom>
          <a:noFill/>
        </p:spPr>
        <p:txBody>
          <a:bodyPr wrap="square" rtlCol="0">
            <a:spAutoFit/>
          </a:bodyPr>
          <a:lstStyle>
            <a:defPPr>
              <a:defRPr lang="pt-BR"/>
            </a:defPPr>
            <a:lvl1pPr>
              <a:defRPr sz="1400" b="1">
                <a:solidFill>
                  <a:srgbClr val="626466"/>
                </a:solidFill>
                <a:cs typeface="Calibri" panose="020F0502020204030204" pitchFamily="34" charset="0"/>
              </a:defRPr>
            </a:lvl1pPr>
          </a:lstStyle>
          <a:p>
            <a:pPr algn="ctr"/>
            <a:r>
              <a:rPr lang="pt-BR" dirty="0">
                <a:solidFill>
                  <a:schemeClr val="bg1"/>
                </a:solidFill>
                <a:latin typeface="+mn-lt"/>
              </a:rPr>
              <a:t>Negócios</a:t>
            </a:r>
            <a:br>
              <a:rPr lang="pt-BR" dirty="0">
                <a:solidFill>
                  <a:schemeClr val="bg1"/>
                </a:solidFill>
                <a:latin typeface="+mn-lt"/>
              </a:rPr>
            </a:br>
            <a:r>
              <a:rPr lang="pt-BR" dirty="0">
                <a:solidFill>
                  <a:schemeClr val="bg1"/>
                </a:solidFill>
                <a:latin typeface="+mn-lt"/>
              </a:rPr>
              <a:t>de segurança</a:t>
            </a:r>
          </a:p>
        </p:txBody>
      </p:sp>
      <p:sp>
        <p:nvSpPr>
          <p:cNvPr id="2" name="CaixaDeTexto 1">
            <a:extLst>
              <a:ext uri="{FF2B5EF4-FFF2-40B4-BE49-F238E27FC236}">
                <a16:creationId xmlns:a16="http://schemas.microsoft.com/office/drawing/2014/main" id="{4A976FEB-9992-856F-5BA6-43EE3E6B9B21}"/>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Como fazemos o que fazemos?</a:t>
            </a:r>
          </a:p>
        </p:txBody>
      </p:sp>
      <p:pic>
        <p:nvPicPr>
          <p:cNvPr id="5" name="Imagem 4" descr="Interface gráfica do usuário&#10;&#10;Descrição gerada automaticamente com confiança média">
            <a:extLst>
              <a:ext uri="{FF2B5EF4-FFF2-40B4-BE49-F238E27FC236}">
                <a16:creationId xmlns:a16="http://schemas.microsoft.com/office/drawing/2014/main" id="{38A36967-632C-7537-283F-8CE6F20AD5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6878" y="2482016"/>
            <a:ext cx="4335585" cy="2638494"/>
          </a:xfrm>
          <a:prstGeom prst="rect">
            <a:avLst/>
          </a:prstGeom>
          <a:ln>
            <a:noFill/>
          </a:ln>
          <a:effectLst>
            <a:outerShdw blurRad="190500" algn="tl" rotWithShape="0">
              <a:srgbClr val="000000">
                <a:alpha val="70000"/>
              </a:srgbClr>
            </a:outerShdw>
          </a:effectLst>
        </p:spPr>
      </p:pic>
      <p:pic>
        <p:nvPicPr>
          <p:cNvPr id="7" name="Imagem 6" descr="Gráfico, Tabela, Gráfico de mapa de árvore&#10;&#10;Descrição gerada automaticamente">
            <a:extLst>
              <a:ext uri="{FF2B5EF4-FFF2-40B4-BE49-F238E27FC236}">
                <a16:creationId xmlns:a16="http://schemas.microsoft.com/office/drawing/2014/main" id="{0F2268FF-9AAD-7907-104F-79C80CAC0E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34743" y="4095205"/>
            <a:ext cx="3802489" cy="2144850"/>
          </a:xfrm>
          <a:prstGeom prst="rect">
            <a:avLst/>
          </a:prstGeom>
          <a:ln>
            <a:noFill/>
          </a:ln>
          <a:effectLst>
            <a:outerShdw blurRad="190500" algn="tl" rotWithShape="0">
              <a:srgbClr val="000000">
                <a:alpha val="70000"/>
              </a:srgbClr>
            </a:outerShdw>
          </a:effectLst>
        </p:spPr>
      </p:pic>
      <p:sp>
        <p:nvSpPr>
          <p:cNvPr id="8" name="TextBox 76">
            <a:extLst>
              <a:ext uri="{FF2B5EF4-FFF2-40B4-BE49-F238E27FC236}">
                <a16:creationId xmlns:a16="http://schemas.microsoft.com/office/drawing/2014/main" id="{355E54D3-398C-32EF-B462-3B0B1D4CBB49}"/>
              </a:ext>
            </a:extLst>
          </p:cNvPr>
          <p:cNvSpPr txBox="1"/>
          <p:nvPr/>
        </p:nvSpPr>
        <p:spPr>
          <a:xfrm>
            <a:off x="1642471" y="1983781"/>
            <a:ext cx="3324401" cy="369332"/>
          </a:xfrm>
          <a:prstGeom prst="rect">
            <a:avLst/>
          </a:prstGeom>
          <a:noFill/>
        </p:spPr>
        <p:txBody>
          <a:bodyPr wrap="square" lIns="0" tIns="0" rIns="0" bIns="0" rtlCol="0">
            <a:spAutoFit/>
          </a:bodyPr>
          <a:lstStyle/>
          <a:p>
            <a:pPr algn="ctr"/>
            <a:r>
              <a:rPr lang="pt-BR" sz="2400" b="1" dirty="0">
                <a:solidFill>
                  <a:srgbClr val="01426A"/>
                </a:solidFill>
                <a:cs typeface="Arial" pitchFamily="34" charset="0"/>
              </a:rPr>
              <a:t>Sistema interno</a:t>
            </a:r>
          </a:p>
        </p:txBody>
      </p:sp>
      <p:pic>
        <p:nvPicPr>
          <p:cNvPr id="9" name="Imagem 8">
            <a:extLst>
              <a:ext uri="{FF2B5EF4-FFF2-40B4-BE49-F238E27FC236}">
                <a16:creationId xmlns:a16="http://schemas.microsoft.com/office/drawing/2014/main" id="{1E4A0799-2CB6-3478-136C-47FED998692E}"/>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071151" y="617945"/>
            <a:ext cx="1155582" cy="494011"/>
          </a:xfrm>
          <a:prstGeom prst="rect">
            <a:avLst/>
          </a:prstGeom>
        </p:spPr>
      </p:pic>
      <p:grpSp>
        <p:nvGrpSpPr>
          <p:cNvPr id="4" name="Agrupar 3">
            <a:extLst>
              <a:ext uri="{FF2B5EF4-FFF2-40B4-BE49-F238E27FC236}">
                <a16:creationId xmlns:a16="http://schemas.microsoft.com/office/drawing/2014/main" id="{13FEB840-25AF-90B9-9D70-B395CA024430}"/>
              </a:ext>
            </a:extLst>
          </p:cNvPr>
          <p:cNvGrpSpPr/>
          <p:nvPr/>
        </p:nvGrpSpPr>
        <p:grpSpPr>
          <a:xfrm>
            <a:off x="7334744" y="1166551"/>
            <a:ext cx="3783977" cy="2737017"/>
            <a:chOff x="7334744" y="1166551"/>
            <a:chExt cx="3783977" cy="2737017"/>
          </a:xfrm>
        </p:grpSpPr>
        <p:pic>
          <p:nvPicPr>
            <p:cNvPr id="6" name="Imagem 5" descr="Tela de computador&#10;&#10;Descrição gerada automaticamente">
              <a:extLst>
                <a:ext uri="{FF2B5EF4-FFF2-40B4-BE49-F238E27FC236}">
                  <a16:creationId xmlns:a16="http://schemas.microsoft.com/office/drawing/2014/main" id="{24EAC384-B678-E2D3-ACF2-493A031663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37211" y="1976083"/>
              <a:ext cx="3781510" cy="1927485"/>
            </a:xfrm>
            <a:prstGeom prst="rect">
              <a:avLst/>
            </a:prstGeom>
            <a:ln>
              <a:noFill/>
            </a:ln>
            <a:effectLst>
              <a:outerShdw blurRad="190500" algn="tl" rotWithShape="0">
                <a:srgbClr val="000000">
                  <a:alpha val="70000"/>
                </a:srgbClr>
              </a:outerShdw>
            </a:effectLst>
          </p:spPr>
        </p:pic>
        <p:pic>
          <p:nvPicPr>
            <p:cNvPr id="10" name="Imagem 9">
              <a:extLst>
                <a:ext uri="{FF2B5EF4-FFF2-40B4-BE49-F238E27FC236}">
                  <a16:creationId xmlns:a16="http://schemas.microsoft.com/office/drawing/2014/main" id="{0B8A4D96-EC18-6D84-4504-13427FE4FEC8}"/>
                </a:ext>
              </a:extLst>
            </p:cNvPr>
            <p:cNvPicPr>
              <a:picLocks noChangeAspect="1"/>
            </p:cNvPicPr>
            <p:nvPr/>
          </p:nvPicPr>
          <p:blipFill>
            <a:blip r:embed="rId9"/>
            <a:stretch>
              <a:fillRect/>
            </a:stretch>
          </p:blipFill>
          <p:spPr>
            <a:xfrm>
              <a:off x="7334744" y="1166551"/>
              <a:ext cx="3781510" cy="823235"/>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1209122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n 16" descr="Gesto de toque duplo estrutura de tópicos">
            <a:hlinkClick r:id="" action="ppaction://noaction"/>
            <a:extLst>
              <a:ext uri="{FF2B5EF4-FFF2-40B4-BE49-F238E27FC236}">
                <a16:creationId xmlns:a16="http://schemas.microsoft.com/office/drawing/2014/main" id="{094E7924-CC30-AA23-4C92-2A056891D89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95803" y="2535060"/>
            <a:ext cx="371069" cy="371069"/>
          </a:xfrm>
          <a:prstGeom prst="rect">
            <a:avLst/>
          </a:prstGeom>
        </p:spPr>
      </p:pic>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pt" sz="2800" b="1" dirty="0">
                <a:latin typeface="Omnes" panose="02000606040000020004" pitchFamily="50" charset="0"/>
                <a:cs typeface="Calibri" panose="020F0502020204030204" pitchFamily="34" charset="0"/>
              </a:rPr>
              <a:t>Migração de sistema com automação</a:t>
            </a:r>
            <a:endParaRPr lang="en-US" sz="2800" dirty="0">
              <a:latin typeface="Omnes" panose="02000606040000020004" pitchFamily="50" charset="0"/>
            </a:endParaRPr>
          </a:p>
        </p:txBody>
      </p:sp>
      <p:sp>
        <p:nvSpPr>
          <p:cNvPr id="21" name="CaixaDeTexto 158">
            <a:extLst>
              <a:ext uri="{FF2B5EF4-FFF2-40B4-BE49-F238E27FC236}">
                <a16:creationId xmlns:a16="http://schemas.microsoft.com/office/drawing/2014/main" id="{C4600C9B-4128-D9CA-A839-9933BBA58EBE}"/>
              </a:ext>
            </a:extLst>
          </p:cNvPr>
          <p:cNvSpPr txBox="1"/>
          <p:nvPr/>
        </p:nvSpPr>
        <p:spPr>
          <a:xfrm>
            <a:off x="4046538" y="2378403"/>
            <a:ext cx="1635125" cy="523220"/>
          </a:xfrm>
          <a:prstGeom prst="rect">
            <a:avLst/>
          </a:prstGeom>
          <a:noFill/>
        </p:spPr>
        <p:txBody>
          <a:bodyPr wrap="square" rtlCol="0">
            <a:spAutoFit/>
          </a:bodyPr>
          <a:lstStyle>
            <a:defPPr>
              <a:defRPr lang="pt-BR"/>
            </a:defPPr>
            <a:lvl1pPr>
              <a:defRPr sz="1400" b="1">
                <a:solidFill>
                  <a:srgbClr val="626466"/>
                </a:solidFill>
                <a:cs typeface="Calibri" panose="020F0502020204030204" pitchFamily="34" charset="0"/>
              </a:defRPr>
            </a:lvl1pPr>
          </a:lstStyle>
          <a:p>
            <a:pPr algn="ctr"/>
            <a:r>
              <a:rPr lang="pt-BR" dirty="0">
                <a:solidFill>
                  <a:schemeClr val="bg1"/>
                </a:solidFill>
                <a:latin typeface="+mn-lt"/>
              </a:rPr>
              <a:t>Negócios</a:t>
            </a:r>
            <a:br>
              <a:rPr lang="pt-BR" dirty="0">
                <a:solidFill>
                  <a:schemeClr val="bg1"/>
                </a:solidFill>
                <a:latin typeface="+mn-lt"/>
              </a:rPr>
            </a:br>
            <a:r>
              <a:rPr lang="pt-BR" dirty="0">
                <a:solidFill>
                  <a:schemeClr val="bg1"/>
                </a:solidFill>
                <a:latin typeface="+mn-lt"/>
              </a:rPr>
              <a:t>de segurança</a:t>
            </a:r>
          </a:p>
        </p:txBody>
      </p:sp>
      <p:sp>
        <p:nvSpPr>
          <p:cNvPr id="2" name="CaixaDeTexto 1">
            <a:extLst>
              <a:ext uri="{FF2B5EF4-FFF2-40B4-BE49-F238E27FC236}">
                <a16:creationId xmlns:a16="http://schemas.microsoft.com/office/drawing/2014/main" id="{4A976FEB-9992-856F-5BA6-43EE3E6B9B21}"/>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Como fazemos o que fazemos?</a:t>
            </a:r>
          </a:p>
        </p:txBody>
      </p:sp>
      <p:pic>
        <p:nvPicPr>
          <p:cNvPr id="9" name="Imagem 8">
            <a:extLst>
              <a:ext uri="{FF2B5EF4-FFF2-40B4-BE49-F238E27FC236}">
                <a16:creationId xmlns:a16="http://schemas.microsoft.com/office/drawing/2014/main" id="{1E4A0799-2CB6-3478-136C-47FED998692E}"/>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345505" y="1002119"/>
            <a:ext cx="1155582" cy="494011"/>
          </a:xfrm>
          <a:prstGeom prst="rect">
            <a:avLst/>
          </a:prstGeom>
        </p:spPr>
      </p:pic>
      <p:pic>
        <p:nvPicPr>
          <p:cNvPr id="2050" name="Picture 2">
            <a:extLst>
              <a:ext uri="{FF2B5EF4-FFF2-40B4-BE49-F238E27FC236}">
                <a16:creationId xmlns:a16="http://schemas.microsoft.com/office/drawing/2014/main" id="{D24C03C8-3827-05B1-03D4-802D866B6E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45505" y="1647350"/>
            <a:ext cx="9690913" cy="4306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67444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Imagen 16" descr="Gesto de toque duplo estrutura de tópicos">
            <a:hlinkClick r:id="" action="ppaction://noaction"/>
            <a:extLst>
              <a:ext uri="{FF2B5EF4-FFF2-40B4-BE49-F238E27FC236}">
                <a16:creationId xmlns:a16="http://schemas.microsoft.com/office/drawing/2014/main" id="{6A4697F9-CE42-55DC-56FB-5489DE3887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04012" y="2535060"/>
            <a:ext cx="371069" cy="371069"/>
          </a:xfrm>
          <a:prstGeom prst="rect">
            <a:avLst/>
          </a:prstGeom>
        </p:spPr>
      </p:pic>
      <p:pic>
        <p:nvPicPr>
          <p:cNvPr id="37" name="Imagen 16" descr="Gesto de toque duplo estrutura de tópicos">
            <a:hlinkClick r:id="" action="ppaction://noaction"/>
            <a:extLst>
              <a:ext uri="{FF2B5EF4-FFF2-40B4-BE49-F238E27FC236}">
                <a16:creationId xmlns:a16="http://schemas.microsoft.com/office/drawing/2014/main" id="{094E7924-CC30-AA23-4C92-2A056891D89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95803" y="2535060"/>
            <a:ext cx="371069" cy="371069"/>
          </a:xfrm>
          <a:prstGeom prst="rect">
            <a:avLst/>
          </a:prstGeom>
        </p:spPr>
      </p:pic>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pt" sz="2800" b="1" dirty="0">
                <a:latin typeface="Omnes" panose="02000606040000020004" pitchFamily="50" charset="0"/>
                <a:cs typeface="Calibri" panose="020F0502020204030204" pitchFamily="34" charset="0"/>
              </a:rPr>
              <a:t>Funcionalidades utilizadas</a:t>
            </a:r>
            <a:endParaRPr lang="en-US" sz="2800" dirty="0">
              <a:latin typeface="Omnes" panose="02000606040000020004" pitchFamily="50" charset="0"/>
            </a:endParaRPr>
          </a:p>
        </p:txBody>
      </p:sp>
      <p:sp>
        <p:nvSpPr>
          <p:cNvPr id="21" name="CaixaDeTexto 158">
            <a:extLst>
              <a:ext uri="{FF2B5EF4-FFF2-40B4-BE49-F238E27FC236}">
                <a16:creationId xmlns:a16="http://schemas.microsoft.com/office/drawing/2014/main" id="{C4600C9B-4128-D9CA-A839-9933BBA58EBE}"/>
              </a:ext>
            </a:extLst>
          </p:cNvPr>
          <p:cNvSpPr txBox="1"/>
          <p:nvPr/>
        </p:nvSpPr>
        <p:spPr>
          <a:xfrm>
            <a:off x="4046538" y="2378403"/>
            <a:ext cx="1635125" cy="523220"/>
          </a:xfrm>
          <a:prstGeom prst="rect">
            <a:avLst/>
          </a:prstGeom>
          <a:noFill/>
        </p:spPr>
        <p:txBody>
          <a:bodyPr wrap="square" rtlCol="0">
            <a:spAutoFit/>
          </a:bodyPr>
          <a:lstStyle>
            <a:defPPr>
              <a:defRPr lang="pt-BR"/>
            </a:defPPr>
            <a:lvl1pPr>
              <a:defRPr sz="1400" b="1">
                <a:solidFill>
                  <a:srgbClr val="626466"/>
                </a:solidFill>
                <a:cs typeface="Calibri" panose="020F0502020204030204" pitchFamily="34" charset="0"/>
              </a:defRPr>
            </a:lvl1pPr>
          </a:lstStyle>
          <a:p>
            <a:pPr algn="ctr"/>
            <a:r>
              <a:rPr lang="pt-BR" dirty="0">
                <a:solidFill>
                  <a:schemeClr val="bg1"/>
                </a:solidFill>
                <a:latin typeface="+mn-lt"/>
              </a:rPr>
              <a:t>Negócios</a:t>
            </a:r>
            <a:br>
              <a:rPr lang="pt-BR" dirty="0">
                <a:solidFill>
                  <a:schemeClr val="bg1"/>
                </a:solidFill>
                <a:latin typeface="+mn-lt"/>
              </a:rPr>
            </a:br>
            <a:r>
              <a:rPr lang="pt-BR" dirty="0">
                <a:solidFill>
                  <a:schemeClr val="bg1"/>
                </a:solidFill>
                <a:latin typeface="+mn-lt"/>
              </a:rPr>
              <a:t>de segurança</a:t>
            </a:r>
          </a:p>
        </p:txBody>
      </p:sp>
      <p:sp>
        <p:nvSpPr>
          <p:cNvPr id="2" name="CaixaDeTexto 1">
            <a:extLst>
              <a:ext uri="{FF2B5EF4-FFF2-40B4-BE49-F238E27FC236}">
                <a16:creationId xmlns:a16="http://schemas.microsoft.com/office/drawing/2014/main" id="{4A976FEB-9992-856F-5BA6-43EE3E6B9B21}"/>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Como fazemos o que fazemos?</a:t>
            </a:r>
          </a:p>
        </p:txBody>
      </p:sp>
      <p:pic>
        <p:nvPicPr>
          <p:cNvPr id="3" name="Imagem 2">
            <a:extLst>
              <a:ext uri="{FF2B5EF4-FFF2-40B4-BE49-F238E27FC236}">
                <a16:creationId xmlns:a16="http://schemas.microsoft.com/office/drawing/2014/main" id="{967B1691-0E25-1ABF-5AD5-6797FBACEAEB}"/>
              </a:ext>
            </a:extLst>
          </p:cNvPr>
          <p:cNvPicPr>
            <a:picLocks noChangeAspect="1"/>
          </p:cNvPicPr>
          <p:nvPr/>
        </p:nvPicPr>
        <p:blipFill>
          <a:blip r:embed="rId5"/>
          <a:stretch>
            <a:fillRect/>
          </a:stretch>
        </p:blipFill>
        <p:spPr>
          <a:xfrm>
            <a:off x="701638" y="1400428"/>
            <a:ext cx="6933333" cy="4057143"/>
          </a:xfrm>
          <a:prstGeom prst="rect">
            <a:avLst/>
          </a:prstGeom>
        </p:spPr>
      </p:pic>
      <p:sp>
        <p:nvSpPr>
          <p:cNvPr id="4" name="TextBox 76">
            <a:extLst>
              <a:ext uri="{FF2B5EF4-FFF2-40B4-BE49-F238E27FC236}">
                <a16:creationId xmlns:a16="http://schemas.microsoft.com/office/drawing/2014/main" id="{DDBEE46C-685F-7F6C-30DB-D79E3E25F8D3}"/>
              </a:ext>
            </a:extLst>
          </p:cNvPr>
          <p:cNvSpPr txBox="1"/>
          <p:nvPr/>
        </p:nvSpPr>
        <p:spPr>
          <a:xfrm>
            <a:off x="8239137" y="2044004"/>
            <a:ext cx="3149300" cy="2769989"/>
          </a:xfrm>
          <a:prstGeom prst="rect">
            <a:avLst/>
          </a:prstGeom>
          <a:noFill/>
        </p:spPr>
        <p:txBody>
          <a:bodyPr wrap="square" lIns="0" tIns="0" rIns="0" bIns="0" rtlCol="0">
            <a:spAutoFit/>
          </a:bodyPr>
          <a:lstStyle/>
          <a:p>
            <a:pPr marL="285750" indent="-285750">
              <a:buFont typeface="Wingdings" panose="05000000000000000000" pitchFamily="2" charset="2"/>
              <a:buChar char="ü"/>
            </a:pPr>
            <a:r>
              <a:rPr lang="pt-BR" sz="1800" b="1" dirty="0">
                <a:solidFill>
                  <a:srgbClr val="01426A"/>
                </a:solidFill>
                <a:cs typeface="Arial" pitchFamily="34" charset="0"/>
              </a:rPr>
              <a:t>Processos</a:t>
            </a:r>
          </a:p>
          <a:p>
            <a:pPr marL="285750" indent="-285750">
              <a:buFont typeface="Wingdings" panose="05000000000000000000" pitchFamily="2" charset="2"/>
              <a:buChar char="ü"/>
            </a:pPr>
            <a:r>
              <a:rPr lang="pt-BR" sz="1800" b="1" dirty="0">
                <a:solidFill>
                  <a:srgbClr val="01426A"/>
                </a:solidFill>
                <a:cs typeface="Arial" pitchFamily="34" charset="0"/>
              </a:rPr>
              <a:t>Projetos</a:t>
            </a:r>
          </a:p>
          <a:p>
            <a:pPr marL="285750" indent="-285750">
              <a:buFont typeface="Wingdings" panose="05000000000000000000" pitchFamily="2" charset="2"/>
              <a:buChar char="ü"/>
            </a:pPr>
            <a:r>
              <a:rPr lang="pt-BR" sz="1800" b="1" dirty="0">
                <a:solidFill>
                  <a:srgbClr val="01426A"/>
                </a:solidFill>
                <a:cs typeface="Arial" pitchFamily="34" charset="0"/>
              </a:rPr>
              <a:t>Gestão de documentos</a:t>
            </a:r>
          </a:p>
          <a:p>
            <a:pPr marL="285750" indent="-285750">
              <a:buFont typeface="Wingdings" panose="05000000000000000000" pitchFamily="2" charset="2"/>
              <a:buChar char="ü"/>
            </a:pPr>
            <a:r>
              <a:rPr lang="pt-BR" sz="1800" b="1" dirty="0">
                <a:solidFill>
                  <a:srgbClr val="01426A"/>
                </a:solidFill>
                <a:cs typeface="Arial" pitchFamily="34" charset="0"/>
              </a:rPr>
              <a:t>Indicadores e controles</a:t>
            </a:r>
          </a:p>
          <a:p>
            <a:pPr marL="285750" indent="-285750">
              <a:buFont typeface="Wingdings" panose="05000000000000000000" pitchFamily="2" charset="2"/>
              <a:buChar char="ü"/>
            </a:pPr>
            <a:r>
              <a:rPr lang="pt-BR" sz="1800" b="1" dirty="0" err="1">
                <a:solidFill>
                  <a:srgbClr val="01426A"/>
                </a:solidFill>
                <a:cs typeface="Arial" pitchFamily="34" charset="0"/>
              </a:rPr>
              <a:t>Balanced</a:t>
            </a:r>
            <a:r>
              <a:rPr lang="pt-BR" sz="1800" b="1" dirty="0">
                <a:solidFill>
                  <a:srgbClr val="01426A"/>
                </a:solidFill>
                <a:cs typeface="Arial" pitchFamily="34" charset="0"/>
              </a:rPr>
              <a:t> Scorecard</a:t>
            </a:r>
          </a:p>
          <a:p>
            <a:pPr marL="285750" indent="-285750">
              <a:buFont typeface="Wingdings" panose="05000000000000000000" pitchFamily="2" charset="2"/>
              <a:buChar char="ü"/>
            </a:pPr>
            <a:r>
              <a:rPr lang="pt-BR" sz="1800" b="1" dirty="0">
                <a:solidFill>
                  <a:srgbClr val="01426A"/>
                </a:solidFill>
                <a:cs typeface="Arial" pitchFamily="34" charset="0"/>
              </a:rPr>
              <a:t>Mapa de riscos</a:t>
            </a:r>
          </a:p>
          <a:p>
            <a:pPr marL="285750" indent="-285750">
              <a:buFont typeface="Wingdings" panose="05000000000000000000" pitchFamily="2" charset="2"/>
              <a:buChar char="ü"/>
            </a:pPr>
            <a:r>
              <a:rPr lang="pt-BR" sz="1800" b="1" dirty="0">
                <a:solidFill>
                  <a:srgbClr val="01426A"/>
                </a:solidFill>
                <a:cs typeface="Arial" pitchFamily="34" charset="0"/>
              </a:rPr>
              <a:t>Gestão de Ativos</a:t>
            </a:r>
          </a:p>
          <a:p>
            <a:pPr marL="285750" indent="-285750">
              <a:buFont typeface="Wingdings" panose="05000000000000000000" pitchFamily="2" charset="2"/>
              <a:buChar char="ü"/>
            </a:pPr>
            <a:r>
              <a:rPr lang="pt-BR" sz="1800" b="1" dirty="0">
                <a:solidFill>
                  <a:srgbClr val="01426A"/>
                </a:solidFill>
                <a:cs typeface="Arial" pitchFamily="34" charset="0"/>
              </a:rPr>
              <a:t>Causa Raiz</a:t>
            </a:r>
          </a:p>
          <a:p>
            <a:pPr marL="285750" indent="-285750">
              <a:buFont typeface="Wingdings" panose="05000000000000000000" pitchFamily="2" charset="2"/>
              <a:buChar char="ü"/>
            </a:pPr>
            <a:r>
              <a:rPr lang="pt-BR" sz="1800" b="1" dirty="0">
                <a:solidFill>
                  <a:srgbClr val="01426A"/>
                </a:solidFill>
                <a:cs typeface="Arial" pitchFamily="34" charset="0"/>
              </a:rPr>
              <a:t>Plano de Ação</a:t>
            </a:r>
          </a:p>
          <a:p>
            <a:pPr marL="285750" indent="-285750">
              <a:buFont typeface="Wingdings" panose="05000000000000000000" pitchFamily="2" charset="2"/>
              <a:buChar char="ü"/>
            </a:pPr>
            <a:r>
              <a:rPr lang="pt-BR" sz="1800" b="1" dirty="0">
                <a:solidFill>
                  <a:srgbClr val="01426A"/>
                </a:solidFill>
                <a:cs typeface="Arial" pitchFamily="34" charset="0"/>
              </a:rPr>
              <a:t>Auditoria e Requisitos</a:t>
            </a:r>
          </a:p>
        </p:txBody>
      </p:sp>
      <p:sp>
        <p:nvSpPr>
          <p:cNvPr id="12" name="Retângulo: Cantos Arredondados 11">
            <a:extLst>
              <a:ext uri="{FF2B5EF4-FFF2-40B4-BE49-F238E27FC236}">
                <a16:creationId xmlns:a16="http://schemas.microsoft.com/office/drawing/2014/main" id="{67409091-4A42-07FC-4EA0-00697566CD92}"/>
              </a:ext>
            </a:extLst>
          </p:cNvPr>
          <p:cNvSpPr/>
          <p:nvPr/>
        </p:nvSpPr>
        <p:spPr>
          <a:xfrm>
            <a:off x="3183990" y="1445504"/>
            <a:ext cx="772048" cy="90110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Retângulo: Cantos Arredondados 12">
            <a:extLst>
              <a:ext uri="{FF2B5EF4-FFF2-40B4-BE49-F238E27FC236}">
                <a16:creationId xmlns:a16="http://schemas.microsoft.com/office/drawing/2014/main" id="{7F05B8BC-0F74-94F4-8E47-C17E2BABC1AD}"/>
              </a:ext>
            </a:extLst>
          </p:cNvPr>
          <p:cNvSpPr/>
          <p:nvPr/>
        </p:nvSpPr>
        <p:spPr>
          <a:xfrm>
            <a:off x="6106304" y="4417619"/>
            <a:ext cx="772048" cy="958064"/>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Retângulo: Cantos Arredondados 13">
            <a:extLst>
              <a:ext uri="{FF2B5EF4-FFF2-40B4-BE49-F238E27FC236}">
                <a16:creationId xmlns:a16="http://schemas.microsoft.com/office/drawing/2014/main" id="{BCA14E9E-75EF-19A8-69AE-F2723C5D64C4}"/>
              </a:ext>
            </a:extLst>
          </p:cNvPr>
          <p:cNvSpPr/>
          <p:nvPr/>
        </p:nvSpPr>
        <p:spPr>
          <a:xfrm>
            <a:off x="5511947" y="3477545"/>
            <a:ext cx="772048" cy="83088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Cantos Arredondados 14">
            <a:extLst>
              <a:ext uri="{FF2B5EF4-FFF2-40B4-BE49-F238E27FC236}">
                <a16:creationId xmlns:a16="http://schemas.microsoft.com/office/drawing/2014/main" id="{E393FD65-A201-EC8C-D8BD-8C5CA629E9AE}"/>
              </a:ext>
            </a:extLst>
          </p:cNvPr>
          <p:cNvSpPr/>
          <p:nvPr/>
        </p:nvSpPr>
        <p:spPr>
          <a:xfrm>
            <a:off x="4350850" y="2433404"/>
            <a:ext cx="772048" cy="927356"/>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Retângulo: Cantos Arredondados 15">
            <a:extLst>
              <a:ext uri="{FF2B5EF4-FFF2-40B4-BE49-F238E27FC236}">
                <a16:creationId xmlns:a16="http://schemas.microsoft.com/office/drawing/2014/main" id="{E1805714-7069-5FCA-494C-8F2D2EA774B8}"/>
              </a:ext>
            </a:extLst>
          </p:cNvPr>
          <p:cNvSpPr/>
          <p:nvPr/>
        </p:nvSpPr>
        <p:spPr>
          <a:xfrm>
            <a:off x="3197638" y="2459650"/>
            <a:ext cx="772048" cy="901110"/>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7" name="Picture 2" descr="Logo-SoftExpert - OBr.global | Delivering Success">
            <a:extLst>
              <a:ext uri="{FF2B5EF4-FFF2-40B4-BE49-F238E27FC236}">
                <a16:creationId xmlns:a16="http://schemas.microsoft.com/office/drawing/2014/main" id="{44DF64E3-004E-3B94-A38D-2C5EB4DA08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49857" y="5566756"/>
            <a:ext cx="885114" cy="2534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1788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Imagen 16" descr="Gesto de toque duplo estrutura de tópicos">
            <a:hlinkClick r:id="" action="ppaction://noaction"/>
            <a:extLst>
              <a:ext uri="{FF2B5EF4-FFF2-40B4-BE49-F238E27FC236}">
                <a16:creationId xmlns:a16="http://schemas.microsoft.com/office/drawing/2014/main" id="{6A4697F9-CE42-55DC-56FB-5489DE3887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04012" y="2535060"/>
            <a:ext cx="371069" cy="371069"/>
          </a:xfrm>
          <a:prstGeom prst="rect">
            <a:avLst/>
          </a:prstGeom>
        </p:spPr>
      </p:pic>
      <p:pic>
        <p:nvPicPr>
          <p:cNvPr id="37" name="Imagen 16" descr="Gesto de toque duplo estrutura de tópicos">
            <a:hlinkClick r:id="" action="ppaction://noaction"/>
            <a:extLst>
              <a:ext uri="{FF2B5EF4-FFF2-40B4-BE49-F238E27FC236}">
                <a16:creationId xmlns:a16="http://schemas.microsoft.com/office/drawing/2014/main" id="{094E7924-CC30-AA23-4C92-2A056891D89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95803" y="2535060"/>
            <a:ext cx="371069" cy="371069"/>
          </a:xfrm>
          <a:prstGeom prst="rect">
            <a:avLst/>
          </a:prstGeom>
        </p:spPr>
      </p:pic>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pt" sz="2800" b="1" dirty="0">
                <a:latin typeface="Omnes" panose="02000606040000020004" pitchFamily="50" charset="0"/>
                <a:cs typeface="Calibri" panose="020F0502020204030204" pitchFamily="34" charset="0"/>
              </a:rPr>
              <a:t>Conquistas</a:t>
            </a:r>
            <a:endParaRPr lang="en-US" sz="2800" dirty="0">
              <a:latin typeface="Omnes" panose="02000606040000020004" pitchFamily="50" charset="0"/>
            </a:endParaRPr>
          </a:p>
        </p:txBody>
      </p:sp>
      <p:sp>
        <p:nvSpPr>
          <p:cNvPr id="2" name="CaixaDeTexto 1">
            <a:extLst>
              <a:ext uri="{FF2B5EF4-FFF2-40B4-BE49-F238E27FC236}">
                <a16:creationId xmlns:a16="http://schemas.microsoft.com/office/drawing/2014/main" id="{4A976FEB-9992-856F-5BA6-43EE3E6B9B21}"/>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Como fazemos o que fazemos?</a:t>
            </a:r>
          </a:p>
        </p:txBody>
      </p:sp>
      <p:pic>
        <p:nvPicPr>
          <p:cNvPr id="1026" name="Picture 2">
            <a:extLst>
              <a:ext uri="{FF2B5EF4-FFF2-40B4-BE49-F238E27FC236}">
                <a16:creationId xmlns:a16="http://schemas.microsoft.com/office/drawing/2014/main" id="{B738F6EF-3273-7E24-4037-0F59E5BE167F}"/>
              </a:ext>
            </a:extLst>
          </p:cNvPr>
          <p:cNvPicPr>
            <a:picLocks noChangeAspect="1" noChangeArrowheads="1"/>
          </p:cNvPicPr>
          <p:nvPr/>
        </p:nvPicPr>
        <p:blipFill rotWithShape="1">
          <a:blip r:embed="rId5">
            <a:alphaModFix amt="20000"/>
            <a:extLst>
              <a:ext uri="{28A0092B-C50C-407E-A947-70E740481C1C}">
                <a14:useLocalDpi xmlns:a14="http://schemas.microsoft.com/office/drawing/2010/main" val="0"/>
              </a:ext>
            </a:extLst>
          </a:blip>
          <a:srcRect l="28172"/>
          <a:stretch/>
        </p:blipFill>
        <p:spPr bwMode="auto">
          <a:xfrm>
            <a:off x="5411610" y="850899"/>
            <a:ext cx="6635261" cy="519625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1" name="TextBox 13">
            <a:extLst>
              <a:ext uri="{FF2B5EF4-FFF2-40B4-BE49-F238E27FC236}">
                <a16:creationId xmlns:a16="http://schemas.microsoft.com/office/drawing/2014/main" id="{6BF8B482-3D2E-9AE2-AAAA-67B28DDB3259}"/>
              </a:ext>
            </a:extLst>
          </p:cNvPr>
          <p:cNvSpPr txBox="1"/>
          <p:nvPr/>
        </p:nvSpPr>
        <p:spPr>
          <a:xfrm>
            <a:off x="876017" y="1153449"/>
            <a:ext cx="6635260" cy="4647426"/>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pt-BR" sz="1600" dirty="0">
                <a:solidFill>
                  <a:srgbClr val="01426A"/>
                </a:solidFill>
              </a:rPr>
              <a:t>Segurança dos documentos por perfil – Privacidade </a:t>
            </a:r>
          </a:p>
          <a:p>
            <a:endParaRPr lang="pt-BR" sz="1600" dirty="0">
              <a:solidFill>
                <a:srgbClr val="01426A"/>
              </a:solidFill>
            </a:endParaRPr>
          </a:p>
          <a:p>
            <a:r>
              <a:rPr lang="pt-BR" sz="1600" dirty="0">
                <a:solidFill>
                  <a:srgbClr val="01426A"/>
                </a:solidFill>
              </a:rPr>
              <a:t>Visibilidade geral, por país, por região, por documento, por validade.</a:t>
            </a:r>
          </a:p>
          <a:p>
            <a:endParaRPr lang="pt-BR" sz="1600" dirty="0">
              <a:solidFill>
                <a:srgbClr val="01426A"/>
              </a:solidFill>
            </a:endParaRPr>
          </a:p>
          <a:p>
            <a:r>
              <a:rPr lang="pt-BR" sz="1600" dirty="0">
                <a:solidFill>
                  <a:srgbClr val="01426A"/>
                </a:solidFill>
              </a:rPr>
              <a:t>Trilha de auditoria - Rastreabilidade</a:t>
            </a:r>
          </a:p>
          <a:p>
            <a:endParaRPr lang="pt-BR" sz="1600" dirty="0">
              <a:solidFill>
                <a:srgbClr val="01426A"/>
              </a:solidFill>
            </a:endParaRPr>
          </a:p>
          <a:p>
            <a:r>
              <a:rPr lang="pt-BR" sz="1600" dirty="0">
                <a:solidFill>
                  <a:srgbClr val="01426A"/>
                </a:solidFill>
              </a:rPr>
              <a:t>Processo de aprovação e análise antes de disponibilizar na ferramenta</a:t>
            </a:r>
          </a:p>
          <a:p>
            <a:endParaRPr lang="pt-BR" sz="1600" dirty="0">
              <a:solidFill>
                <a:srgbClr val="01426A"/>
              </a:solidFill>
            </a:endParaRPr>
          </a:p>
          <a:p>
            <a:r>
              <a:rPr lang="pt-BR" sz="1600" dirty="0">
                <a:solidFill>
                  <a:srgbClr val="01426A"/>
                </a:solidFill>
              </a:rPr>
              <a:t>Avisos automáticos para gerenciamento do documento (atualização) – respeitando o prazo de processo de cada um.</a:t>
            </a:r>
          </a:p>
          <a:p>
            <a:endParaRPr lang="pt-BR" sz="1600" dirty="0">
              <a:solidFill>
                <a:srgbClr val="01426A"/>
              </a:solidFill>
            </a:endParaRPr>
          </a:p>
          <a:p>
            <a:r>
              <a:rPr lang="pt-BR" sz="1600" dirty="0">
                <a:solidFill>
                  <a:srgbClr val="01426A"/>
                </a:solidFill>
              </a:rPr>
              <a:t>Atendimento:</a:t>
            </a:r>
          </a:p>
          <a:p>
            <a:r>
              <a:rPr lang="pt-BR" sz="1600" dirty="0">
                <a:solidFill>
                  <a:srgbClr val="01426A"/>
                </a:solidFill>
              </a:rPr>
              <a:t>	Fiscalizações</a:t>
            </a:r>
          </a:p>
          <a:p>
            <a:r>
              <a:rPr lang="pt-BR" sz="1600" dirty="0">
                <a:solidFill>
                  <a:srgbClr val="01426A"/>
                </a:solidFill>
              </a:rPr>
              <a:t>	Requisitos legais</a:t>
            </a:r>
          </a:p>
          <a:p>
            <a:r>
              <a:rPr lang="pt-BR" sz="1600" dirty="0">
                <a:solidFill>
                  <a:srgbClr val="01426A"/>
                </a:solidFill>
              </a:rPr>
              <a:t>	Contratos de Clientes</a:t>
            </a:r>
          </a:p>
          <a:p>
            <a:r>
              <a:rPr lang="pt-BR" sz="1600" dirty="0">
                <a:solidFill>
                  <a:srgbClr val="01426A"/>
                </a:solidFill>
              </a:rPr>
              <a:t>	Auditorias</a:t>
            </a:r>
          </a:p>
          <a:p>
            <a:r>
              <a:rPr lang="pt-BR" sz="1600" dirty="0">
                <a:solidFill>
                  <a:srgbClr val="01426A"/>
                </a:solidFill>
              </a:rPr>
              <a:t>	Legislação vigente (municipal, estadual e federal)</a:t>
            </a:r>
          </a:p>
        </p:txBody>
      </p:sp>
    </p:spTree>
    <p:extLst>
      <p:ext uri="{BB962C8B-B14F-4D97-AF65-F5344CB8AC3E}">
        <p14:creationId xmlns:p14="http://schemas.microsoft.com/office/powerpoint/2010/main" val="332242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Imagen 16" descr="Gesto de toque duplo estrutura de tópicos">
            <a:hlinkClick r:id="" action="ppaction://noaction"/>
            <a:extLst>
              <a:ext uri="{FF2B5EF4-FFF2-40B4-BE49-F238E27FC236}">
                <a16:creationId xmlns:a16="http://schemas.microsoft.com/office/drawing/2014/main" id="{6A4697F9-CE42-55DC-56FB-5489DE3887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04012" y="2535060"/>
            <a:ext cx="371069" cy="371069"/>
          </a:xfrm>
          <a:prstGeom prst="rect">
            <a:avLst/>
          </a:prstGeom>
        </p:spPr>
      </p:pic>
      <p:pic>
        <p:nvPicPr>
          <p:cNvPr id="37" name="Imagen 16" descr="Gesto de toque duplo estrutura de tópicos">
            <a:hlinkClick r:id="" action="ppaction://noaction"/>
            <a:extLst>
              <a:ext uri="{FF2B5EF4-FFF2-40B4-BE49-F238E27FC236}">
                <a16:creationId xmlns:a16="http://schemas.microsoft.com/office/drawing/2014/main" id="{094E7924-CC30-AA23-4C92-2A056891D89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95803" y="2535060"/>
            <a:ext cx="371069" cy="371069"/>
          </a:xfrm>
          <a:prstGeom prst="rect">
            <a:avLst/>
          </a:prstGeom>
        </p:spPr>
      </p:pic>
      <p:sp>
        <p:nvSpPr>
          <p:cNvPr id="38" name="Título 37">
            <a:extLst>
              <a:ext uri="{FF2B5EF4-FFF2-40B4-BE49-F238E27FC236}">
                <a16:creationId xmlns:a16="http://schemas.microsoft.com/office/drawing/2014/main" id="{90604CFC-0CD8-677A-8FF6-7B9BEF781C9B}"/>
              </a:ext>
            </a:extLst>
          </p:cNvPr>
          <p:cNvSpPr>
            <a:spLocks noGrp="1"/>
          </p:cNvSpPr>
          <p:nvPr>
            <p:ph type="title"/>
          </p:nvPr>
        </p:nvSpPr>
        <p:spPr>
          <a:prstGeom prst="rect">
            <a:avLst/>
          </a:prstGeom>
        </p:spPr>
        <p:txBody>
          <a:bodyPr>
            <a:normAutofit/>
          </a:bodyPr>
          <a:lstStyle/>
          <a:p>
            <a:r>
              <a:rPr lang="pt" sz="2800" b="1" dirty="0">
                <a:latin typeface="Omnes" panose="02000606040000020004" pitchFamily="50" charset="0"/>
                <a:cs typeface="Calibri" panose="020F0502020204030204" pitchFamily="34" charset="0"/>
              </a:rPr>
              <a:t>Para encerrar</a:t>
            </a:r>
            <a:endParaRPr lang="en-US" sz="2800" dirty="0">
              <a:latin typeface="Omnes" panose="02000606040000020004" pitchFamily="50" charset="0"/>
            </a:endParaRPr>
          </a:p>
        </p:txBody>
      </p:sp>
      <p:sp>
        <p:nvSpPr>
          <p:cNvPr id="2" name="CaixaDeTexto 1">
            <a:extLst>
              <a:ext uri="{FF2B5EF4-FFF2-40B4-BE49-F238E27FC236}">
                <a16:creationId xmlns:a16="http://schemas.microsoft.com/office/drawing/2014/main" id="{4A976FEB-9992-856F-5BA6-43EE3E6B9B21}"/>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Como fazemos o que fazemos?</a:t>
            </a:r>
          </a:p>
        </p:txBody>
      </p:sp>
      <p:sp>
        <p:nvSpPr>
          <p:cNvPr id="11" name="TextBox 13">
            <a:extLst>
              <a:ext uri="{FF2B5EF4-FFF2-40B4-BE49-F238E27FC236}">
                <a16:creationId xmlns:a16="http://schemas.microsoft.com/office/drawing/2014/main" id="{6BF8B482-3D2E-9AE2-AAAA-67B28DDB3259}"/>
              </a:ext>
            </a:extLst>
          </p:cNvPr>
          <p:cNvSpPr txBox="1"/>
          <p:nvPr/>
        </p:nvSpPr>
        <p:spPr>
          <a:xfrm>
            <a:off x="6228395" y="1489487"/>
            <a:ext cx="5345181" cy="2462213"/>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pt-BR" sz="1600" dirty="0">
                <a:solidFill>
                  <a:srgbClr val="01426A"/>
                </a:solidFill>
              </a:rPr>
              <a:t>Faz, depois melhora.</a:t>
            </a:r>
          </a:p>
          <a:p>
            <a:endParaRPr lang="pt-BR" sz="1600" dirty="0">
              <a:solidFill>
                <a:srgbClr val="01426A"/>
              </a:solidFill>
            </a:endParaRPr>
          </a:p>
          <a:p>
            <a:r>
              <a:rPr lang="pt-BR" sz="1600" dirty="0">
                <a:solidFill>
                  <a:srgbClr val="01426A"/>
                </a:solidFill>
              </a:rPr>
              <a:t>Começa no simples e implanta, depois aumenta a complexidade.</a:t>
            </a:r>
          </a:p>
          <a:p>
            <a:endParaRPr lang="pt-BR" sz="1600" dirty="0">
              <a:solidFill>
                <a:srgbClr val="01426A"/>
              </a:solidFill>
            </a:endParaRPr>
          </a:p>
          <a:p>
            <a:r>
              <a:rPr lang="pt-BR" sz="1600" dirty="0">
                <a:solidFill>
                  <a:srgbClr val="01426A"/>
                </a:solidFill>
              </a:rPr>
              <a:t>Não se acomode depois da implantação, achando que se ninguém reclamou está bom.  Se não gostam não usam.</a:t>
            </a:r>
          </a:p>
          <a:p>
            <a:endParaRPr lang="pt-BR" sz="1600" dirty="0">
              <a:solidFill>
                <a:srgbClr val="01426A"/>
              </a:solidFill>
            </a:endParaRPr>
          </a:p>
          <a:p>
            <a:r>
              <a:rPr lang="pt-BR" sz="1600" dirty="0">
                <a:solidFill>
                  <a:srgbClr val="01426A"/>
                </a:solidFill>
              </a:rPr>
              <a:t>Não automatize a burrice.</a:t>
            </a:r>
          </a:p>
        </p:txBody>
      </p:sp>
      <p:pic>
        <p:nvPicPr>
          <p:cNvPr id="3" name="Picture 2" descr="Judô: origem, história e regras dessa arte marcial - Toda Matéria">
            <a:extLst>
              <a:ext uri="{FF2B5EF4-FFF2-40B4-BE49-F238E27FC236}">
                <a16:creationId xmlns:a16="http://schemas.microsoft.com/office/drawing/2014/main" id="{43EA580D-4902-BB64-AC13-1B82C9F9B3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194" y="1098918"/>
            <a:ext cx="4825439" cy="361442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 name="TextBox 13">
            <a:extLst>
              <a:ext uri="{FF2B5EF4-FFF2-40B4-BE49-F238E27FC236}">
                <a16:creationId xmlns:a16="http://schemas.microsoft.com/office/drawing/2014/main" id="{45F9F21F-6FDA-2F16-F18E-DAD3973452DC}"/>
              </a:ext>
            </a:extLst>
          </p:cNvPr>
          <p:cNvSpPr txBox="1"/>
          <p:nvPr/>
        </p:nvSpPr>
        <p:spPr>
          <a:xfrm>
            <a:off x="1675303" y="5172398"/>
            <a:ext cx="8383097" cy="430887"/>
          </a:xfrm>
          <a:prstGeom prst="rect">
            <a:avLst/>
          </a:prstGeom>
          <a:noFill/>
        </p:spPr>
        <p:txBody>
          <a:bodyPr wrap="square" lIns="0" tIns="0" rIns="0" bIns="0" rtlCol="0">
            <a:spAutoFit/>
          </a:bodyPr>
          <a:lstStyle>
            <a:defPPr>
              <a:defRPr lang="en-US"/>
            </a:defPPr>
            <a:lvl1pPr>
              <a:defRPr sz="1400" b="1">
                <a:solidFill>
                  <a:schemeClr val="tx1">
                    <a:lumMod val="75000"/>
                    <a:lumOff val="25000"/>
                  </a:schemeClr>
                </a:solidFill>
                <a:cs typeface="Arial" pitchFamily="34" charset="0"/>
              </a:defRPr>
            </a:lvl1pPr>
          </a:lstStyle>
          <a:p>
            <a:r>
              <a:rPr lang="pt-BR" sz="2800" dirty="0">
                <a:solidFill>
                  <a:srgbClr val="01426A"/>
                </a:solidFill>
              </a:rPr>
              <a:t>O Faixa Preta É O Faixa Branca Que Não Desistiu </a:t>
            </a:r>
          </a:p>
        </p:txBody>
      </p:sp>
    </p:spTree>
    <p:extLst>
      <p:ext uri="{BB962C8B-B14F-4D97-AF65-F5344CB8AC3E}">
        <p14:creationId xmlns:p14="http://schemas.microsoft.com/office/powerpoint/2010/main" val="1786983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7D606ACE-DCF7-0F24-F159-7DD7C2F06314}"/>
              </a:ext>
            </a:extLst>
          </p:cNvPr>
          <p:cNvSpPr txBox="1"/>
          <p:nvPr/>
        </p:nvSpPr>
        <p:spPr>
          <a:xfrm>
            <a:off x="347875" y="2285999"/>
            <a:ext cx="11488525" cy="615553"/>
          </a:xfrm>
          <a:prstGeom prst="rect">
            <a:avLst/>
          </a:prstGeom>
          <a:noFill/>
        </p:spPr>
        <p:txBody>
          <a:bodyPr wrap="square" lIns="0" tIns="0" rIns="0" bIns="0" rtlCol="0">
            <a:spAutoFit/>
          </a:bodyPr>
          <a:lstStyle/>
          <a:p>
            <a:pPr algn="ctr"/>
            <a:r>
              <a:rPr lang="pt-BR" sz="4000" b="1" dirty="0">
                <a:solidFill>
                  <a:schemeClr val="bg1"/>
                </a:solidFill>
                <a:latin typeface="Omnes" panose="02000606040000020004" pitchFamily="50" charset="0"/>
              </a:rPr>
              <a:t>Obrigada!</a:t>
            </a:r>
          </a:p>
        </p:txBody>
      </p:sp>
    </p:spTree>
    <p:extLst>
      <p:ext uri="{BB962C8B-B14F-4D97-AF65-F5344CB8AC3E}">
        <p14:creationId xmlns:p14="http://schemas.microsoft.com/office/powerpoint/2010/main" val="391628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AutoShape 4" descr="Kits de ferramentas | Ótimo lugar para trabalh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2" name="Título 1">
            <a:extLst>
              <a:ext uri="{FF2B5EF4-FFF2-40B4-BE49-F238E27FC236}">
                <a16:creationId xmlns:a16="http://schemas.microsoft.com/office/drawing/2014/main" id="{483B29B8-1B6E-3BFE-9B7E-E561AA6D9412}"/>
              </a:ext>
            </a:extLst>
          </p:cNvPr>
          <p:cNvSpPr>
            <a:spLocks noGrp="1"/>
          </p:cNvSpPr>
          <p:nvPr>
            <p:ph type="title"/>
          </p:nvPr>
        </p:nvSpPr>
        <p:spPr>
          <a:prstGeom prst="rect">
            <a:avLst/>
          </a:prstGeom>
        </p:spPr>
        <p:txBody>
          <a:bodyPr>
            <a:normAutofit/>
          </a:bodyPr>
          <a:lstStyle/>
          <a:p>
            <a:r>
              <a:rPr kumimoji="0" lang="pt" sz="2800" b="1" i="0" u="none" strike="noStrike" kern="1200" cap="none" spc="0" normalizeH="0" baseline="0" noProof="0" dirty="0">
                <a:ln>
                  <a:noFill/>
                </a:ln>
                <a:effectLst/>
                <a:uLnTx/>
                <a:uFillTx/>
                <a:latin typeface="Omnes" panose="02000606040000020004" pitchFamily="50" charset="0"/>
                <a:ea typeface="+mn-ea"/>
                <a:cs typeface="Calibri" panose="020F0502020204030204" pitchFamily="34" charset="0"/>
                <a:sym typeface="Arial"/>
              </a:rPr>
              <a:t>Atento em resumo</a:t>
            </a:r>
            <a:endParaRPr lang="en-US" sz="2800" dirty="0">
              <a:latin typeface="Omnes" panose="02000606040000020004" pitchFamily="50" charset="0"/>
            </a:endParaRPr>
          </a:p>
        </p:txBody>
      </p:sp>
      <p:sp>
        <p:nvSpPr>
          <p:cNvPr id="505" name="TextBox 69">
            <a:extLst>
              <a:ext uri="{FF2B5EF4-FFF2-40B4-BE49-F238E27FC236}">
                <a16:creationId xmlns:a16="http://schemas.microsoft.com/office/drawing/2014/main" id="{91E532FA-CF31-9E08-C967-41AB49B2FD45}"/>
              </a:ext>
            </a:extLst>
          </p:cNvPr>
          <p:cNvSpPr txBox="1"/>
          <p:nvPr/>
        </p:nvSpPr>
        <p:spPr>
          <a:xfrm>
            <a:off x="828067" y="4576582"/>
            <a:ext cx="2188100" cy="759439"/>
          </a:xfrm>
          <a:prstGeom prst="rect">
            <a:avLst/>
          </a:prstGeom>
          <a:noFill/>
        </p:spPr>
        <p:txBody>
          <a:bodyPr wrap="none" lIns="0" tIns="0" rIns="0" bIns="0" rtlCol="0" anchor="t">
            <a:spAutoFit/>
          </a:bodyPr>
          <a:lstStyle/>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lang="pt" sz="2800" b="1">
                <a:solidFill>
                  <a:srgbClr val="01426A"/>
                </a:solidFill>
                <a:latin typeface="+mn-lt"/>
                <a:cs typeface="Calibri"/>
              </a:rPr>
              <a:t>+</a:t>
            </a:r>
            <a:r>
              <a:rPr kumimoji="0" lang="pt" sz="2800" b="1" i="0" u="none" strike="noStrike" kern="0" cap="none" spc="0" normalizeH="0" baseline="0" noProof="0">
                <a:ln>
                  <a:noFill/>
                </a:ln>
                <a:solidFill>
                  <a:srgbClr val="01426A"/>
                </a:solidFill>
                <a:effectLst/>
                <a:uLnTx/>
                <a:uFillTx/>
                <a:latin typeface="+mn-lt"/>
                <a:cs typeface="Calibri"/>
                <a:sym typeface="Arial"/>
              </a:rPr>
              <a:t>121k</a:t>
            </a:r>
          </a:p>
          <a:p>
            <a:pPr algn="ctr">
              <a:lnSpc>
                <a:spcPts val="2000"/>
              </a:lnSpc>
              <a:defRPr/>
            </a:pPr>
            <a:r>
              <a:rPr lang="pt" sz="1600">
                <a:solidFill>
                  <a:srgbClr val="000000">
                    <a:lumMod val="50000"/>
                    <a:lumOff val="50000"/>
                  </a:srgbClr>
                </a:solidFill>
                <a:latin typeface="+mn-lt"/>
                <a:cs typeface="Calibri" panose="020F0502020204030204" pitchFamily="34" charset="0"/>
              </a:rPr>
              <a:t>Colaboradores em </a:t>
            </a:r>
            <a:br>
              <a:rPr lang="en-US" sz="1600" dirty="0">
                <a:solidFill>
                  <a:srgbClr val="000000">
                    <a:lumMod val="50000"/>
                    <a:lumOff val="50000"/>
                  </a:srgbClr>
                </a:solidFill>
                <a:latin typeface="+mn-lt"/>
                <a:cs typeface="Calibri" panose="020F0502020204030204" pitchFamily="34" charset="0"/>
              </a:rPr>
            </a:br>
            <a:r>
              <a:rPr lang="pt" sz="1600">
                <a:solidFill>
                  <a:srgbClr val="000000">
                    <a:lumMod val="50000"/>
                    <a:lumOff val="50000"/>
                  </a:srgbClr>
                </a:solidFill>
                <a:latin typeface="+mn-lt"/>
                <a:cs typeface="Calibri" panose="020F0502020204030204" pitchFamily="34" charset="0"/>
              </a:rPr>
              <a:t>~83k estações de trabalho</a:t>
            </a:r>
          </a:p>
        </p:txBody>
      </p:sp>
      <p:grpSp>
        <p:nvGrpSpPr>
          <p:cNvPr id="506" name="Group 71">
            <a:extLst>
              <a:ext uri="{FF2B5EF4-FFF2-40B4-BE49-F238E27FC236}">
                <a16:creationId xmlns:a16="http://schemas.microsoft.com/office/drawing/2014/main" id="{B4A6A0DA-0708-23A5-3056-D81EC103CE51}"/>
              </a:ext>
            </a:extLst>
          </p:cNvPr>
          <p:cNvGrpSpPr>
            <a:grpSpLocks noChangeAspect="1"/>
          </p:cNvGrpSpPr>
          <p:nvPr/>
        </p:nvGrpSpPr>
        <p:grpSpPr>
          <a:xfrm>
            <a:off x="1595319" y="3714130"/>
            <a:ext cx="610667" cy="524795"/>
            <a:chOff x="-1868488" y="3979863"/>
            <a:chExt cx="812801" cy="698501"/>
          </a:xfrm>
          <a:solidFill>
            <a:srgbClr val="01426A"/>
          </a:solidFill>
        </p:grpSpPr>
        <p:sp>
          <p:nvSpPr>
            <p:cNvPr id="507" name="Freeform 5">
              <a:extLst>
                <a:ext uri="{FF2B5EF4-FFF2-40B4-BE49-F238E27FC236}">
                  <a16:creationId xmlns:a16="http://schemas.microsoft.com/office/drawing/2014/main" id="{9D78B83E-2C7C-C354-AD8F-63C7DD718EC7}"/>
                </a:ext>
              </a:extLst>
            </p:cNvPr>
            <p:cNvSpPr>
              <a:spLocks noEditPoints="1"/>
            </p:cNvSpPr>
            <p:nvPr/>
          </p:nvSpPr>
          <p:spPr bwMode="auto">
            <a:xfrm>
              <a:off x="-1433513" y="4418013"/>
              <a:ext cx="153988" cy="260350"/>
            </a:xfrm>
            <a:custGeom>
              <a:avLst/>
              <a:gdLst>
                <a:gd name="T0" fmla="*/ 5 w 406"/>
                <a:gd name="T1" fmla="*/ 214 h 683"/>
                <a:gd name="T2" fmla="*/ 5 w 406"/>
                <a:gd name="T3" fmla="*/ 107 h 683"/>
                <a:gd name="T4" fmla="*/ 55 w 406"/>
                <a:gd name="T5" fmla="*/ 24 h 683"/>
                <a:gd name="T6" fmla="*/ 133 w 406"/>
                <a:gd name="T7" fmla="*/ 4 h 683"/>
                <a:gd name="T8" fmla="*/ 312 w 406"/>
                <a:gd name="T9" fmla="*/ 5 h 683"/>
                <a:gd name="T10" fmla="*/ 345 w 406"/>
                <a:gd name="T11" fmla="*/ 16 h 683"/>
                <a:gd name="T12" fmla="*/ 392 w 406"/>
                <a:gd name="T13" fmla="*/ 64 h 683"/>
                <a:gd name="T14" fmla="*/ 404 w 406"/>
                <a:gd name="T15" fmla="*/ 95 h 683"/>
                <a:gd name="T16" fmla="*/ 403 w 406"/>
                <a:gd name="T17" fmla="*/ 333 h 683"/>
                <a:gd name="T18" fmla="*/ 355 w 406"/>
                <a:gd name="T19" fmla="*/ 405 h 683"/>
                <a:gd name="T20" fmla="*/ 322 w 406"/>
                <a:gd name="T21" fmla="*/ 451 h 683"/>
                <a:gd name="T22" fmla="*/ 319 w 406"/>
                <a:gd name="T23" fmla="*/ 629 h 683"/>
                <a:gd name="T24" fmla="*/ 278 w 406"/>
                <a:gd name="T25" fmla="*/ 678 h 683"/>
                <a:gd name="T26" fmla="*/ 131 w 406"/>
                <a:gd name="T27" fmla="*/ 677 h 683"/>
                <a:gd name="T28" fmla="*/ 90 w 406"/>
                <a:gd name="T29" fmla="*/ 631 h 683"/>
                <a:gd name="T30" fmla="*/ 91 w 406"/>
                <a:gd name="T31" fmla="*/ 467 h 683"/>
                <a:gd name="T32" fmla="*/ 58 w 406"/>
                <a:gd name="T33" fmla="*/ 405 h 683"/>
                <a:gd name="T34" fmla="*/ 5 w 406"/>
                <a:gd name="T35" fmla="*/ 307 h 683"/>
                <a:gd name="T36" fmla="*/ 5 w 406"/>
                <a:gd name="T37" fmla="*/ 214 h 683"/>
                <a:gd name="T38" fmla="*/ 343 w 406"/>
                <a:gd name="T39" fmla="*/ 213 h 683"/>
                <a:gd name="T40" fmla="*/ 343 w 406"/>
                <a:gd name="T41" fmla="*/ 104 h 683"/>
                <a:gd name="T42" fmla="*/ 305 w 406"/>
                <a:gd name="T43" fmla="*/ 66 h 683"/>
                <a:gd name="T44" fmla="*/ 114 w 406"/>
                <a:gd name="T45" fmla="*/ 66 h 683"/>
                <a:gd name="T46" fmla="*/ 66 w 406"/>
                <a:gd name="T47" fmla="*/ 114 h 683"/>
                <a:gd name="T48" fmla="*/ 66 w 406"/>
                <a:gd name="T49" fmla="*/ 311 h 683"/>
                <a:gd name="T50" fmla="*/ 112 w 406"/>
                <a:gd name="T51" fmla="*/ 363 h 683"/>
                <a:gd name="T52" fmla="*/ 125 w 406"/>
                <a:gd name="T53" fmla="*/ 367 h 683"/>
                <a:gd name="T54" fmla="*/ 151 w 406"/>
                <a:gd name="T55" fmla="*/ 431 h 683"/>
                <a:gd name="T56" fmla="*/ 151 w 406"/>
                <a:gd name="T57" fmla="*/ 576 h 683"/>
                <a:gd name="T58" fmla="*/ 209 w 406"/>
                <a:gd name="T59" fmla="*/ 633 h 683"/>
                <a:gd name="T60" fmla="*/ 258 w 406"/>
                <a:gd name="T61" fmla="*/ 584 h 683"/>
                <a:gd name="T62" fmla="*/ 259 w 406"/>
                <a:gd name="T63" fmla="*/ 418 h 683"/>
                <a:gd name="T64" fmla="*/ 309 w 406"/>
                <a:gd name="T65" fmla="*/ 362 h 683"/>
                <a:gd name="T66" fmla="*/ 343 w 406"/>
                <a:gd name="T67" fmla="*/ 325 h 683"/>
                <a:gd name="T68" fmla="*/ 343 w 406"/>
                <a:gd name="T69" fmla="*/ 213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683">
                  <a:moveTo>
                    <a:pt x="5" y="214"/>
                  </a:moveTo>
                  <a:cubicBezTo>
                    <a:pt x="5" y="179"/>
                    <a:pt x="7" y="143"/>
                    <a:pt x="5" y="107"/>
                  </a:cubicBezTo>
                  <a:cubicBezTo>
                    <a:pt x="2" y="67"/>
                    <a:pt x="32" y="48"/>
                    <a:pt x="55" y="24"/>
                  </a:cubicBezTo>
                  <a:cubicBezTo>
                    <a:pt x="78" y="0"/>
                    <a:pt x="106" y="4"/>
                    <a:pt x="133" y="4"/>
                  </a:cubicBezTo>
                  <a:cubicBezTo>
                    <a:pt x="193" y="4"/>
                    <a:pt x="252" y="4"/>
                    <a:pt x="312" y="5"/>
                  </a:cubicBezTo>
                  <a:cubicBezTo>
                    <a:pt x="324" y="5"/>
                    <a:pt x="334" y="12"/>
                    <a:pt x="345" y="16"/>
                  </a:cubicBezTo>
                  <a:cubicBezTo>
                    <a:pt x="371" y="25"/>
                    <a:pt x="381" y="42"/>
                    <a:pt x="392" y="64"/>
                  </a:cubicBezTo>
                  <a:cubicBezTo>
                    <a:pt x="397" y="74"/>
                    <a:pt x="404" y="83"/>
                    <a:pt x="404" y="95"/>
                  </a:cubicBezTo>
                  <a:cubicBezTo>
                    <a:pt x="404" y="174"/>
                    <a:pt x="406" y="254"/>
                    <a:pt x="403" y="333"/>
                  </a:cubicBezTo>
                  <a:cubicBezTo>
                    <a:pt x="401" y="362"/>
                    <a:pt x="388" y="390"/>
                    <a:pt x="355" y="405"/>
                  </a:cubicBezTo>
                  <a:cubicBezTo>
                    <a:pt x="338" y="413"/>
                    <a:pt x="322" y="426"/>
                    <a:pt x="322" y="451"/>
                  </a:cubicBezTo>
                  <a:cubicBezTo>
                    <a:pt x="323" y="511"/>
                    <a:pt x="324" y="570"/>
                    <a:pt x="319" y="629"/>
                  </a:cubicBezTo>
                  <a:cubicBezTo>
                    <a:pt x="317" y="654"/>
                    <a:pt x="302" y="675"/>
                    <a:pt x="278" y="678"/>
                  </a:cubicBezTo>
                  <a:cubicBezTo>
                    <a:pt x="229" y="683"/>
                    <a:pt x="180" y="683"/>
                    <a:pt x="131" y="677"/>
                  </a:cubicBezTo>
                  <a:cubicBezTo>
                    <a:pt x="108" y="675"/>
                    <a:pt x="91" y="653"/>
                    <a:pt x="90" y="631"/>
                  </a:cubicBezTo>
                  <a:cubicBezTo>
                    <a:pt x="90" y="576"/>
                    <a:pt x="87" y="521"/>
                    <a:pt x="91" y="467"/>
                  </a:cubicBezTo>
                  <a:cubicBezTo>
                    <a:pt x="93" y="437"/>
                    <a:pt x="78" y="420"/>
                    <a:pt x="58" y="405"/>
                  </a:cubicBezTo>
                  <a:cubicBezTo>
                    <a:pt x="25" y="381"/>
                    <a:pt x="0" y="354"/>
                    <a:pt x="5" y="307"/>
                  </a:cubicBezTo>
                  <a:cubicBezTo>
                    <a:pt x="8" y="277"/>
                    <a:pt x="5" y="245"/>
                    <a:pt x="5" y="214"/>
                  </a:cubicBezTo>
                  <a:close/>
                  <a:moveTo>
                    <a:pt x="343" y="213"/>
                  </a:moveTo>
                  <a:cubicBezTo>
                    <a:pt x="343" y="177"/>
                    <a:pt x="343" y="140"/>
                    <a:pt x="343" y="104"/>
                  </a:cubicBezTo>
                  <a:cubicBezTo>
                    <a:pt x="342" y="72"/>
                    <a:pt x="336" y="66"/>
                    <a:pt x="305" y="66"/>
                  </a:cubicBezTo>
                  <a:cubicBezTo>
                    <a:pt x="241" y="66"/>
                    <a:pt x="178" y="66"/>
                    <a:pt x="114" y="66"/>
                  </a:cubicBezTo>
                  <a:cubicBezTo>
                    <a:pt x="85" y="66"/>
                    <a:pt x="66" y="84"/>
                    <a:pt x="66" y="114"/>
                  </a:cubicBezTo>
                  <a:cubicBezTo>
                    <a:pt x="66" y="180"/>
                    <a:pt x="66" y="245"/>
                    <a:pt x="66" y="311"/>
                  </a:cubicBezTo>
                  <a:cubicBezTo>
                    <a:pt x="66" y="340"/>
                    <a:pt x="82" y="358"/>
                    <a:pt x="112" y="363"/>
                  </a:cubicBezTo>
                  <a:cubicBezTo>
                    <a:pt x="116" y="363"/>
                    <a:pt x="124" y="365"/>
                    <a:pt x="125" y="367"/>
                  </a:cubicBezTo>
                  <a:cubicBezTo>
                    <a:pt x="130" y="390"/>
                    <a:pt x="152" y="404"/>
                    <a:pt x="151" y="431"/>
                  </a:cubicBezTo>
                  <a:cubicBezTo>
                    <a:pt x="149" y="479"/>
                    <a:pt x="151" y="528"/>
                    <a:pt x="151" y="576"/>
                  </a:cubicBezTo>
                  <a:cubicBezTo>
                    <a:pt x="150" y="646"/>
                    <a:pt x="152" y="633"/>
                    <a:pt x="209" y="633"/>
                  </a:cubicBezTo>
                  <a:cubicBezTo>
                    <a:pt x="258" y="634"/>
                    <a:pt x="258" y="634"/>
                    <a:pt x="258" y="584"/>
                  </a:cubicBezTo>
                  <a:cubicBezTo>
                    <a:pt x="258" y="529"/>
                    <a:pt x="258" y="473"/>
                    <a:pt x="259" y="418"/>
                  </a:cubicBezTo>
                  <a:cubicBezTo>
                    <a:pt x="259" y="386"/>
                    <a:pt x="279" y="365"/>
                    <a:pt x="309" y="362"/>
                  </a:cubicBezTo>
                  <a:cubicBezTo>
                    <a:pt x="334" y="360"/>
                    <a:pt x="342" y="351"/>
                    <a:pt x="343" y="325"/>
                  </a:cubicBezTo>
                  <a:cubicBezTo>
                    <a:pt x="343" y="288"/>
                    <a:pt x="343" y="251"/>
                    <a:pt x="343"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08" name="Freeform 6">
              <a:extLst>
                <a:ext uri="{FF2B5EF4-FFF2-40B4-BE49-F238E27FC236}">
                  <a16:creationId xmlns:a16="http://schemas.microsoft.com/office/drawing/2014/main" id="{B8994B65-141F-0A20-DBF7-2520CFC44668}"/>
                </a:ext>
              </a:extLst>
            </p:cNvPr>
            <p:cNvSpPr>
              <a:spLocks noEditPoints="1"/>
            </p:cNvSpPr>
            <p:nvPr/>
          </p:nvSpPr>
          <p:spPr bwMode="auto">
            <a:xfrm>
              <a:off x="-1868488" y="4419601"/>
              <a:ext cx="161925" cy="258763"/>
            </a:xfrm>
            <a:custGeom>
              <a:avLst/>
              <a:gdLst>
                <a:gd name="T0" fmla="*/ 20 w 420"/>
                <a:gd name="T1" fmla="*/ 217 h 680"/>
                <a:gd name="T2" fmla="*/ 19 w 420"/>
                <a:gd name="T3" fmla="*/ 127 h 680"/>
                <a:gd name="T4" fmla="*/ 44 w 420"/>
                <a:gd name="T5" fmla="*/ 30 h 680"/>
                <a:gd name="T6" fmla="*/ 46 w 420"/>
                <a:gd name="T7" fmla="*/ 26 h 680"/>
                <a:gd name="T8" fmla="*/ 107 w 420"/>
                <a:gd name="T9" fmla="*/ 1 h 680"/>
                <a:gd name="T10" fmla="*/ 330 w 420"/>
                <a:gd name="T11" fmla="*/ 1 h 680"/>
                <a:gd name="T12" fmla="*/ 398 w 420"/>
                <a:gd name="T13" fmla="*/ 48 h 680"/>
                <a:gd name="T14" fmla="*/ 419 w 420"/>
                <a:gd name="T15" fmla="*/ 126 h 680"/>
                <a:gd name="T16" fmla="*/ 419 w 420"/>
                <a:gd name="T17" fmla="*/ 314 h 680"/>
                <a:gd name="T18" fmla="*/ 391 w 420"/>
                <a:gd name="T19" fmla="*/ 377 h 680"/>
                <a:gd name="T20" fmla="*/ 351 w 420"/>
                <a:gd name="T21" fmla="*/ 416 h 680"/>
                <a:gd name="T22" fmla="*/ 337 w 420"/>
                <a:gd name="T23" fmla="*/ 451 h 680"/>
                <a:gd name="T24" fmla="*/ 337 w 420"/>
                <a:gd name="T25" fmla="*/ 608 h 680"/>
                <a:gd name="T26" fmla="*/ 267 w 420"/>
                <a:gd name="T27" fmla="*/ 677 h 680"/>
                <a:gd name="T28" fmla="*/ 146 w 420"/>
                <a:gd name="T29" fmla="*/ 674 h 680"/>
                <a:gd name="T30" fmla="*/ 105 w 420"/>
                <a:gd name="T31" fmla="*/ 626 h 680"/>
                <a:gd name="T32" fmla="*/ 104 w 420"/>
                <a:gd name="T33" fmla="*/ 454 h 680"/>
                <a:gd name="T34" fmla="*/ 65 w 420"/>
                <a:gd name="T35" fmla="*/ 399 h 680"/>
                <a:gd name="T36" fmla="*/ 39 w 420"/>
                <a:gd name="T37" fmla="*/ 375 h 680"/>
                <a:gd name="T38" fmla="*/ 20 w 420"/>
                <a:gd name="T39" fmla="*/ 217 h 680"/>
                <a:gd name="T40" fmla="*/ 81 w 420"/>
                <a:gd name="T41" fmla="*/ 206 h 680"/>
                <a:gd name="T42" fmla="*/ 81 w 420"/>
                <a:gd name="T43" fmla="*/ 315 h 680"/>
                <a:gd name="T44" fmla="*/ 120 w 420"/>
                <a:gd name="T45" fmla="*/ 358 h 680"/>
                <a:gd name="T46" fmla="*/ 165 w 420"/>
                <a:gd name="T47" fmla="*/ 408 h 680"/>
                <a:gd name="T48" fmla="*/ 165 w 420"/>
                <a:gd name="T49" fmla="*/ 562 h 680"/>
                <a:gd name="T50" fmla="*/ 232 w 420"/>
                <a:gd name="T51" fmla="*/ 630 h 680"/>
                <a:gd name="T52" fmla="*/ 276 w 420"/>
                <a:gd name="T53" fmla="*/ 586 h 680"/>
                <a:gd name="T54" fmla="*/ 276 w 420"/>
                <a:gd name="T55" fmla="*/ 403 h 680"/>
                <a:gd name="T56" fmla="*/ 317 w 420"/>
                <a:gd name="T57" fmla="*/ 358 h 680"/>
                <a:gd name="T58" fmla="*/ 357 w 420"/>
                <a:gd name="T59" fmla="*/ 315 h 680"/>
                <a:gd name="T60" fmla="*/ 357 w 420"/>
                <a:gd name="T61" fmla="*/ 106 h 680"/>
                <a:gd name="T62" fmla="*/ 313 w 420"/>
                <a:gd name="T63" fmla="*/ 62 h 680"/>
                <a:gd name="T64" fmla="*/ 118 w 420"/>
                <a:gd name="T65" fmla="*/ 62 h 680"/>
                <a:gd name="T66" fmla="*/ 81 w 420"/>
                <a:gd name="T67" fmla="*/ 99 h 680"/>
                <a:gd name="T68" fmla="*/ 81 w 420"/>
                <a:gd name="T69" fmla="*/ 20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680">
                  <a:moveTo>
                    <a:pt x="20" y="217"/>
                  </a:moveTo>
                  <a:cubicBezTo>
                    <a:pt x="20" y="181"/>
                    <a:pt x="23" y="154"/>
                    <a:pt x="19" y="127"/>
                  </a:cubicBezTo>
                  <a:cubicBezTo>
                    <a:pt x="13" y="90"/>
                    <a:pt x="33" y="62"/>
                    <a:pt x="44" y="30"/>
                  </a:cubicBezTo>
                  <a:cubicBezTo>
                    <a:pt x="44" y="29"/>
                    <a:pt x="45" y="26"/>
                    <a:pt x="46" y="26"/>
                  </a:cubicBezTo>
                  <a:cubicBezTo>
                    <a:pt x="70" y="26"/>
                    <a:pt x="83" y="1"/>
                    <a:pt x="107" y="1"/>
                  </a:cubicBezTo>
                  <a:cubicBezTo>
                    <a:pt x="181" y="1"/>
                    <a:pt x="256" y="0"/>
                    <a:pt x="330" y="1"/>
                  </a:cubicBezTo>
                  <a:cubicBezTo>
                    <a:pt x="362" y="2"/>
                    <a:pt x="378" y="29"/>
                    <a:pt x="398" y="48"/>
                  </a:cubicBezTo>
                  <a:cubicBezTo>
                    <a:pt x="420" y="69"/>
                    <a:pt x="419" y="98"/>
                    <a:pt x="419" y="126"/>
                  </a:cubicBezTo>
                  <a:cubicBezTo>
                    <a:pt x="418" y="189"/>
                    <a:pt x="417" y="252"/>
                    <a:pt x="419" y="314"/>
                  </a:cubicBezTo>
                  <a:cubicBezTo>
                    <a:pt x="420" y="342"/>
                    <a:pt x="404" y="358"/>
                    <a:pt x="391" y="377"/>
                  </a:cubicBezTo>
                  <a:cubicBezTo>
                    <a:pt x="380" y="393"/>
                    <a:pt x="365" y="404"/>
                    <a:pt x="351" y="416"/>
                  </a:cubicBezTo>
                  <a:cubicBezTo>
                    <a:pt x="339" y="427"/>
                    <a:pt x="337" y="437"/>
                    <a:pt x="337" y="451"/>
                  </a:cubicBezTo>
                  <a:cubicBezTo>
                    <a:pt x="337" y="503"/>
                    <a:pt x="336" y="556"/>
                    <a:pt x="337" y="608"/>
                  </a:cubicBezTo>
                  <a:cubicBezTo>
                    <a:pt x="338" y="651"/>
                    <a:pt x="309" y="679"/>
                    <a:pt x="267" y="677"/>
                  </a:cubicBezTo>
                  <a:cubicBezTo>
                    <a:pt x="227" y="675"/>
                    <a:pt x="186" y="680"/>
                    <a:pt x="146" y="674"/>
                  </a:cubicBezTo>
                  <a:cubicBezTo>
                    <a:pt x="121" y="670"/>
                    <a:pt x="105" y="651"/>
                    <a:pt x="105" y="626"/>
                  </a:cubicBezTo>
                  <a:cubicBezTo>
                    <a:pt x="104" y="569"/>
                    <a:pt x="104" y="511"/>
                    <a:pt x="104" y="454"/>
                  </a:cubicBezTo>
                  <a:cubicBezTo>
                    <a:pt x="104" y="428"/>
                    <a:pt x="90" y="407"/>
                    <a:pt x="65" y="399"/>
                  </a:cubicBezTo>
                  <a:cubicBezTo>
                    <a:pt x="51" y="395"/>
                    <a:pt x="47" y="385"/>
                    <a:pt x="39" y="375"/>
                  </a:cubicBezTo>
                  <a:cubicBezTo>
                    <a:pt x="0" y="322"/>
                    <a:pt x="30" y="263"/>
                    <a:pt x="20" y="217"/>
                  </a:cubicBezTo>
                  <a:close/>
                  <a:moveTo>
                    <a:pt x="81" y="206"/>
                  </a:moveTo>
                  <a:cubicBezTo>
                    <a:pt x="81" y="242"/>
                    <a:pt x="81" y="279"/>
                    <a:pt x="81" y="315"/>
                  </a:cubicBezTo>
                  <a:cubicBezTo>
                    <a:pt x="81" y="335"/>
                    <a:pt x="101" y="356"/>
                    <a:pt x="120" y="358"/>
                  </a:cubicBezTo>
                  <a:cubicBezTo>
                    <a:pt x="145" y="361"/>
                    <a:pt x="165" y="383"/>
                    <a:pt x="165" y="408"/>
                  </a:cubicBezTo>
                  <a:cubicBezTo>
                    <a:pt x="165" y="459"/>
                    <a:pt x="165" y="511"/>
                    <a:pt x="165" y="562"/>
                  </a:cubicBezTo>
                  <a:cubicBezTo>
                    <a:pt x="166" y="643"/>
                    <a:pt x="160" y="628"/>
                    <a:pt x="232" y="630"/>
                  </a:cubicBezTo>
                  <a:cubicBezTo>
                    <a:pt x="271" y="630"/>
                    <a:pt x="275" y="626"/>
                    <a:pt x="276" y="586"/>
                  </a:cubicBezTo>
                  <a:cubicBezTo>
                    <a:pt x="276" y="525"/>
                    <a:pt x="276" y="464"/>
                    <a:pt x="276" y="403"/>
                  </a:cubicBezTo>
                  <a:cubicBezTo>
                    <a:pt x="276" y="380"/>
                    <a:pt x="294" y="361"/>
                    <a:pt x="317" y="358"/>
                  </a:cubicBezTo>
                  <a:cubicBezTo>
                    <a:pt x="337" y="356"/>
                    <a:pt x="357" y="336"/>
                    <a:pt x="357" y="315"/>
                  </a:cubicBezTo>
                  <a:cubicBezTo>
                    <a:pt x="357" y="245"/>
                    <a:pt x="357" y="176"/>
                    <a:pt x="357" y="106"/>
                  </a:cubicBezTo>
                  <a:cubicBezTo>
                    <a:pt x="357" y="82"/>
                    <a:pt x="337" y="62"/>
                    <a:pt x="313" y="62"/>
                  </a:cubicBezTo>
                  <a:cubicBezTo>
                    <a:pt x="248" y="62"/>
                    <a:pt x="183" y="62"/>
                    <a:pt x="118" y="62"/>
                  </a:cubicBezTo>
                  <a:cubicBezTo>
                    <a:pt x="88" y="62"/>
                    <a:pt x="82" y="68"/>
                    <a:pt x="81" y="99"/>
                  </a:cubicBezTo>
                  <a:cubicBezTo>
                    <a:pt x="80" y="134"/>
                    <a:pt x="81" y="170"/>
                    <a:pt x="81"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09" name="Freeform 7">
              <a:extLst>
                <a:ext uri="{FF2B5EF4-FFF2-40B4-BE49-F238E27FC236}">
                  <a16:creationId xmlns:a16="http://schemas.microsoft.com/office/drawing/2014/main" id="{CF9EA72D-5F94-82CF-C8EF-852E13AC3381}"/>
                </a:ext>
              </a:extLst>
            </p:cNvPr>
            <p:cNvSpPr>
              <a:spLocks noEditPoints="1"/>
            </p:cNvSpPr>
            <p:nvPr/>
          </p:nvSpPr>
          <p:spPr bwMode="auto">
            <a:xfrm>
              <a:off x="-1652588" y="4411663"/>
              <a:ext cx="166688" cy="266700"/>
            </a:xfrm>
            <a:custGeom>
              <a:avLst/>
              <a:gdLst>
                <a:gd name="T0" fmla="*/ 428 w 435"/>
                <a:gd name="T1" fmla="*/ 381 h 696"/>
                <a:gd name="T2" fmla="*/ 428 w 435"/>
                <a:gd name="T3" fmla="*/ 418 h 696"/>
                <a:gd name="T4" fmla="*/ 368 w 435"/>
                <a:gd name="T5" fmla="*/ 481 h 696"/>
                <a:gd name="T6" fmla="*/ 342 w 435"/>
                <a:gd name="T7" fmla="*/ 509 h 696"/>
                <a:gd name="T8" fmla="*/ 341 w 435"/>
                <a:gd name="T9" fmla="*/ 556 h 696"/>
                <a:gd name="T10" fmla="*/ 329 w 435"/>
                <a:gd name="T11" fmla="*/ 590 h 696"/>
                <a:gd name="T12" fmla="*/ 323 w 435"/>
                <a:gd name="T13" fmla="*/ 631 h 696"/>
                <a:gd name="T14" fmla="*/ 259 w 435"/>
                <a:gd name="T15" fmla="*/ 695 h 696"/>
                <a:gd name="T16" fmla="*/ 162 w 435"/>
                <a:gd name="T17" fmla="*/ 694 h 696"/>
                <a:gd name="T18" fmla="*/ 111 w 435"/>
                <a:gd name="T19" fmla="*/ 642 h 696"/>
                <a:gd name="T20" fmla="*/ 95 w 435"/>
                <a:gd name="T21" fmla="*/ 600 h 696"/>
                <a:gd name="T22" fmla="*/ 91 w 435"/>
                <a:gd name="T23" fmla="*/ 580 h 696"/>
                <a:gd name="T24" fmla="*/ 90 w 435"/>
                <a:gd name="T25" fmla="*/ 509 h 696"/>
                <a:gd name="T26" fmla="*/ 64 w 435"/>
                <a:gd name="T27" fmla="*/ 481 h 696"/>
                <a:gd name="T28" fmla="*/ 5 w 435"/>
                <a:gd name="T29" fmla="*/ 421 h 696"/>
                <a:gd name="T30" fmla="*/ 11 w 435"/>
                <a:gd name="T31" fmla="*/ 327 h 696"/>
                <a:gd name="T32" fmla="*/ 32 w 435"/>
                <a:gd name="T33" fmla="*/ 237 h 696"/>
                <a:gd name="T34" fmla="*/ 49 w 435"/>
                <a:gd name="T35" fmla="*/ 142 h 696"/>
                <a:gd name="T36" fmla="*/ 49 w 435"/>
                <a:gd name="T37" fmla="*/ 137 h 696"/>
                <a:gd name="T38" fmla="*/ 83 w 435"/>
                <a:gd name="T39" fmla="*/ 75 h 696"/>
                <a:gd name="T40" fmla="*/ 89 w 435"/>
                <a:gd name="T41" fmla="*/ 65 h 696"/>
                <a:gd name="T42" fmla="*/ 117 w 435"/>
                <a:gd name="T43" fmla="*/ 38 h 696"/>
                <a:gd name="T44" fmla="*/ 124 w 435"/>
                <a:gd name="T45" fmla="*/ 37 h 696"/>
                <a:gd name="T46" fmla="*/ 286 w 435"/>
                <a:gd name="T47" fmla="*/ 20 h 696"/>
                <a:gd name="T48" fmla="*/ 343 w 435"/>
                <a:gd name="T49" fmla="*/ 53 h 696"/>
                <a:gd name="T50" fmla="*/ 366 w 435"/>
                <a:gd name="T51" fmla="*/ 114 h 696"/>
                <a:gd name="T52" fmla="*/ 378 w 435"/>
                <a:gd name="T53" fmla="*/ 146 h 696"/>
                <a:gd name="T54" fmla="*/ 384 w 435"/>
                <a:gd name="T55" fmla="*/ 175 h 696"/>
                <a:gd name="T56" fmla="*/ 401 w 435"/>
                <a:gd name="T57" fmla="*/ 231 h 696"/>
                <a:gd name="T58" fmla="*/ 404 w 435"/>
                <a:gd name="T59" fmla="*/ 252 h 696"/>
                <a:gd name="T60" fmla="*/ 423 w 435"/>
                <a:gd name="T61" fmla="*/ 322 h 696"/>
                <a:gd name="T62" fmla="*/ 428 w 435"/>
                <a:gd name="T63" fmla="*/ 381 h 696"/>
                <a:gd name="T64" fmla="*/ 217 w 435"/>
                <a:gd name="T65" fmla="*/ 81 h 696"/>
                <a:gd name="T66" fmla="*/ 217 w 435"/>
                <a:gd name="T67" fmla="*/ 81 h 696"/>
                <a:gd name="T68" fmla="*/ 155 w 435"/>
                <a:gd name="T69" fmla="*/ 81 h 696"/>
                <a:gd name="T70" fmla="*/ 135 w 435"/>
                <a:gd name="T71" fmla="*/ 90 h 696"/>
                <a:gd name="T72" fmla="*/ 114 w 435"/>
                <a:gd name="T73" fmla="*/ 138 h 696"/>
                <a:gd name="T74" fmla="*/ 93 w 435"/>
                <a:gd name="T75" fmla="*/ 223 h 696"/>
                <a:gd name="T76" fmla="*/ 71 w 435"/>
                <a:gd name="T77" fmla="*/ 330 h 696"/>
                <a:gd name="T78" fmla="*/ 50 w 435"/>
                <a:gd name="T79" fmla="*/ 385 h 696"/>
                <a:gd name="T80" fmla="*/ 52 w 435"/>
                <a:gd name="T81" fmla="*/ 405 h 696"/>
                <a:gd name="T82" fmla="*/ 86 w 435"/>
                <a:gd name="T83" fmla="*/ 421 h 696"/>
                <a:gd name="T84" fmla="*/ 151 w 435"/>
                <a:gd name="T85" fmla="*/ 487 h 696"/>
                <a:gd name="T86" fmla="*/ 169 w 435"/>
                <a:gd name="T87" fmla="*/ 618 h 696"/>
                <a:gd name="T88" fmla="*/ 210 w 435"/>
                <a:gd name="T89" fmla="*/ 649 h 696"/>
                <a:gd name="T90" fmla="*/ 238 w 435"/>
                <a:gd name="T91" fmla="*/ 648 h 696"/>
                <a:gd name="T92" fmla="*/ 256 w 435"/>
                <a:gd name="T93" fmla="*/ 638 h 696"/>
                <a:gd name="T94" fmla="*/ 280 w 435"/>
                <a:gd name="T95" fmla="*/ 570 h 696"/>
                <a:gd name="T96" fmla="*/ 280 w 435"/>
                <a:gd name="T97" fmla="*/ 565 h 696"/>
                <a:gd name="T98" fmla="*/ 297 w 435"/>
                <a:gd name="T99" fmla="*/ 468 h 696"/>
                <a:gd name="T100" fmla="*/ 320 w 435"/>
                <a:gd name="T101" fmla="*/ 432 h 696"/>
                <a:gd name="T102" fmla="*/ 359 w 435"/>
                <a:gd name="T103" fmla="*/ 420 h 696"/>
                <a:gd name="T104" fmla="*/ 380 w 435"/>
                <a:gd name="T105" fmla="*/ 382 h 696"/>
                <a:gd name="T106" fmla="*/ 366 w 435"/>
                <a:gd name="T107" fmla="*/ 340 h 696"/>
                <a:gd name="T108" fmla="*/ 361 w 435"/>
                <a:gd name="T109" fmla="*/ 317 h 696"/>
                <a:gd name="T110" fmla="*/ 343 w 435"/>
                <a:gd name="T111" fmla="*/ 256 h 696"/>
                <a:gd name="T112" fmla="*/ 338 w 435"/>
                <a:gd name="T113" fmla="*/ 212 h 696"/>
                <a:gd name="T114" fmla="*/ 323 w 435"/>
                <a:gd name="T115" fmla="*/ 163 h 696"/>
                <a:gd name="T116" fmla="*/ 319 w 435"/>
                <a:gd name="T117" fmla="*/ 147 h 696"/>
                <a:gd name="T118" fmla="*/ 303 w 435"/>
                <a:gd name="T119" fmla="*/ 110 h 696"/>
                <a:gd name="T120" fmla="*/ 272 w 435"/>
                <a:gd name="T121" fmla="*/ 81 h 696"/>
                <a:gd name="T122" fmla="*/ 217 w 435"/>
                <a:gd name="T123" fmla="*/ 81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5" h="696">
                  <a:moveTo>
                    <a:pt x="428" y="381"/>
                  </a:moveTo>
                  <a:cubicBezTo>
                    <a:pt x="428" y="396"/>
                    <a:pt x="428" y="407"/>
                    <a:pt x="428" y="418"/>
                  </a:cubicBezTo>
                  <a:cubicBezTo>
                    <a:pt x="427" y="459"/>
                    <a:pt x="408" y="480"/>
                    <a:pt x="368" y="481"/>
                  </a:cubicBezTo>
                  <a:cubicBezTo>
                    <a:pt x="348" y="482"/>
                    <a:pt x="341" y="490"/>
                    <a:pt x="342" y="509"/>
                  </a:cubicBezTo>
                  <a:cubicBezTo>
                    <a:pt x="342" y="524"/>
                    <a:pt x="341" y="540"/>
                    <a:pt x="341" y="556"/>
                  </a:cubicBezTo>
                  <a:cubicBezTo>
                    <a:pt x="341" y="569"/>
                    <a:pt x="341" y="580"/>
                    <a:pt x="329" y="590"/>
                  </a:cubicBezTo>
                  <a:cubicBezTo>
                    <a:pt x="317" y="600"/>
                    <a:pt x="323" y="617"/>
                    <a:pt x="323" y="631"/>
                  </a:cubicBezTo>
                  <a:cubicBezTo>
                    <a:pt x="322" y="674"/>
                    <a:pt x="303" y="695"/>
                    <a:pt x="259" y="695"/>
                  </a:cubicBezTo>
                  <a:cubicBezTo>
                    <a:pt x="227" y="696"/>
                    <a:pt x="194" y="696"/>
                    <a:pt x="162" y="694"/>
                  </a:cubicBezTo>
                  <a:cubicBezTo>
                    <a:pt x="132" y="691"/>
                    <a:pt x="114" y="672"/>
                    <a:pt x="111" y="642"/>
                  </a:cubicBezTo>
                  <a:cubicBezTo>
                    <a:pt x="109" y="627"/>
                    <a:pt x="112" y="611"/>
                    <a:pt x="95" y="600"/>
                  </a:cubicBezTo>
                  <a:cubicBezTo>
                    <a:pt x="89" y="597"/>
                    <a:pt x="91" y="587"/>
                    <a:pt x="91" y="580"/>
                  </a:cubicBezTo>
                  <a:cubicBezTo>
                    <a:pt x="91" y="556"/>
                    <a:pt x="90" y="532"/>
                    <a:pt x="90" y="509"/>
                  </a:cubicBezTo>
                  <a:cubicBezTo>
                    <a:pt x="91" y="490"/>
                    <a:pt x="84" y="482"/>
                    <a:pt x="64" y="481"/>
                  </a:cubicBezTo>
                  <a:cubicBezTo>
                    <a:pt x="27" y="481"/>
                    <a:pt x="7" y="459"/>
                    <a:pt x="5" y="421"/>
                  </a:cubicBezTo>
                  <a:cubicBezTo>
                    <a:pt x="3" y="389"/>
                    <a:pt x="0" y="355"/>
                    <a:pt x="11" y="327"/>
                  </a:cubicBezTo>
                  <a:cubicBezTo>
                    <a:pt x="23" y="297"/>
                    <a:pt x="19" y="262"/>
                    <a:pt x="32" y="237"/>
                  </a:cubicBezTo>
                  <a:cubicBezTo>
                    <a:pt x="50" y="205"/>
                    <a:pt x="44" y="174"/>
                    <a:pt x="49" y="142"/>
                  </a:cubicBezTo>
                  <a:cubicBezTo>
                    <a:pt x="49" y="140"/>
                    <a:pt x="48" y="138"/>
                    <a:pt x="49" y="137"/>
                  </a:cubicBezTo>
                  <a:cubicBezTo>
                    <a:pt x="73" y="123"/>
                    <a:pt x="64" y="92"/>
                    <a:pt x="83" y="75"/>
                  </a:cubicBezTo>
                  <a:cubicBezTo>
                    <a:pt x="86" y="72"/>
                    <a:pt x="89" y="68"/>
                    <a:pt x="89" y="65"/>
                  </a:cubicBezTo>
                  <a:cubicBezTo>
                    <a:pt x="89" y="46"/>
                    <a:pt x="99" y="38"/>
                    <a:pt x="117" y="38"/>
                  </a:cubicBezTo>
                  <a:cubicBezTo>
                    <a:pt x="119" y="39"/>
                    <a:pt x="122" y="38"/>
                    <a:pt x="124" y="37"/>
                  </a:cubicBezTo>
                  <a:cubicBezTo>
                    <a:pt x="175" y="0"/>
                    <a:pt x="232" y="28"/>
                    <a:pt x="286" y="20"/>
                  </a:cubicBezTo>
                  <a:cubicBezTo>
                    <a:pt x="299" y="41"/>
                    <a:pt x="326" y="35"/>
                    <a:pt x="343" y="53"/>
                  </a:cubicBezTo>
                  <a:cubicBezTo>
                    <a:pt x="362" y="72"/>
                    <a:pt x="365" y="91"/>
                    <a:pt x="366" y="114"/>
                  </a:cubicBezTo>
                  <a:cubicBezTo>
                    <a:pt x="366" y="126"/>
                    <a:pt x="366" y="138"/>
                    <a:pt x="378" y="146"/>
                  </a:cubicBezTo>
                  <a:cubicBezTo>
                    <a:pt x="387" y="153"/>
                    <a:pt x="383" y="165"/>
                    <a:pt x="384" y="175"/>
                  </a:cubicBezTo>
                  <a:cubicBezTo>
                    <a:pt x="387" y="195"/>
                    <a:pt x="379" y="217"/>
                    <a:pt x="401" y="231"/>
                  </a:cubicBezTo>
                  <a:cubicBezTo>
                    <a:pt x="405" y="234"/>
                    <a:pt x="404" y="245"/>
                    <a:pt x="404" y="252"/>
                  </a:cubicBezTo>
                  <a:cubicBezTo>
                    <a:pt x="406" y="276"/>
                    <a:pt x="404" y="300"/>
                    <a:pt x="423" y="322"/>
                  </a:cubicBezTo>
                  <a:cubicBezTo>
                    <a:pt x="435" y="337"/>
                    <a:pt x="426" y="364"/>
                    <a:pt x="428" y="381"/>
                  </a:cubicBezTo>
                  <a:close/>
                  <a:moveTo>
                    <a:pt x="217" y="81"/>
                  </a:moveTo>
                  <a:cubicBezTo>
                    <a:pt x="217" y="81"/>
                    <a:pt x="217" y="81"/>
                    <a:pt x="217" y="81"/>
                  </a:cubicBezTo>
                  <a:cubicBezTo>
                    <a:pt x="197" y="81"/>
                    <a:pt x="176" y="81"/>
                    <a:pt x="155" y="81"/>
                  </a:cubicBezTo>
                  <a:cubicBezTo>
                    <a:pt x="148" y="81"/>
                    <a:pt x="136" y="81"/>
                    <a:pt x="135" y="90"/>
                  </a:cubicBezTo>
                  <a:cubicBezTo>
                    <a:pt x="134" y="109"/>
                    <a:pt x="120" y="122"/>
                    <a:pt x="114" y="138"/>
                  </a:cubicBezTo>
                  <a:cubicBezTo>
                    <a:pt x="105" y="166"/>
                    <a:pt x="106" y="194"/>
                    <a:pt x="93" y="223"/>
                  </a:cubicBezTo>
                  <a:cubicBezTo>
                    <a:pt x="79" y="255"/>
                    <a:pt x="95" y="296"/>
                    <a:pt x="71" y="330"/>
                  </a:cubicBezTo>
                  <a:cubicBezTo>
                    <a:pt x="60" y="344"/>
                    <a:pt x="71" y="370"/>
                    <a:pt x="50" y="385"/>
                  </a:cubicBezTo>
                  <a:cubicBezTo>
                    <a:pt x="45" y="388"/>
                    <a:pt x="48" y="398"/>
                    <a:pt x="52" y="405"/>
                  </a:cubicBezTo>
                  <a:cubicBezTo>
                    <a:pt x="59" y="419"/>
                    <a:pt x="73" y="420"/>
                    <a:pt x="86" y="421"/>
                  </a:cubicBezTo>
                  <a:cubicBezTo>
                    <a:pt x="113" y="423"/>
                    <a:pt x="149" y="460"/>
                    <a:pt x="151" y="487"/>
                  </a:cubicBezTo>
                  <a:cubicBezTo>
                    <a:pt x="155" y="531"/>
                    <a:pt x="147" y="575"/>
                    <a:pt x="169" y="618"/>
                  </a:cubicBezTo>
                  <a:cubicBezTo>
                    <a:pt x="180" y="639"/>
                    <a:pt x="186" y="652"/>
                    <a:pt x="210" y="649"/>
                  </a:cubicBezTo>
                  <a:cubicBezTo>
                    <a:pt x="219" y="648"/>
                    <a:pt x="229" y="649"/>
                    <a:pt x="238" y="648"/>
                  </a:cubicBezTo>
                  <a:cubicBezTo>
                    <a:pt x="246" y="648"/>
                    <a:pt x="254" y="647"/>
                    <a:pt x="256" y="638"/>
                  </a:cubicBezTo>
                  <a:cubicBezTo>
                    <a:pt x="261" y="615"/>
                    <a:pt x="264" y="590"/>
                    <a:pt x="280" y="570"/>
                  </a:cubicBezTo>
                  <a:cubicBezTo>
                    <a:pt x="281" y="569"/>
                    <a:pt x="280" y="567"/>
                    <a:pt x="280" y="565"/>
                  </a:cubicBezTo>
                  <a:cubicBezTo>
                    <a:pt x="284" y="533"/>
                    <a:pt x="273" y="499"/>
                    <a:pt x="297" y="468"/>
                  </a:cubicBezTo>
                  <a:cubicBezTo>
                    <a:pt x="305" y="458"/>
                    <a:pt x="306" y="443"/>
                    <a:pt x="320" y="432"/>
                  </a:cubicBezTo>
                  <a:cubicBezTo>
                    <a:pt x="333" y="421"/>
                    <a:pt x="345" y="422"/>
                    <a:pt x="359" y="420"/>
                  </a:cubicBezTo>
                  <a:cubicBezTo>
                    <a:pt x="382" y="415"/>
                    <a:pt x="395" y="395"/>
                    <a:pt x="380" y="382"/>
                  </a:cubicBezTo>
                  <a:cubicBezTo>
                    <a:pt x="365" y="369"/>
                    <a:pt x="367" y="355"/>
                    <a:pt x="366" y="340"/>
                  </a:cubicBezTo>
                  <a:cubicBezTo>
                    <a:pt x="365" y="332"/>
                    <a:pt x="368" y="322"/>
                    <a:pt x="361" y="317"/>
                  </a:cubicBezTo>
                  <a:cubicBezTo>
                    <a:pt x="340" y="301"/>
                    <a:pt x="344" y="278"/>
                    <a:pt x="343" y="256"/>
                  </a:cubicBezTo>
                  <a:cubicBezTo>
                    <a:pt x="342" y="241"/>
                    <a:pt x="348" y="222"/>
                    <a:pt x="338" y="212"/>
                  </a:cubicBezTo>
                  <a:cubicBezTo>
                    <a:pt x="322" y="197"/>
                    <a:pt x="324" y="180"/>
                    <a:pt x="323" y="163"/>
                  </a:cubicBezTo>
                  <a:cubicBezTo>
                    <a:pt x="323" y="157"/>
                    <a:pt x="322" y="149"/>
                    <a:pt x="319" y="147"/>
                  </a:cubicBezTo>
                  <a:cubicBezTo>
                    <a:pt x="302" y="139"/>
                    <a:pt x="305" y="124"/>
                    <a:pt x="303" y="110"/>
                  </a:cubicBezTo>
                  <a:cubicBezTo>
                    <a:pt x="302" y="91"/>
                    <a:pt x="293" y="80"/>
                    <a:pt x="272" y="81"/>
                  </a:cubicBezTo>
                  <a:cubicBezTo>
                    <a:pt x="254" y="82"/>
                    <a:pt x="235" y="81"/>
                    <a:pt x="21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0" name="Freeform 8">
              <a:extLst>
                <a:ext uri="{FF2B5EF4-FFF2-40B4-BE49-F238E27FC236}">
                  <a16:creationId xmlns:a16="http://schemas.microsoft.com/office/drawing/2014/main" id="{55E23F16-15FA-1084-4D9B-96214E7B0CCC}"/>
                </a:ext>
              </a:extLst>
            </p:cNvPr>
            <p:cNvSpPr>
              <a:spLocks noEditPoints="1"/>
            </p:cNvSpPr>
            <p:nvPr/>
          </p:nvSpPr>
          <p:spPr bwMode="auto">
            <a:xfrm>
              <a:off x="-1225550" y="4418013"/>
              <a:ext cx="169863" cy="260350"/>
            </a:xfrm>
            <a:custGeom>
              <a:avLst/>
              <a:gdLst>
                <a:gd name="T0" fmla="*/ 217 w 441"/>
                <a:gd name="T1" fmla="*/ 3 h 681"/>
                <a:gd name="T2" fmla="*/ 265 w 441"/>
                <a:gd name="T3" fmla="*/ 3 h 681"/>
                <a:gd name="T4" fmla="*/ 304 w 441"/>
                <a:gd name="T5" fmla="*/ 18 h 681"/>
                <a:gd name="T6" fmla="*/ 315 w 441"/>
                <a:gd name="T7" fmla="*/ 22 h 681"/>
                <a:gd name="T8" fmla="*/ 363 w 441"/>
                <a:gd name="T9" fmla="*/ 75 h 681"/>
                <a:gd name="T10" fmla="*/ 382 w 441"/>
                <a:gd name="T11" fmla="*/ 134 h 681"/>
                <a:gd name="T12" fmla="*/ 385 w 441"/>
                <a:gd name="T13" fmla="*/ 159 h 681"/>
                <a:gd name="T14" fmla="*/ 402 w 441"/>
                <a:gd name="T15" fmla="*/ 215 h 681"/>
                <a:gd name="T16" fmla="*/ 404 w 441"/>
                <a:gd name="T17" fmla="*/ 219 h 681"/>
                <a:gd name="T18" fmla="*/ 429 w 441"/>
                <a:gd name="T19" fmla="*/ 404 h 681"/>
                <a:gd name="T20" fmla="*/ 368 w 441"/>
                <a:gd name="T21" fmla="*/ 465 h 681"/>
                <a:gd name="T22" fmla="*/ 342 w 441"/>
                <a:gd name="T23" fmla="*/ 491 h 681"/>
                <a:gd name="T24" fmla="*/ 342 w 441"/>
                <a:gd name="T25" fmla="*/ 541 h 681"/>
                <a:gd name="T26" fmla="*/ 331 w 441"/>
                <a:gd name="T27" fmla="*/ 573 h 681"/>
                <a:gd name="T28" fmla="*/ 324 w 441"/>
                <a:gd name="T29" fmla="*/ 611 h 681"/>
                <a:gd name="T30" fmla="*/ 255 w 441"/>
                <a:gd name="T31" fmla="*/ 680 h 681"/>
                <a:gd name="T32" fmla="*/ 172 w 441"/>
                <a:gd name="T33" fmla="*/ 678 h 681"/>
                <a:gd name="T34" fmla="*/ 111 w 441"/>
                <a:gd name="T35" fmla="*/ 615 h 681"/>
                <a:gd name="T36" fmla="*/ 99 w 441"/>
                <a:gd name="T37" fmla="*/ 588 h 681"/>
                <a:gd name="T38" fmla="*/ 92 w 441"/>
                <a:gd name="T39" fmla="*/ 566 h 681"/>
                <a:gd name="T40" fmla="*/ 91 w 441"/>
                <a:gd name="T41" fmla="*/ 488 h 681"/>
                <a:gd name="T42" fmla="*/ 70 w 441"/>
                <a:gd name="T43" fmla="*/ 466 h 681"/>
                <a:gd name="T44" fmla="*/ 5 w 441"/>
                <a:gd name="T45" fmla="*/ 394 h 681"/>
                <a:gd name="T46" fmla="*/ 6 w 441"/>
                <a:gd name="T47" fmla="*/ 332 h 681"/>
                <a:gd name="T48" fmla="*/ 20 w 441"/>
                <a:gd name="T49" fmla="*/ 291 h 681"/>
                <a:gd name="T50" fmla="*/ 28 w 441"/>
                <a:gd name="T51" fmla="*/ 259 h 681"/>
                <a:gd name="T52" fmla="*/ 43 w 441"/>
                <a:gd name="T53" fmla="*/ 207 h 681"/>
                <a:gd name="T54" fmla="*/ 48 w 441"/>
                <a:gd name="T55" fmla="*/ 146 h 681"/>
                <a:gd name="T56" fmla="*/ 82 w 441"/>
                <a:gd name="T57" fmla="*/ 63 h 681"/>
                <a:gd name="T58" fmla="*/ 134 w 441"/>
                <a:gd name="T59" fmla="*/ 11 h 681"/>
                <a:gd name="T60" fmla="*/ 156 w 441"/>
                <a:gd name="T61" fmla="*/ 4 h 681"/>
                <a:gd name="T62" fmla="*/ 217 w 441"/>
                <a:gd name="T63" fmla="*/ 4 h 681"/>
                <a:gd name="T64" fmla="*/ 217 w 441"/>
                <a:gd name="T65" fmla="*/ 3 h 681"/>
                <a:gd name="T66" fmla="*/ 217 w 441"/>
                <a:gd name="T67" fmla="*/ 65 h 681"/>
                <a:gd name="T68" fmla="*/ 217 w 441"/>
                <a:gd name="T69" fmla="*/ 65 h 681"/>
                <a:gd name="T70" fmla="*/ 157 w 441"/>
                <a:gd name="T71" fmla="*/ 65 h 681"/>
                <a:gd name="T72" fmla="*/ 137 w 441"/>
                <a:gd name="T73" fmla="*/ 73 h 681"/>
                <a:gd name="T74" fmla="*/ 112 w 441"/>
                <a:gd name="T75" fmla="*/ 129 h 681"/>
                <a:gd name="T76" fmla="*/ 94 w 441"/>
                <a:gd name="T77" fmla="*/ 223 h 681"/>
                <a:gd name="T78" fmla="*/ 72 w 441"/>
                <a:gd name="T79" fmla="*/ 313 h 681"/>
                <a:gd name="T80" fmla="*/ 67 w 441"/>
                <a:gd name="T81" fmla="*/ 386 h 681"/>
                <a:gd name="T82" fmla="*/ 79 w 441"/>
                <a:gd name="T83" fmla="*/ 403 h 681"/>
                <a:gd name="T84" fmla="*/ 141 w 441"/>
                <a:gd name="T85" fmla="*/ 440 h 681"/>
                <a:gd name="T86" fmla="*/ 152 w 441"/>
                <a:gd name="T87" fmla="*/ 469 h 681"/>
                <a:gd name="T88" fmla="*/ 173 w 441"/>
                <a:gd name="T89" fmla="*/ 613 h 681"/>
                <a:gd name="T90" fmla="*/ 200 w 441"/>
                <a:gd name="T91" fmla="*/ 633 h 681"/>
                <a:gd name="T92" fmla="*/ 226 w 441"/>
                <a:gd name="T93" fmla="*/ 633 h 681"/>
                <a:gd name="T94" fmla="*/ 280 w 441"/>
                <a:gd name="T95" fmla="*/ 579 h 681"/>
                <a:gd name="T96" fmla="*/ 282 w 441"/>
                <a:gd name="T97" fmla="*/ 474 h 681"/>
                <a:gd name="T98" fmla="*/ 286 w 441"/>
                <a:gd name="T99" fmla="*/ 451 h 681"/>
                <a:gd name="T100" fmla="*/ 361 w 441"/>
                <a:gd name="T101" fmla="*/ 403 h 681"/>
                <a:gd name="T102" fmla="*/ 370 w 441"/>
                <a:gd name="T103" fmla="*/ 401 h 681"/>
                <a:gd name="T104" fmla="*/ 380 w 441"/>
                <a:gd name="T105" fmla="*/ 365 h 681"/>
                <a:gd name="T106" fmla="*/ 367 w 441"/>
                <a:gd name="T107" fmla="*/ 327 h 681"/>
                <a:gd name="T108" fmla="*/ 355 w 441"/>
                <a:gd name="T109" fmla="*/ 278 h 681"/>
                <a:gd name="T110" fmla="*/ 344 w 441"/>
                <a:gd name="T111" fmla="*/ 249 h 681"/>
                <a:gd name="T112" fmla="*/ 339 w 441"/>
                <a:gd name="T113" fmla="*/ 198 h 681"/>
                <a:gd name="T114" fmla="*/ 323 w 441"/>
                <a:gd name="T115" fmla="*/ 139 h 681"/>
                <a:gd name="T116" fmla="*/ 296 w 441"/>
                <a:gd name="T117" fmla="*/ 71 h 681"/>
                <a:gd name="T118" fmla="*/ 276 w 441"/>
                <a:gd name="T119" fmla="*/ 65 h 681"/>
                <a:gd name="T120" fmla="*/ 217 w 441"/>
                <a:gd name="T121" fmla="*/ 65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1" h="681">
                  <a:moveTo>
                    <a:pt x="217" y="3"/>
                  </a:moveTo>
                  <a:cubicBezTo>
                    <a:pt x="233" y="3"/>
                    <a:pt x="249" y="3"/>
                    <a:pt x="265" y="3"/>
                  </a:cubicBezTo>
                  <a:cubicBezTo>
                    <a:pt x="280" y="4"/>
                    <a:pt x="296" y="0"/>
                    <a:pt x="304" y="18"/>
                  </a:cubicBezTo>
                  <a:cubicBezTo>
                    <a:pt x="306" y="20"/>
                    <a:pt x="311" y="21"/>
                    <a:pt x="315" y="22"/>
                  </a:cubicBezTo>
                  <a:cubicBezTo>
                    <a:pt x="343" y="29"/>
                    <a:pt x="358" y="47"/>
                    <a:pt x="363" y="75"/>
                  </a:cubicBezTo>
                  <a:cubicBezTo>
                    <a:pt x="367" y="95"/>
                    <a:pt x="361" y="118"/>
                    <a:pt x="382" y="134"/>
                  </a:cubicBezTo>
                  <a:cubicBezTo>
                    <a:pt x="386" y="138"/>
                    <a:pt x="384" y="150"/>
                    <a:pt x="385" y="159"/>
                  </a:cubicBezTo>
                  <a:cubicBezTo>
                    <a:pt x="388" y="179"/>
                    <a:pt x="380" y="201"/>
                    <a:pt x="402" y="215"/>
                  </a:cubicBezTo>
                  <a:cubicBezTo>
                    <a:pt x="403" y="216"/>
                    <a:pt x="404" y="218"/>
                    <a:pt x="404" y="219"/>
                  </a:cubicBezTo>
                  <a:cubicBezTo>
                    <a:pt x="401" y="282"/>
                    <a:pt x="441" y="339"/>
                    <a:pt x="429" y="404"/>
                  </a:cubicBezTo>
                  <a:cubicBezTo>
                    <a:pt x="423" y="442"/>
                    <a:pt x="406" y="464"/>
                    <a:pt x="368" y="465"/>
                  </a:cubicBezTo>
                  <a:cubicBezTo>
                    <a:pt x="349" y="466"/>
                    <a:pt x="342" y="474"/>
                    <a:pt x="342" y="491"/>
                  </a:cubicBezTo>
                  <a:cubicBezTo>
                    <a:pt x="343" y="508"/>
                    <a:pt x="342" y="525"/>
                    <a:pt x="342" y="541"/>
                  </a:cubicBezTo>
                  <a:cubicBezTo>
                    <a:pt x="342" y="553"/>
                    <a:pt x="342" y="564"/>
                    <a:pt x="331" y="573"/>
                  </a:cubicBezTo>
                  <a:cubicBezTo>
                    <a:pt x="319" y="583"/>
                    <a:pt x="324" y="598"/>
                    <a:pt x="324" y="611"/>
                  </a:cubicBezTo>
                  <a:cubicBezTo>
                    <a:pt x="323" y="660"/>
                    <a:pt x="304" y="679"/>
                    <a:pt x="255" y="680"/>
                  </a:cubicBezTo>
                  <a:cubicBezTo>
                    <a:pt x="228" y="680"/>
                    <a:pt x="200" y="681"/>
                    <a:pt x="172" y="678"/>
                  </a:cubicBezTo>
                  <a:cubicBezTo>
                    <a:pt x="127" y="674"/>
                    <a:pt x="115" y="660"/>
                    <a:pt x="111" y="615"/>
                  </a:cubicBezTo>
                  <a:cubicBezTo>
                    <a:pt x="110" y="604"/>
                    <a:pt x="110" y="594"/>
                    <a:pt x="99" y="588"/>
                  </a:cubicBezTo>
                  <a:cubicBezTo>
                    <a:pt x="91" y="583"/>
                    <a:pt x="92" y="574"/>
                    <a:pt x="92" y="566"/>
                  </a:cubicBezTo>
                  <a:cubicBezTo>
                    <a:pt x="92" y="540"/>
                    <a:pt x="91" y="514"/>
                    <a:pt x="91" y="488"/>
                  </a:cubicBezTo>
                  <a:cubicBezTo>
                    <a:pt x="91" y="474"/>
                    <a:pt x="85" y="467"/>
                    <a:pt x="70" y="466"/>
                  </a:cubicBezTo>
                  <a:cubicBezTo>
                    <a:pt x="38" y="464"/>
                    <a:pt x="0" y="438"/>
                    <a:pt x="5" y="394"/>
                  </a:cubicBezTo>
                  <a:cubicBezTo>
                    <a:pt x="7" y="374"/>
                    <a:pt x="5" y="353"/>
                    <a:pt x="6" y="332"/>
                  </a:cubicBezTo>
                  <a:cubicBezTo>
                    <a:pt x="7" y="317"/>
                    <a:pt x="8" y="303"/>
                    <a:pt x="20" y="291"/>
                  </a:cubicBezTo>
                  <a:cubicBezTo>
                    <a:pt x="28" y="282"/>
                    <a:pt x="28" y="270"/>
                    <a:pt x="28" y="259"/>
                  </a:cubicBezTo>
                  <a:cubicBezTo>
                    <a:pt x="29" y="240"/>
                    <a:pt x="29" y="224"/>
                    <a:pt x="43" y="207"/>
                  </a:cubicBezTo>
                  <a:cubicBezTo>
                    <a:pt x="56" y="191"/>
                    <a:pt x="48" y="167"/>
                    <a:pt x="48" y="146"/>
                  </a:cubicBezTo>
                  <a:cubicBezTo>
                    <a:pt x="49" y="113"/>
                    <a:pt x="75" y="92"/>
                    <a:pt x="82" y="63"/>
                  </a:cubicBezTo>
                  <a:cubicBezTo>
                    <a:pt x="90" y="33"/>
                    <a:pt x="113" y="25"/>
                    <a:pt x="134" y="11"/>
                  </a:cubicBezTo>
                  <a:cubicBezTo>
                    <a:pt x="141" y="6"/>
                    <a:pt x="148" y="4"/>
                    <a:pt x="156" y="4"/>
                  </a:cubicBezTo>
                  <a:cubicBezTo>
                    <a:pt x="176" y="3"/>
                    <a:pt x="197" y="4"/>
                    <a:pt x="217" y="4"/>
                  </a:cubicBezTo>
                  <a:cubicBezTo>
                    <a:pt x="217" y="3"/>
                    <a:pt x="217" y="3"/>
                    <a:pt x="217" y="3"/>
                  </a:cubicBezTo>
                  <a:close/>
                  <a:moveTo>
                    <a:pt x="217" y="65"/>
                  </a:moveTo>
                  <a:cubicBezTo>
                    <a:pt x="217" y="65"/>
                    <a:pt x="217" y="65"/>
                    <a:pt x="217" y="65"/>
                  </a:cubicBezTo>
                  <a:cubicBezTo>
                    <a:pt x="197" y="65"/>
                    <a:pt x="177" y="65"/>
                    <a:pt x="157" y="65"/>
                  </a:cubicBezTo>
                  <a:cubicBezTo>
                    <a:pt x="150" y="66"/>
                    <a:pt x="139" y="64"/>
                    <a:pt x="137" y="73"/>
                  </a:cubicBezTo>
                  <a:cubicBezTo>
                    <a:pt x="131" y="93"/>
                    <a:pt x="117" y="109"/>
                    <a:pt x="112" y="129"/>
                  </a:cubicBezTo>
                  <a:cubicBezTo>
                    <a:pt x="105" y="160"/>
                    <a:pt x="111" y="191"/>
                    <a:pt x="94" y="223"/>
                  </a:cubicBezTo>
                  <a:cubicBezTo>
                    <a:pt x="80" y="248"/>
                    <a:pt x="89" y="284"/>
                    <a:pt x="72" y="313"/>
                  </a:cubicBezTo>
                  <a:cubicBezTo>
                    <a:pt x="60" y="334"/>
                    <a:pt x="67" y="361"/>
                    <a:pt x="67" y="386"/>
                  </a:cubicBezTo>
                  <a:cubicBezTo>
                    <a:pt x="67" y="394"/>
                    <a:pt x="69" y="403"/>
                    <a:pt x="79" y="403"/>
                  </a:cubicBezTo>
                  <a:cubicBezTo>
                    <a:pt x="107" y="404"/>
                    <a:pt x="122" y="424"/>
                    <a:pt x="141" y="440"/>
                  </a:cubicBezTo>
                  <a:cubicBezTo>
                    <a:pt x="151" y="448"/>
                    <a:pt x="151" y="458"/>
                    <a:pt x="152" y="469"/>
                  </a:cubicBezTo>
                  <a:cubicBezTo>
                    <a:pt x="155" y="517"/>
                    <a:pt x="144" y="567"/>
                    <a:pt x="173" y="613"/>
                  </a:cubicBezTo>
                  <a:cubicBezTo>
                    <a:pt x="180" y="624"/>
                    <a:pt x="185" y="634"/>
                    <a:pt x="200" y="633"/>
                  </a:cubicBezTo>
                  <a:cubicBezTo>
                    <a:pt x="209" y="632"/>
                    <a:pt x="217" y="633"/>
                    <a:pt x="226" y="633"/>
                  </a:cubicBezTo>
                  <a:cubicBezTo>
                    <a:pt x="259" y="632"/>
                    <a:pt x="280" y="612"/>
                    <a:pt x="280" y="579"/>
                  </a:cubicBezTo>
                  <a:cubicBezTo>
                    <a:pt x="281" y="544"/>
                    <a:pt x="281" y="509"/>
                    <a:pt x="282" y="474"/>
                  </a:cubicBezTo>
                  <a:cubicBezTo>
                    <a:pt x="282" y="466"/>
                    <a:pt x="282" y="458"/>
                    <a:pt x="286" y="451"/>
                  </a:cubicBezTo>
                  <a:cubicBezTo>
                    <a:pt x="302" y="421"/>
                    <a:pt x="319" y="393"/>
                    <a:pt x="361" y="403"/>
                  </a:cubicBezTo>
                  <a:cubicBezTo>
                    <a:pt x="364" y="404"/>
                    <a:pt x="367" y="402"/>
                    <a:pt x="370" y="401"/>
                  </a:cubicBezTo>
                  <a:cubicBezTo>
                    <a:pt x="385" y="395"/>
                    <a:pt x="393" y="375"/>
                    <a:pt x="380" y="365"/>
                  </a:cubicBezTo>
                  <a:cubicBezTo>
                    <a:pt x="366" y="354"/>
                    <a:pt x="368" y="341"/>
                    <a:pt x="367" y="327"/>
                  </a:cubicBezTo>
                  <a:cubicBezTo>
                    <a:pt x="365" y="310"/>
                    <a:pt x="369" y="290"/>
                    <a:pt x="355" y="278"/>
                  </a:cubicBezTo>
                  <a:cubicBezTo>
                    <a:pt x="345" y="269"/>
                    <a:pt x="344" y="260"/>
                    <a:pt x="344" y="249"/>
                  </a:cubicBezTo>
                  <a:cubicBezTo>
                    <a:pt x="343" y="232"/>
                    <a:pt x="348" y="208"/>
                    <a:pt x="339" y="198"/>
                  </a:cubicBezTo>
                  <a:cubicBezTo>
                    <a:pt x="322" y="179"/>
                    <a:pt x="325" y="159"/>
                    <a:pt x="323" y="139"/>
                  </a:cubicBezTo>
                  <a:cubicBezTo>
                    <a:pt x="322" y="113"/>
                    <a:pt x="297" y="97"/>
                    <a:pt x="296" y="71"/>
                  </a:cubicBezTo>
                  <a:cubicBezTo>
                    <a:pt x="295" y="65"/>
                    <a:pt x="283" y="65"/>
                    <a:pt x="276" y="65"/>
                  </a:cubicBezTo>
                  <a:cubicBezTo>
                    <a:pt x="257" y="65"/>
                    <a:pt x="237" y="65"/>
                    <a:pt x="217"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1" name="Freeform 9">
              <a:extLst>
                <a:ext uri="{FF2B5EF4-FFF2-40B4-BE49-F238E27FC236}">
                  <a16:creationId xmlns:a16="http://schemas.microsoft.com/office/drawing/2014/main" id="{C551813F-EE67-DFBA-9E80-FEF01CEFA4D1}"/>
                </a:ext>
              </a:extLst>
            </p:cNvPr>
            <p:cNvSpPr>
              <a:spLocks noEditPoints="1"/>
            </p:cNvSpPr>
            <p:nvPr/>
          </p:nvSpPr>
          <p:spPr bwMode="auto">
            <a:xfrm>
              <a:off x="-1412875" y="4298949"/>
              <a:ext cx="109537" cy="111125"/>
            </a:xfrm>
            <a:custGeom>
              <a:avLst/>
              <a:gdLst>
                <a:gd name="T0" fmla="*/ 146 w 287"/>
                <a:gd name="T1" fmla="*/ 15 h 290"/>
                <a:gd name="T2" fmla="*/ 168 w 287"/>
                <a:gd name="T3" fmla="*/ 15 h 290"/>
                <a:gd name="T4" fmla="*/ 238 w 287"/>
                <a:gd name="T5" fmla="*/ 44 h 290"/>
                <a:gd name="T6" fmla="*/ 286 w 287"/>
                <a:gd name="T7" fmla="*/ 157 h 290"/>
                <a:gd name="T8" fmla="*/ 233 w 287"/>
                <a:gd name="T9" fmla="*/ 247 h 290"/>
                <a:gd name="T10" fmla="*/ 170 w 287"/>
                <a:gd name="T11" fmla="*/ 272 h 290"/>
                <a:gd name="T12" fmla="*/ 155 w 287"/>
                <a:gd name="T13" fmla="*/ 283 h 290"/>
                <a:gd name="T14" fmla="*/ 141 w 287"/>
                <a:gd name="T15" fmla="*/ 284 h 290"/>
                <a:gd name="T16" fmla="*/ 106 w 287"/>
                <a:gd name="T17" fmla="*/ 270 h 290"/>
                <a:gd name="T18" fmla="*/ 31 w 287"/>
                <a:gd name="T19" fmla="*/ 205 h 290"/>
                <a:gd name="T20" fmla="*/ 27 w 287"/>
                <a:gd name="T21" fmla="*/ 194 h 290"/>
                <a:gd name="T22" fmla="*/ 11 w 287"/>
                <a:gd name="T23" fmla="*/ 117 h 290"/>
                <a:gd name="T24" fmla="*/ 21 w 287"/>
                <a:gd name="T25" fmla="*/ 100 h 290"/>
                <a:gd name="T26" fmla="*/ 33 w 287"/>
                <a:gd name="T27" fmla="*/ 82 h 290"/>
                <a:gd name="T28" fmla="*/ 60 w 287"/>
                <a:gd name="T29" fmla="*/ 42 h 290"/>
                <a:gd name="T30" fmla="*/ 146 w 287"/>
                <a:gd name="T31" fmla="*/ 15 h 290"/>
                <a:gd name="T32" fmla="*/ 223 w 287"/>
                <a:gd name="T33" fmla="*/ 149 h 290"/>
                <a:gd name="T34" fmla="*/ 148 w 287"/>
                <a:gd name="T35" fmla="*/ 75 h 290"/>
                <a:gd name="T36" fmla="*/ 71 w 287"/>
                <a:gd name="T37" fmla="*/ 143 h 290"/>
                <a:gd name="T38" fmla="*/ 148 w 287"/>
                <a:gd name="T39" fmla="*/ 224 h 290"/>
                <a:gd name="T40" fmla="*/ 223 w 287"/>
                <a:gd name="T41" fmla="*/ 14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7" h="290">
                  <a:moveTo>
                    <a:pt x="146" y="15"/>
                  </a:moveTo>
                  <a:cubicBezTo>
                    <a:pt x="157" y="15"/>
                    <a:pt x="163" y="16"/>
                    <a:pt x="168" y="15"/>
                  </a:cubicBezTo>
                  <a:cubicBezTo>
                    <a:pt x="198" y="8"/>
                    <a:pt x="222" y="25"/>
                    <a:pt x="238" y="44"/>
                  </a:cubicBezTo>
                  <a:cubicBezTo>
                    <a:pt x="267" y="75"/>
                    <a:pt x="287" y="110"/>
                    <a:pt x="286" y="157"/>
                  </a:cubicBezTo>
                  <a:cubicBezTo>
                    <a:pt x="285" y="199"/>
                    <a:pt x="257" y="221"/>
                    <a:pt x="233" y="247"/>
                  </a:cubicBezTo>
                  <a:cubicBezTo>
                    <a:pt x="216" y="264"/>
                    <a:pt x="195" y="274"/>
                    <a:pt x="170" y="272"/>
                  </a:cubicBezTo>
                  <a:cubicBezTo>
                    <a:pt x="163" y="272"/>
                    <a:pt x="159" y="278"/>
                    <a:pt x="155" y="283"/>
                  </a:cubicBezTo>
                  <a:cubicBezTo>
                    <a:pt x="151" y="288"/>
                    <a:pt x="145" y="290"/>
                    <a:pt x="141" y="284"/>
                  </a:cubicBezTo>
                  <a:cubicBezTo>
                    <a:pt x="133" y="270"/>
                    <a:pt x="118" y="273"/>
                    <a:pt x="106" y="270"/>
                  </a:cubicBezTo>
                  <a:cubicBezTo>
                    <a:pt x="71" y="260"/>
                    <a:pt x="45" y="240"/>
                    <a:pt x="31" y="205"/>
                  </a:cubicBezTo>
                  <a:cubicBezTo>
                    <a:pt x="30" y="201"/>
                    <a:pt x="30" y="196"/>
                    <a:pt x="27" y="194"/>
                  </a:cubicBezTo>
                  <a:cubicBezTo>
                    <a:pt x="0" y="173"/>
                    <a:pt x="14" y="143"/>
                    <a:pt x="11" y="117"/>
                  </a:cubicBezTo>
                  <a:cubicBezTo>
                    <a:pt x="10" y="110"/>
                    <a:pt x="12" y="103"/>
                    <a:pt x="21" y="100"/>
                  </a:cubicBezTo>
                  <a:cubicBezTo>
                    <a:pt x="30" y="97"/>
                    <a:pt x="33" y="90"/>
                    <a:pt x="33" y="82"/>
                  </a:cubicBezTo>
                  <a:cubicBezTo>
                    <a:pt x="31" y="61"/>
                    <a:pt x="49" y="46"/>
                    <a:pt x="60" y="42"/>
                  </a:cubicBezTo>
                  <a:cubicBezTo>
                    <a:pt x="90" y="31"/>
                    <a:pt x="114" y="0"/>
                    <a:pt x="146" y="15"/>
                  </a:cubicBezTo>
                  <a:close/>
                  <a:moveTo>
                    <a:pt x="223" y="149"/>
                  </a:moveTo>
                  <a:cubicBezTo>
                    <a:pt x="229" y="106"/>
                    <a:pt x="196" y="75"/>
                    <a:pt x="148" y="75"/>
                  </a:cubicBezTo>
                  <a:cubicBezTo>
                    <a:pt x="98" y="75"/>
                    <a:pt x="71" y="107"/>
                    <a:pt x="71" y="143"/>
                  </a:cubicBezTo>
                  <a:cubicBezTo>
                    <a:pt x="72" y="183"/>
                    <a:pt x="110" y="224"/>
                    <a:pt x="148" y="224"/>
                  </a:cubicBezTo>
                  <a:cubicBezTo>
                    <a:pt x="183" y="224"/>
                    <a:pt x="223" y="184"/>
                    <a:pt x="223"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2" name="Freeform 10">
              <a:extLst>
                <a:ext uri="{FF2B5EF4-FFF2-40B4-BE49-F238E27FC236}">
                  <a16:creationId xmlns:a16="http://schemas.microsoft.com/office/drawing/2014/main" id="{1CF552E2-DC95-FC88-001D-0ED83B7DD992}"/>
                </a:ext>
              </a:extLst>
            </p:cNvPr>
            <p:cNvSpPr>
              <a:spLocks noEditPoints="1"/>
            </p:cNvSpPr>
            <p:nvPr/>
          </p:nvSpPr>
          <p:spPr bwMode="auto">
            <a:xfrm>
              <a:off x="-1838325" y="4300538"/>
              <a:ext cx="112713" cy="109538"/>
            </a:xfrm>
            <a:custGeom>
              <a:avLst/>
              <a:gdLst>
                <a:gd name="T0" fmla="*/ 138 w 293"/>
                <a:gd name="T1" fmla="*/ 16 h 290"/>
                <a:gd name="T2" fmla="*/ 229 w 293"/>
                <a:gd name="T3" fmla="*/ 40 h 290"/>
                <a:gd name="T4" fmla="*/ 248 w 293"/>
                <a:gd name="T5" fmla="*/ 62 h 290"/>
                <a:gd name="T6" fmla="*/ 276 w 293"/>
                <a:gd name="T7" fmla="*/ 172 h 290"/>
                <a:gd name="T8" fmla="*/ 223 w 293"/>
                <a:gd name="T9" fmla="*/ 249 h 290"/>
                <a:gd name="T10" fmla="*/ 166 w 293"/>
                <a:gd name="T11" fmla="*/ 271 h 290"/>
                <a:gd name="T12" fmla="*/ 155 w 293"/>
                <a:gd name="T13" fmla="*/ 275 h 290"/>
                <a:gd name="T14" fmla="*/ 129 w 293"/>
                <a:gd name="T15" fmla="*/ 276 h 290"/>
                <a:gd name="T16" fmla="*/ 116 w 293"/>
                <a:gd name="T17" fmla="*/ 271 h 290"/>
                <a:gd name="T18" fmla="*/ 25 w 293"/>
                <a:gd name="T19" fmla="*/ 211 h 290"/>
                <a:gd name="T20" fmla="*/ 7 w 293"/>
                <a:gd name="T21" fmla="*/ 123 h 290"/>
                <a:gd name="T22" fmla="*/ 20 w 293"/>
                <a:gd name="T23" fmla="*/ 97 h 290"/>
                <a:gd name="T24" fmla="*/ 27 w 293"/>
                <a:gd name="T25" fmla="*/ 85 h 290"/>
                <a:gd name="T26" fmla="*/ 43 w 293"/>
                <a:gd name="T27" fmla="*/ 52 h 290"/>
                <a:gd name="T28" fmla="*/ 138 w 293"/>
                <a:gd name="T29" fmla="*/ 16 h 290"/>
                <a:gd name="T30" fmla="*/ 145 w 293"/>
                <a:gd name="T31" fmla="*/ 76 h 290"/>
                <a:gd name="T32" fmla="*/ 67 w 293"/>
                <a:gd name="T33" fmla="*/ 147 h 290"/>
                <a:gd name="T34" fmla="*/ 143 w 293"/>
                <a:gd name="T35" fmla="*/ 223 h 290"/>
                <a:gd name="T36" fmla="*/ 218 w 293"/>
                <a:gd name="T37" fmla="*/ 143 h 290"/>
                <a:gd name="T38" fmla="*/ 145 w 293"/>
                <a:gd name="T39" fmla="*/ 7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290">
                  <a:moveTo>
                    <a:pt x="138" y="16"/>
                  </a:moveTo>
                  <a:cubicBezTo>
                    <a:pt x="174" y="0"/>
                    <a:pt x="198" y="32"/>
                    <a:pt x="229" y="40"/>
                  </a:cubicBezTo>
                  <a:cubicBezTo>
                    <a:pt x="239" y="42"/>
                    <a:pt x="243" y="55"/>
                    <a:pt x="248" y="62"/>
                  </a:cubicBezTo>
                  <a:cubicBezTo>
                    <a:pt x="272" y="95"/>
                    <a:pt x="293" y="133"/>
                    <a:pt x="276" y="172"/>
                  </a:cubicBezTo>
                  <a:cubicBezTo>
                    <a:pt x="265" y="199"/>
                    <a:pt x="253" y="230"/>
                    <a:pt x="223" y="249"/>
                  </a:cubicBezTo>
                  <a:cubicBezTo>
                    <a:pt x="204" y="261"/>
                    <a:pt x="187" y="270"/>
                    <a:pt x="166" y="271"/>
                  </a:cubicBezTo>
                  <a:cubicBezTo>
                    <a:pt x="162" y="271"/>
                    <a:pt x="157" y="273"/>
                    <a:pt x="155" y="275"/>
                  </a:cubicBezTo>
                  <a:cubicBezTo>
                    <a:pt x="146" y="289"/>
                    <a:pt x="138" y="290"/>
                    <a:pt x="129" y="276"/>
                  </a:cubicBezTo>
                  <a:cubicBezTo>
                    <a:pt x="127" y="272"/>
                    <a:pt x="120" y="271"/>
                    <a:pt x="116" y="271"/>
                  </a:cubicBezTo>
                  <a:cubicBezTo>
                    <a:pt x="73" y="270"/>
                    <a:pt x="51" y="239"/>
                    <a:pt x="25" y="211"/>
                  </a:cubicBezTo>
                  <a:cubicBezTo>
                    <a:pt x="0" y="184"/>
                    <a:pt x="6" y="154"/>
                    <a:pt x="7" y="123"/>
                  </a:cubicBezTo>
                  <a:cubicBezTo>
                    <a:pt x="7" y="113"/>
                    <a:pt x="8" y="102"/>
                    <a:pt x="20" y="97"/>
                  </a:cubicBezTo>
                  <a:cubicBezTo>
                    <a:pt x="24" y="95"/>
                    <a:pt x="26" y="90"/>
                    <a:pt x="27" y="85"/>
                  </a:cubicBezTo>
                  <a:cubicBezTo>
                    <a:pt x="28" y="72"/>
                    <a:pt x="33" y="63"/>
                    <a:pt x="43" y="52"/>
                  </a:cubicBezTo>
                  <a:cubicBezTo>
                    <a:pt x="70" y="24"/>
                    <a:pt x="98" y="6"/>
                    <a:pt x="138" y="16"/>
                  </a:cubicBezTo>
                  <a:close/>
                  <a:moveTo>
                    <a:pt x="145" y="76"/>
                  </a:moveTo>
                  <a:cubicBezTo>
                    <a:pt x="92" y="71"/>
                    <a:pt x="66" y="97"/>
                    <a:pt x="67" y="147"/>
                  </a:cubicBezTo>
                  <a:cubicBezTo>
                    <a:pt x="67" y="183"/>
                    <a:pt x="106" y="223"/>
                    <a:pt x="143" y="223"/>
                  </a:cubicBezTo>
                  <a:cubicBezTo>
                    <a:pt x="179" y="223"/>
                    <a:pt x="218" y="182"/>
                    <a:pt x="218" y="143"/>
                  </a:cubicBezTo>
                  <a:cubicBezTo>
                    <a:pt x="218" y="95"/>
                    <a:pt x="197" y="76"/>
                    <a:pt x="145"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3" name="Freeform 11">
              <a:extLst>
                <a:ext uri="{FF2B5EF4-FFF2-40B4-BE49-F238E27FC236}">
                  <a16:creationId xmlns:a16="http://schemas.microsoft.com/office/drawing/2014/main" id="{70498CEB-C455-93BC-B3F3-F5CD44D643E5}"/>
                </a:ext>
              </a:extLst>
            </p:cNvPr>
            <p:cNvSpPr>
              <a:spLocks noEditPoints="1"/>
            </p:cNvSpPr>
            <p:nvPr/>
          </p:nvSpPr>
          <p:spPr bwMode="auto">
            <a:xfrm>
              <a:off x="-1192213" y="4305301"/>
              <a:ext cx="98425" cy="106363"/>
            </a:xfrm>
            <a:custGeom>
              <a:avLst/>
              <a:gdLst>
                <a:gd name="T0" fmla="*/ 259 w 259"/>
                <a:gd name="T1" fmla="*/ 141 h 280"/>
                <a:gd name="T2" fmla="*/ 259 w 259"/>
                <a:gd name="T3" fmla="*/ 172 h 280"/>
                <a:gd name="T4" fmla="*/ 184 w 259"/>
                <a:gd name="T5" fmla="*/ 254 h 280"/>
                <a:gd name="T6" fmla="*/ 152 w 259"/>
                <a:gd name="T7" fmla="*/ 269 h 280"/>
                <a:gd name="T8" fmla="*/ 121 w 259"/>
                <a:gd name="T9" fmla="*/ 273 h 280"/>
                <a:gd name="T10" fmla="*/ 64 w 259"/>
                <a:gd name="T11" fmla="*/ 239 h 280"/>
                <a:gd name="T12" fmla="*/ 51 w 259"/>
                <a:gd name="T13" fmla="*/ 235 h 280"/>
                <a:gd name="T14" fmla="*/ 27 w 259"/>
                <a:gd name="T15" fmla="*/ 213 h 280"/>
                <a:gd name="T16" fmla="*/ 15 w 259"/>
                <a:gd name="T17" fmla="*/ 191 h 280"/>
                <a:gd name="T18" fmla="*/ 17 w 259"/>
                <a:gd name="T19" fmla="*/ 66 h 280"/>
                <a:gd name="T20" fmla="*/ 70 w 259"/>
                <a:gd name="T21" fmla="*/ 13 h 280"/>
                <a:gd name="T22" fmla="*/ 84 w 259"/>
                <a:gd name="T23" fmla="*/ 5 h 280"/>
                <a:gd name="T24" fmla="*/ 179 w 259"/>
                <a:gd name="T25" fmla="*/ 4 h 280"/>
                <a:gd name="T26" fmla="*/ 204 w 259"/>
                <a:gd name="T27" fmla="*/ 23 h 280"/>
                <a:gd name="T28" fmla="*/ 254 w 259"/>
                <a:gd name="T29" fmla="*/ 71 h 280"/>
                <a:gd name="T30" fmla="*/ 259 w 259"/>
                <a:gd name="T31" fmla="*/ 89 h 280"/>
                <a:gd name="T32" fmla="*/ 259 w 259"/>
                <a:gd name="T33" fmla="*/ 141 h 280"/>
                <a:gd name="T34" fmla="*/ 68 w 259"/>
                <a:gd name="T35" fmla="*/ 133 h 280"/>
                <a:gd name="T36" fmla="*/ 122 w 259"/>
                <a:gd name="T37" fmla="*/ 210 h 280"/>
                <a:gd name="T38" fmla="*/ 170 w 259"/>
                <a:gd name="T39" fmla="*/ 196 h 280"/>
                <a:gd name="T40" fmla="*/ 198 w 259"/>
                <a:gd name="T41" fmla="*/ 168 h 280"/>
                <a:gd name="T42" fmla="*/ 216 w 259"/>
                <a:gd name="T43" fmla="*/ 127 h 280"/>
                <a:gd name="T44" fmla="*/ 166 w 259"/>
                <a:gd name="T45" fmla="*/ 65 h 280"/>
                <a:gd name="T46" fmla="*/ 68 w 259"/>
                <a:gd name="T47" fmla="*/ 13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9" h="280">
                  <a:moveTo>
                    <a:pt x="259" y="141"/>
                  </a:moveTo>
                  <a:cubicBezTo>
                    <a:pt x="259" y="151"/>
                    <a:pt x="259" y="162"/>
                    <a:pt x="259" y="172"/>
                  </a:cubicBezTo>
                  <a:cubicBezTo>
                    <a:pt x="257" y="211"/>
                    <a:pt x="222" y="249"/>
                    <a:pt x="184" y="254"/>
                  </a:cubicBezTo>
                  <a:cubicBezTo>
                    <a:pt x="172" y="256"/>
                    <a:pt x="161" y="258"/>
                    <a:pt x="152" y="269"/>
                  </a:cubicBezTo>
                  <a:cubicBezTo>
                    <a:pt x="144" y="280"/>
                    <a:pt x="125" y="280"/>
                    <a:pt x="121" y="273"/>
                  </a:cubicBezTo>
                  <a:cubicBezTo>
                    <a:pt x="106" y="252"/>
                    <a:pt x="76" y="262"/>
                    <a:pt x="64" y="239"/>
                  </a:cubicBezTo>
                  <a:cubicBezTo>
                    <a:pt x="62" y="236"/>
                    <a:pt x="55" y="235"/>
                    <a:pt x="51" y="235"/>
                  </a:cubicBezTo>
                  <a:cubicBezTo>
                    <a:pt x="36" y="234"/>
                    <a:pt x="30" y="226"/>
                    <a:pt x="27" y="213"/>
                  </a:cubicBezTo>
                  <a:cubicBezTo>
                    <a:pt x="26" y="204"/>
                    <a:pt x="22" y="197"/>
                    <a:pt x="15" y="191"/>
                  </a:cubicBezTo>
                  <a:cubicBezTo>
                    <a:pt x="0" y="177"/>
                    <a:pt x="6" y="82"/>
                    <a:pt x="17" y="66"/>
                  </a:cubicBezTo>
                  <a:cubicBezTo>
                    <a:pt x="32" y="46"/>
                    <a:pt x="55" y="34"/>
                    <a:pt x="70" y="13"/>
                  </a:cubicBezTo>
                  <a:cubicBezTo>
                    <a:pt x="74" y="8"/>
                    <a:pt x="79" y="6"/>
                    <a:pt x="84" y="5"/>
                  </a:cubicBezTo>
                  <a:cubicBezTo>
                    <a:pt x="116" y="0"/>
                    <a:pt x="147" y="1"/>
                    <a:pt x="179" y="4"/>
                  </a:cubicBezTo>
                  <a:cubicBezTo>
                    <a:pt x="193" y="5"/>
                    <a:pt x="195" y="18"/>
                    <a:pt x="204" y="23"/>
                  </a:cubicBezTo>
                  <a:cubicBezTo>
                    <a:pt x="224" y="36"/>
                    <a:pt x="237" y="55"/>
                    <a:pt x="254" y="71"/>
                  </a:cubicBezTo>
                  <a:cubicBezTo>
                    <a:pt x="259" y="76"/>
                    <a:pt x="258" y="83"/>
                    <a:pt x="259" y="89"/>
                  </a:cubicBezTo>
                  <a:cubicBezTo>
                    <a:pt x="259" y="106"/>
                    <a:pt x="259" y="124"/>
                    <a:pt x="259" y="141"/>
                  </a:cubicBezTo>
                  <a:close/>
                  <a:moveTo>
                    <a:pt x="68" y="133"/>
                  </a:moveTo>
                  <a:cubicBezTo>
                    <a:pt x="67" y="184"/>
                    <a:pt x="76" y="196"/>
                    <a:pt x="122" y="210"/>
                  </a:cubicBezTo>
                  <a:cubicBezTo>
                    <a:pt x="141" y="216"/>
                    <a:pt x="154" y="201"/>
                    <a:pt x="170" y="196"/>
                  </a:cubicBezTo>
                  <a:cubicBezTo>
                    <a:pt x="184" y="191"/>
                    <a:pt x="198" y="189"/>
                    <a:pt x="198" y="168"/>
                  </a:cubicBezTo>
                  <a:cubicBezTo>
                    <a:pt x="198" y="153"/>
                    <a:pt x="221" y="147"/>
                    <a:pt x="216" y="127"/>
                  </a:cubicBezTo>
                  <a:cubicBezTo>
                    <a:pt x="214" y="116"/>
                    <a:pt x="178" y="69"/>
                    <a:pt x="166" y="65"/>
                  </a:cubicBezTo>
                  <a:cubicBezTo>
                    <a:pt x="110" y="47"/>
                    <a:pt x="68" y="76"/>
                    <a:pt x="68"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4" name="Freeform 12">
              <a:extLst>
                <a:ext uri="{FF2B5EF4-FFF2-40B4-BE49-F238E27FC236}">
                  <a16:creationId xmlns:a16="http://schemas.microsoft.com/office/drawing/2014/main" id="{B7909C98-9CA6-B2EB-4852-0D55BE727710}"/>
                </a:ext>
              </a:extLst>
            </p:cNvPr>
            <p:cNvSpPr>
              <a:spLocks noEditPoints="1"/>
            </p:cNvSpPr>
            <p:nvPr/>
          </p:nvSpPr>
          <p:spPr bwMode="auto">
            <a:xfrm>
              <a:off x="-1620838" y="4303713"/>
              <a:ext cx="104775" cy="106363"/>
            </a:xfrm>
            <a:custGeom>
              <a:avLst/>
              <a:gdLst>
                <a:gd name="T0" fmla="*/ 5 w 272"/>
                <a:gd name="T1" fmla="*/ 140 h 280"/>
                <a:gd name="T2" fmla="*/ 5 w 272"/>
                <a:gd name="T3" fmla="*/ 102 h 280"/>
                <a:gd name="T4" fmla="*/ 32 w 272"/>
                <a:gd name="T5" fmla="*/ 49 h 280"/>
                <a:gd name="T6" fmla="*/ 68 w 272"/>
                <a:gd name="T7" fmla="*/ 16 h 280"/>
                <a:gd name="T8" fmla="*/ 86 w 272"/>
                <a:gd name="T9" fmla="*/ 7 h 280"/>
                <a:gd name="T10" fmla="*/ 176 w 272"/>
                <a:gd name="T11" fmla="*/ 7 h 280"/>
                <a:gd name="T12" fmla="*/ 238 w 272"/>
                <a:gd name="T13" fmla="*/ 56 h 280"/>
                <a:gd name="T14" fmla="*/ 255 w 272"/>
                <a:gd name="T15" fmla="*/ 180 h 280"/>
                <a:gd name="T16" fmla="*/ 234 w 272"/>
                <a:gd name="T17" fmla="*/ 230 h 280"/>
                <a:gd name="T18" fmla="*/ 230 w 272"/>
                <a:gd name="T19" fmla="*/ 234 h 280"/>
                <a:gd name="T20" fmla="*/ 170 w 272"/>
                <a:gd name="T21" fmla="*/ 261 h 280"/>
                <a:gd name="T22" fmla="*/ 97 w 272"/>
                <a:gd name="T23" fmla="*/ 261 h 280"/>
                <a:gd name="T24" fmla="*/ 12 w 272"/>
                <a:gd name="T25" fmla="*/ 210 h 280"/>
                <a:gd name="T26" fmla="*/ 6 w 272"/>
                <a:gd name="T27" fmla="*/ 190 h 280"/>
                <a:gd name="T28" fmla="*/ 6 w 272"/>
                <a:gd name="T29" fmla="*/ 140 h 280"/>
                <a:gd name="T30" fmla="*/ 5 w 272"/>
                <a:gd name="T31" fmla="*/ 140 h 280"/>
                <a:gd name="T32" fmla="*/ 135 w 272"/>
                <a:gd name="T33" fmla="*/ 66 h 280"/>
                <a:gd name="T34" fmla="*/ 74 w 272"/>
                <a:gd name="T35" fmla="*/ 89 h 280"/>
                <a:gd name="T36" fmla="*/ 51 w 272"/>
                <a:gd name="T37" fmla="*/ 141 h 280"/>
                <a:gd name="T38" fmla="*/ 55 w 272"/>
                <a:gd name="T39" fmla="*/ 148 h 280"/>
                <a:gd name="T40" fmla="*/ 67 w 272"/>
                <a:gd name="T41" fmla="*/ 175 h 280"/>
                <a:gd name="T42" fmla="*/ 77 w 272"/>
                <a:gd name="T43" fmla="*/ 192 h 280"/>
                <a:gd name="T44" fmla="*/ 117 w 272"/>
                <a:gd name="T45" fmla="*/ 210 h 280"/>
                <a:gd name="T46" fmla="*/ 149 w 272"/>
                <a:gd name="T47" fmla="*/ 209 h 280"/>
                <a:gd name="T48" fmla="*/ 199 w 272"/>
                <a:gd name="T49" fmla="*/ 157 h 280"/>
                <a:gd name="T50" fmla="*/ 207 w 272"/>
                <a:gd name="T51" fmla="*/ 149 h 280"/>
                <a:gd name="T52" fmla="*/ 206 w 272"/>
                <a:gd name="T53" fmla="*/ 113 h 280"/>
                <a:gd name="T54" fmla="*/ 197 w 272"/>
                <a:gd name="T55" fmla="*/ 103 h 280"/>
                <a:gd name="T56" fmla="*/ 135 w 272"/>
                <a:gd name="T57" fmla="*/ 6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80">
                  <a:moveTo>
                    <a:pt x="5" y="140"/>
                  </a:moveTo>
                  <a:cubicBezTo>
                    <a:pt x="5" y="127"/>
                    <a:pt x="7" y="114"/>
                    <a:pt x="5" y="102"/>
                  </a:cubicBezTo>
                  <a:cubicBezTo>
                    <a:pt x="0" y="77"/>
                    <a:pt x="19" y="62"/>
                    <a:pt x="32" y="49"/>
                  </a:cubicBezTo>
                  <a:cubicBezTo>
                    <a:pt x="43" y="37"/>
                    <a:pt x="56" y="27"/>
                    <a:pt x="68" y="16"/>
                  </a:cubicBezTo>
                  <a:cubicBezTo>
                    <a:pt x="73" y="10"/>
                    <a:pt x="79" y="8"/>
                    <a:pt x="86" y="7"/>
                  </a:cubicBezTo>
                  <a:cubicBezTo>
                    <a:pt x="116" y="2"/>
                    <a:pt x="147" y="0"/>
                    <a:pt x="176" y="7"/>
                  </a:cubicBezTo>
                  <a:cubicBezTo>
                    <a:pt x="202" y="14"/>
                    <a:pt x="219" y="37"/>
                    <a:pt x="238" y="56"/>
                  </a:cubicBezTo>
                  <a:cubicBezTo>
                    <a:pt x="272" y="93"/>
                    <a:pt x="257" y="138"/>
                    <a:pt x="255" y="180"/>
                  </a:cubicBezTo>
                  <a:cubicBezTo>
                    <a:pt x="254" y="195"/>
                    <a:pt x="235" y="210"/>
                    <a:pt x="234" y="230"/>
                  </a:cubicBezTo>
                  <a:cubicBezTo>
                    <a:pt x="234" y="231"/>
                    <a:pt x="231" y="234"/>
                    <a:pt x="230" y="234"/>
                  </a:cubicBezTo>
                  <a:cubicBezTo>
                    <a:pt x="204" y="230"/>
                    <a:pt x="186" y="250"/>
                    <a:pt x="170" y="261"/>
                  </a:cubicBezTo>
                  <a:cubicBezTo>
                    <a:pt x="141" y="280"/>
                    <a:pt x="123" y="271"/>
                    <a:pt x="97" y="261"/>
                  </a:cubicBezTo>
                  <a:cubicBezTo>
                    <a:pt x="65" y="248"/>
                    <a:pt x="37" y="232"/>
                    <a:pt x="12" y="210"/>
                  </a:cubicBezTo>
                  <a:cubicBezTo>
                    <a:pt x="6" y="204"/>
                    <a:pt x="6" y="197"/>
                    <a:pt x="6" y="190"/>
                  </a:cubicBezTo>
                  <a:cubicBezTo>
                    <a:pt x="5" y="173"/>
                    <a:pt x="6" y="157"/>
                    <a:pt x="6" y="140"/>
                  </a:cubicBezTo>
                  <a:cubicBezTo>
                    <a:pt x="6" y="140"/>
                    <a:pt x="5" y="140"/>
                    <a:pt x="5" y="140"/>
                  </a:cubicBezTo>
                  <a:close/>
                  <a:moveTo>
                    <a:pt x="135" y="66"/>
                  </a:moveTo>
                  <a:cubicBezTo>
                    <a:pt x="112" y="63"/>
                    <a:pt x="90" y="69"/>
                    <a:pt x="74" y="89"/>
                  </a:cubicBezTo>
                  <a:cubicBezTo>
                    <a:pt x="62" y="104"/>
                    <a:pt x="70" y="128"/>
                    <a:pt x="51" y="141"/>
                  </a:cubicBezTo>
                  <a:cubicBezTo>
                    <a:pt x="50" y="141"/>
                    <a:pt x="52" y="147"/>
                    <a:pt x="55" y="148"/>
                  </a:cubicBezTo>
                  <a:cubicBezTo>
                    <a:pt x="66" y="154"/>
                    <a:pt x="66" y="164"/>
                    <a:pt x="67" y="175"/>
                  </a:cubicBezTo>
                  <a:cubicBezTo>
                    <a:pt x="68" y="182"/>
                    <a:pt x="68" y="190"/>
                    <a:pt x="77" y="192"/>
                  </a:cubicBezTo>
                  <a:cubicBezTo>
                    <a:pt x="91" y="196"/>
                    <a:pt x="104" y="202"/>
                    <a:pt x="117" y="210"/>
                  </a:cubicBezTo>
                  <a:cubicBezTo>
                    <a:pt x="126" y="216"/>
                    <a:pt x="140" y="216"/>
                    <a:pt x="149" y="209"/>
                  </a:cubicBezTo>
                  <a:cubicBezTo>
                    <a:pt x="168" y="194"/>
                    <a:pt x="204" y="196"/>
                    <a:pt x="199" y="157"/>
                  </a:cubicBezTo>
                  <a:cubicBezTo>
                    <a:pt x="199" y="155"/>
                    <a:pt x="205" y="152"/>
                    <a:pt x="207" y="149"/>
                  </a:cubicBezTo>
                  <a:cubicBezTo>
                    <a:pt x="217" y="137"/>
                    <a:pt x="217" y="125"/>
                    <a:pt x="206" y="113"/>
                  </a:cubicBezTo>
                  <a:cubicBezTo>
                    <a:pt x="203" y="110"/>
                    <a:pt x="199" y="108"/>
                    <a:pt x="197" y="103"/>
                  </a:cubicBezTo>
                  <a:cubicBezTo>
                    <a:pt x="184" y="79"/>
                    <a:pt x="167" y="62"/>
                    <a:pt x="13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5" name="Freeform 13">
              <a:extLst>
                <a:ext uri="{FF2B5EF4-FFF2-40B4-BE49-F238E27FC236}">
                  <a16:creationId xmlns:a16="http://schemas.microsoft.com/office/drawing/2014/main" id="{87E2F194-3652-23D0-878B-6CBF0A9F6200}"/>
                </a:ext>
              </a:extLst>
            </p:cNvPr>
            <p:cNvSpPr>
              <a:spLocks/>
            </p:cNvSpPr>
            <p:nvPr/>
          </p:nvSpPr>
          <p:spPr bwMode="auto">
            <a:xfrm>
              <a:off x="-1301750" y="4189413"/>
              <a:ext cx="106363" cy="68263"/>
            </a:xfrm>
            <a:custGeom>
              <a:avLst/>
              <a:gdLst>
                <a:gd name="T0" fmla="*/ 134 w 277"/>
                <a:gd name="T1" fmla="*/ 9 h 177"/>
                <a:gd name="T2" fmla="*/ 228 w 277"/>
                <a:gd name="T3" fmla="*/ 45 h 177"/>
                <a:gd name="T4" fmla="*/ 270 w 277"/>
                <a:gd name="T5" fmla="*/ 131 h 177"/>
                <a:gd name="T6" fmla="*/ 252 w 277"/>
                <a:gd name="T7" fmla="*/ 174 h 177"/>
                <a:gd name="T8" fmla="*/ 211 w 277"/>
                <a:gd name="T9" fmla="*/ 134 h 177"/>
                <a:gd name="T10" fmla="*/ 189 w 277"/>
                <a:gd name="T11" fmla="*/ 86 h 177"/>
                <a:gd name="T12" fmla="*/ 98 w 277"/>
                <a:gd name="T13" fmla="*/ 87 h 177"/>
                <a:gd name="T14" fmla="*/ 59 w 277"/>
                <a:gd name="T15" fmla="*/ 159 h 177"/>
                <a:gd name="T16" fmla="*/ 36 w 277"/>
                <a:gd name="T17" fmla="*/ 174 h 177"/>
                <a:gd name="T18" fmla="*/ 1 w 277"/>
                <a:gd name="T19" fmla="*/ 149 h 177"/>
                <a:gd name="T20" fmla="*/ 2 w 277"/>
                <a:gd name="T21" fmla="*/ 141 h 177"/>
                <a:gd name="T22" fmla="*/ 17 w 277"/>
                <a:gd name="T23" fmla="*/ 99 h 177"/>
                <a:gd name="T24" fmla="*/ 65 w 277"/>
                <a:gd name="T25" fmla="*/ 35 h 177"/>
                <a:gd name="T26" fmla="*/ 134 w 277"/>
                <a:gd name="T27" fmla="*/ 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7">
                  <a:moveTo>
                    <a:pt x="134" y="9"/>
                  </a:moveTo>
                  <a:cubicBezTo>
                    <a:pt x="175" y="5"/>
                    <a:pt x="200" y="26"/>
                    <a:pt x="228" y="45"/>
                  </a:cubicBezTo>
                  <a:cubicBezTo>
                    <a:pt x="260" y="66"/>
                    <a:pt x="272" y="95"/>
                    <a:pt x="270" y="131"/>
                  </a:cubicBezTo>
                  <a:cubicBezTo>
                    <a:pt x="270" y="148"/>
                    <a:pt x="277" y="168"/>
                    <a:pt x="252" y="174"/>
                  </a:cubicBezTo>
                  <a:cubicBezTo>
                    <a:pt x="235" y="177"/>
                    <a:pt x="213" y="155"/>
                    <a:pt x="211" y="134"/>
                  </a:cubicBezTo>
                  <a:cubicBezTo>
                    <a:pt x="209" y="116"/>
                    <a:pt x="206" y="100"/>
                    <a:pt x="189" y="86"/>
                  </a:cubicBezTo>
                  <a:cubicBezTo>
                    <a:pt x="165" y="66"/>
                    <a:pt x="122" y="67"/>
                    <a:pt x="98" y="87"/>
                  </a:cubicBezTo>
                  <a:cubicBezTo>
                    <a:pt x="73" y="106"/>
                    <a:pt x="72" y="135"/>
                    <a:pt x="59" y="159"/>
                  </a:cubicBezTo>
                  <a:cubicBezTo>
                    <a:pt x="53" y="170"/>
                    <a:pt x="48" y="175"/>
                    <a:pt x="36" y="174"/>
                  </a:cubicBezTo>
                  <a:cubicBezTo>
                    <a:pt x="19" y="173"/>
                    <a:pt x="14" y="155"/>
                    <a:pt x="1" y="149"/>
                  </a:cubicBezTo>
                  <a:cubicBezTo>
                    <a:pt x="0" y="149"/>
                    <a:pt x="0" y="142"/>
                    <a:pt x="2" y="141"/>
                  </a:cubicBezTo>
                  <a:cubicBezTo>
                    <a:pt x="19" y="131"/>
                    <a:pt x="15" y="114"/>
                    <a:pt x="17" y="99"/>
                  </a:cubicBezTo>
                  <a:cubicBezTo>
                    <a:pt x="22" y="69"/>
                    <a:pt x="46" y="53"/>
                    <a:pt x="65" y="35"/>
                  </a:cubicBezTo>
                  <a:cubicBezTo>
                    <a:pt x="84" y="17"/>
                    <a:pt x="108" y="0"/>
                    <a:pt x="13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6" name="Freeform 14">
              <a:extLst>
                <a:ext uri="{FF2B5EF4-FFF2-40B4-BE49-F238E27FC236}">
                  <a16:creationId xmlns:a16="http://schemas.microsoft.com/office/drawing/2014/main" id="{02C826E3-71C6-D01F-79E4-87A859EE4CCA}"/>
                </a:ext>
              </a:extLst>
            </p:cNvPr>
            <p:cNvSpPr>
              <a:spLocks/>
            </p:cNvSpPr>
            <p:nvPr/>
          </p:nvSpPr>
          <p:spPr bwMode="auto">
            <a:xfrm>
              <a:off x="-1514475" y="3979863"/>
              <a:ext cx="106363" cy="69850"/>
            </a:xfrm>
            <a:custGeom>
              <a:avLst/>
              <a:gdLst>
                <a:gd name="T0" fmla="*/ 127 w 279"/>
                <a:gd name="T1" fmla="*/ 8 h 182"/>
                <a:gd name="T2" fmla="*/ 178 w 279"/>
                <a:gd name="T3" fmla="*/ 21 h 182"/>
                <a:gd name="T4" fmla="*/ 245 w 279"/>
                <a:gd name="T5" fmla="*/ 68 h 182"/>
                <a:gd name="T6" fmla="*/ 256 w 279"/>
                <a:gd name="T7" fmla="*/ 90 h 182"/>
                <a:gd name="T8" fmla="*/ 268 w 279"/>
                <a:gd name="T9" fmla="*/ 114 h 182"/>
                <a:gd name="T10" fmla="*/ 270 w 279"/>
                <a:gd name="T11" fmla="*/ 151 h 182"/>
                <a:gd name="T12" fmla="*/ 223 w 279"/>
                <a:gd name="T13" fmla="*/ 172 h 182"/>
                <a:gd name="T14" fmla="*/ 214 w 279"/>
                <a:gd name="T15" fmla="*/ 146 h 182"/>
                <a:gd name="T16" fmla="*/ 105 w 279"/>
                <a:gd name="T17" fmla="*/ 72 h 182"/>
                <a:gd name="T18" fmla="*/ 65 w 279"/>
                <a:gd name="T19" fmla="*/ 128 h 182"/>
                <a:gd name="T20" fmla="*/ 22 w 279"/>
                <a:gd name="T21" fmla="*/ 173 h 182"/>
                <a:gd name="T22" fmla="*/ 8 w 279"/>
                <a:gd name="T23" fmla="*/ 167 h 182"/>
                <a:gd name="T24" fmla="*/ 13 w 279"/>
                <a:gd name="T25" fmla="*/ 94 h 182"/>
                <a:gd name="T26" fmla="*/ 22 w 279"/>
                <a:gd name="T27" fmla="*/ 81 h 182"/>
                <a:gd name="T28" fmla="*/ 52 w 279"/>
                <a:gd name="T29" fmla="*/ 37 h 182"/>
                <a:gd name="T30" fmla="*/ 127 w 279"/>
                <a:gd name="T31" fmla="*/ 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182">
                  <a:moveTo>
                    <a:pt x="127" y="8"/>
                  </a:moveTo>
                  <a:cubicBezTo>
                    <a:pt x="148" y="8"/>
                    <a:pt x="163" y="16"/>
                    <a:pt x="178" y="21"/>
                  </a:cubicBezTo>
                  <a:cubicBezTo>
                    <a:pt x="207" y="31"/>
                    <a:pt x="224" y="50"/>
                    <a:pt x="245" y="68"/>
                  </a:cubicBezTo>
                  <a:cubicBezTo>
                    <a:pt x="253" y="75"/>
                    <a:pt x="255" y="81"/>
                    <a:pt x="256" y="90"/>
                  </a:cubicBezTo>
                  <a:cubicBezTo>
                    <a:pt x="257" y="100"/>
                    <a:pt x="259" y="107"/>
                    <a:pt x="268" y="114"/>
                  </a:cubicBezTo>
                  <a:cubicBezTo>
                    <a:pt x="279" y="124"/>
                    <a:pt x="279" y="141"/>
                    <a:pt x="270" y="151"/>
                  </a:cubicBezTo>
                  <a:cubicBezTo>
                    <a:pt x="259" y="163"/>
                    <a:pt x="246" y="182"/>
                    <a:pt x="223" y="172"/>
                  </a:cubicBezTo>
                  <a:cubicBezTo>
                    <a:pt x="212" y="166"/>
                    <a:pt x="214" y="155"/>
                    <a:pt x="214" y="146"/>
                  </a:cubicBezTo>
                  <a:cubicBezTo>
                    <a:pt x="214" y="97"/>
                    <a:pt x="155" y="54"/>
                    <a:pt x="105" y="72"/>
                  </a:cubicBezTo>
                  <a:cubicBezTo>
                    <a:pt x="84" y="79"/>
                    <a:pt x="66" y="103"/>
                    <a:pt x="65" y="128"/>
                  </a:cubicBezTo>
                  <a:cubicBezTo>
                    <a:pt x="64" y="155"/>
                    <a:pt x="44" y="176"/>
                    <a:pt x="22" y="173"/>
                  </a:cubicBezTo>
                  <a:cubicBezTo>
                    <a:pt x="17" y="173"/>
                    <a:pt x="11" y="172"/>
                    <a:pt x="8" y="167"/>
                  </a:cubicBezTo>
                  <a:cubicBezTo>
                    <a:pt x="0" y="157"/>
                    <a:pt x="4" y="103"/>
                    <a:pt x="13" y="94"/>
                  </a:cubicBezTo>
                  <a:cubicBezTo>
                    <a:pt x="16" y="90"/>
                    <a:pt x="23" y="87"/>
                    <a:pt x="22" y="81"/>
                  </a:cubicBezTo>
                  <a:cubicBezTo>
                    <a:pt x="17" y="56"/>
                    <a:pt x="39" y="43"/>
                    <a:pt x="52" y="37"/>
                  </a:cubicBezTo>
                  <a:cubicBezTo>
                    <a:pt x="78" y="26"/>
                    <a:pt x="99" y="0"/>
                    <a:pt x="12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7" name="Freeform 15">
              <a:extLst>
                <a:ext uri="{FF2B5EF4-FFF2-40B4-BE49-F238E27FC236}">
                  <a16:creationId xmlns:a16="http://schemas.microsoft.com/office/drawing/2014/main" id="{61907D72-5A5C-816E-3DB8-C3B9A007220E}"/>
                </a:ext>
              </a:extLst>
            </p:cNvPr>
            <p:cNvSpPr>
              <a:spLocks/>
            </p:cNvSpPr>
            <p:nvPr/>
          </p:nvSpPr>
          <p:spPr bwMode="auto">
            <a:xfrm>
              <a:off x="-1733550" y="4191001"/>
              <a:ext cx="109538" cy="66675"/>
            </a:xfrm>
            <a:custGeom>
              <a:avLst/>
              <a:gdLst>
                <a:gd name="T0" fmla="*/ 151 w 287"/>
                <a:gd name="T1" fmla="*/ 5 h 174"/>
                <a:gd name="T2" fmla="*/ 255 w 287"/>
                <a:gd name="T3" fmla="*/ 51 h 174"/>
                <a:gd name="T4" fmla="*/ 259 w 287"/>
                <a:gd name="T5" fmla="*/ 64 h 174"/>
                <a:gd name="T6" fmla="*/ 273 w 287"/>
                <a:gd name="T7" fmla="*/ 92 h 174"/>
                <a:gd name="T8" fmla="*/ 276 w 287"/>
                <a:gd name="T9" fmla="*/ 164 h 174"/>
                <a:gd name="T10" fmla="*/ 248 w 287"/>
                <a:gd name="T11" fmla="*/ 167 h 174"/>
                <a:gd name="T12" fmla="*/ 221 w 287"/>
                <a:gd name="T13" fmla="*/ 123 h 174"/>
                <a:gd name="T14" fmla="*/ 121 w 287"/>
                <a:gd name="T15" fmla="*/ 70 h 174"/>
                <a:gd name="T16" fmla="*/ 70 w 287"/>
                <a:gd name="T17" fmla="*/ 144 h 174"/>
                <a:gd name="T18" fmla="*/ 58 w 287"/>
                <a:gd name="T19" fmla="*/ 169 h 174"/>
                <a:gd name="T20" fmla="*/ 29 w 287"/>
                <a:gd name="T21" fmla="*/ 159 h 174"/>
                <a:gd name="T22" fmla="*/ 24 w 287"/>
                <a:gd name="T23" fmla="*/ 117 h 174"/>
                <a:gd name="T24" fmla="*/ 26 w 287"/>
                <a:gd name="T25" fmla="*/ 112 h 174"/>
                <a:gd name="T26" fmla="*/ 100 w 287"/>
                <a:gd name="T27" fmla="*/ 12 h 174"/>
                <a:gd name="T28" fmla="*/ 151 w 287"/>
                <a:gd name="T29" fmla="*/ 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 h="174">
                  <a:moveTo>
                    <a:pt x="151" y="5"/>
                  </a:moveTo>
                  <a:cubicBezTo>
                    <a:pt x="194" y="0"/>
                    <a:pt x="224" y="28"/>
                    <a:pt x="255" y="51"/>
                  </a:cubicBezTo>
                  <a:cubicBezTo>
                    <a:pt x="258" y="53"/>
                    <a:pt x="259" y="59"/>
                    <a:pt x="259" y="64"/>
                  </a:cubicBezTo>
                  <a:cubicBezTo>
                    <a:pt x="261" y="75"/>
                    <a:pt x="262" y="84"/>
                    <a:pt x="273" y="92"/>
                  </a:cubicBezTo>
                  <a:cubicBezTo>
                    <a:pt x="286" y="101"/>
                    <a:pt x="287" y="152"/>
                    <a:pt x="276" y="164"/>
                  </a:cubicBezTo>
                  <a:cubicBezTo>
                    <a:pt x="268" y="173"/>
                    <a:pt x="255" y="174"/>
                    <a:pt x="248" y="167"/>
                  </a:cubicBezTo>
                  <a:cubicBezTo>
                    <a:pt x="236" y="155"/>
                    <a:pt x="221" y="146"/>
                    <a:pt x="221" y="123"/>
                  </a:cubicBezTo>
                  <a:cubicBezTo>
                    <a:pt x="220" y="80"/>
                    <a:pt x="155" y="44"/>
                    <a:pt x="121" y="70"/>
                  </a:cubicBezTo>
                  <a:cubicBezTo>
                    <a:pt x="97" y="87"/>
                    <a:pt x="73" y="109"/>
                    <a:pt x="70" y="144"/>
                  </a:cubicBezTo>
                  <a:cubicBezTo>
                    <a:pt x="70" y="153"/>
                    <a:pt x="72" y="166"/>
                    <a:pt x="58" y="169"/>
                  </a:cubicBezTo>
                  <a:cubicBezTo>
                    <a:pt x="47" y="172"/>
                    <a:pt x="38" y="167"/>
                    <a:pt x="29" y="159"/>
                  </a:cubicBezTo>
                  <a:cubicBezTo>
                    <a:pt x="11" y="145"/>
                    <a:pt x="0" y="134"/>
                    <a:pt x="24" y="117"/>
                  </a:cubicBezTo>
                  <a:cubicBezTo>
                    <a:pt x="25" y="116"/>
                    <a:pt x="26" y="114"/>
                    <a:pt x="26" y="112"/>
                  </a:cubicBezTo>
                  <a:cubicBezTo>
                    <a:pt x="27" y="62"/>
                    <a:pt x="70" y="41"/>
                    <a:pt x="100" y="12"/>
                  </a:cubicBezTo>
                  <a:cubicBezTo>
                    <a:pt x="113" y="0"/>
                    <a:pt x="134" y="6"/>
                    <a:pt x="15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8" name="Freeform 16">
              <a:extLst>
                <a:ext uri="{FF2B5EF4-FFF2-40B4-BE49-F238E27FC236}">
                  <a16:creationId xmlns:a16="http://schemas.microsoft.com/office/drawing/2014/main" id="{D69103A4-28F5-6D33-5876-6B5A5D4DF23B}"/>
                </a:ext>
              </a:extLst>
            </p:cNvPr>
            <p:cNvSpPr>
              <a:spLocks/>
            </p:cNvSpPr>
            <p:nvPr/>
          </p:nvSpPr>
          <p:spPr bwMode="auto">
            <a:xfrm>
              <a:off x="-1514475" y="4186238"/>
              <a:ext cx="107950" cy="71438"/>
            </a:xfrm>
            <a:custGeom>
              <a:avLst/>
              <a:gdLst>
                <a:gd name="T0" fmla="*/ 3 w 279"/>
                <a:gd name="T1" fmla="*/ 132 h 188"/>
                <a:gd name="T2" fmla="*/ 16 w 279"/>
                <a:gd name="T3" fmla="*/ 99 h 188"/>
                <a:gd name="T4" fmla="*/ 22 w 279"/>
                <a:gd name="T5" fmla="*/ 87 h 188"/>
                <a:gd name="T6" fmla="*/ 68 w 279"/>
                <a:gd name="T7" fmla="*/ 39 h 188"/>
                <a:gd name="T8" fmla="*/ 79 w 279"/>
                <a:gd name="T9" fmla="*/ 36 h 188"/>
                <a:gd name="T10" fmla="*/ 172 w 279"/>
                <a:gd name="T11" fmla="*/ 20 h 188"/>
                <a:gd name="T12" fmla="*/ 206 w 279"/>
                <a:gd name="T13" fmla="*/ 43 h 188"/>
                <a:gd name="T14" fmla="*/ 257 w 279"/>
                <a:gd name="T15" fmla="*/ 111 h 188"/>
                <a:gd name="T16" fmla="*/ 271 w 279"/>
                <a:gd name="T17" fmla="*/ 128 h 188"/>
                <a:gd name="T18" fmla="*/ 267 w 279"/>
                <a:gd name="T19" fmla="*/ 161 h 188"/>
                <a:gd name="T20" fmla="*/ 239 w 279"/>
                <a:gd name="T21" fmla="*/ 180 h 188"/>
                <a:gd name="T22" fmla="*/ 213 w 279"/>
                <a:gd name="T23" fmla="*/ 147 h 188"/>
                <a:gd name="T24" fmla="*/ 193 w 279"/>
                <a:gd name="T25" fmla="*/ 110 h 188"/>
                <a:gd name="T26" fmla="*/ 119 w 279"/>
                <a:gd name="T27" fmla="*/ 78 h 188"/>
                <a:gd name="T28" fmla="*/ 65 w 279"/>
                <a:gd name="T29" fmla="*/ 136 h 188"/>
                <a:gd name="T30" fmla="*/ 35 w 279"/>
                <a:gd name="T31" fmla="*/ 179 h 188"/>
                <a:gd name="T32" fmla="*/ 3 w 279"/>
                <a:gd name="T33" fmla="*/ 153 h 188"/>
                <a:gd name="T34" fmla="*/ 3 w 279"/>
                <a:gd name="T35" fmla="*/ 13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9" h="188">
                  <a:moveTo>
                    <a:pt x="3" y="132"/>
                  </a:moveTo>
                  <a:cubicBezTo>
                    <a:pt x="4" y="123"/>
                    <a:pt x="0" y="108"/>
                    <a:pt x="16" y="99"/>
                  </a:cubicBezTo>
                  <a:cubicBezTo>
                    <a:pt x="19" y="97"/>
                    <a:pt x="21" y="91"/>
                    <a:pt x="22" y="87"/>
                  </a:cubicBezTo>
                  <a:cubicBezTo>
                    <a:pt x="24" y="58"/>
                    <a:pt x="45" y="48"/>
                    <a:pt x="68" y="39"/>
                  </a:cubicBezTo>
                  <a:cubicBezTo>
                    <a:pt x="71" y="38"/>
                    <a:pt x="77" y="38"/>
                    <a:pt x="79" y="36"/>
                  </a:cubicBezTo>
                  <a:cubicBezTo>
                    <a:pt x="105" y="0"/>
                    <a:pt x="141" y="21"/>
                    <a:pt x="172" y="20"/>
                  </a:cubicBezTo>
                  <a:cubicBezTo>
                    <a:pt x="188" y="19"/>
                    <a:pt x="198" y="34"/>
                    <a:pt x="206" y="43"/>
                  </a:cubicBezTo>
                  <a:cubicBezTo>
                    <a:pt x="226" y="62"/>
                    <a:pt x="259" y="74"/>
                    <a:pt x="257" y="111"/>
                  </a:cubicBezTo>
                  <a:cubicBezTo>
                    <a:pt x="256" y="119"/>
                    <a:pt x="270" y="120"/>
                    <a:pt x="271" y="128"/>
                  </a:cubicBezTo>
                  <a:cubicBezTo>
                    <a:pt x="274" y="139"/>
                    <a:pt x="279" y="154"/>
                    <a:pt x="267" y="161"/>
                  </a:cubicBezTo>
                  <a:cubicBezTo>
                    <a:pt x="257" y="167"/>
                    <a:pt x="254" y="188"/>
                    <a:pt x="239" y="180"/>
                  </a:cubicBezTo>
                  <a:cubicBezTo>
                    <a:pt x="227" y="173"/>
                    <a:pt x="210" y="166"/>
                    <a:pt x="213" y="147"/>
                  </a:cubicBezTo>
                  <a:cubicBezTo>
                    <a:pt x="217" y="128"/>
                    <a:pt x="202" y="120"/>
                    <a:pt x="193" y="110"/>
                  </a:cubicBezTo>
                  <a:cubicBezTo>
                    <a:pt x="173" y="88"/>
                    <a:pt x="152" y="72"/>
                    <a:pt x="119" y="78"/>
                  </a:cubicBezTo>
                  <a:cubicBezTo>
                    <a:pt x="88" y="84"/>
                    <a:pt x="63" y="105"/>
                    <a:pt x="65" y="136"/>
                  </a:cubicBezTo>
                  <a:cubicBezTo>
                    <a:pt x="66" y="161"/>
                    <a:pt x="47" y="167"/>
                    <a:pt x="35" y="179"/>
                  </a:cubicBezTo>
                  <a:cubicBezTo>
                    <a:pt x="29" y="185"/>
                    <a:pt x="5" y="165"/>
                    <a:pt x="3" y="153"/>
                  </a:cubicBezTo>
                  <a:cubicBezTo>
                    <a:pt x="3" y="148"/>
                    <a:pt x="3" y="142"/>
                    <a:pt x="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19" name="Freeform 17">
              <a:extLst>
                <a:ext uri="{FF2B5EF4-FFF2-40B4-BE49-F238E27FC236}">
                  <a16:creationId xmlns:a16="http://schemas.microsoft.com/office/drawing/2014/main" id="{76609B47-4034-AD71-CFFF-ABC21BEC5788}"/>
                </a:ext>
              </a:extLst>
            </p:cNvPr>
            <p:cNvSpPr>
              <a:spLocks/>
            </p:cNvSpPr>
            <p:nvPr/>
          </p:nvSpPr>
          <p:spPr bwMode="auto">
            <a:xfrm>
              <a:off x="-1409700" y="4086226"/>
              <a:ext cx="106363" cy="60325"/>
            </a:xfrm>
            <a:custGeom>
              <a:avLst/>
              <a:gdLst>
                <a:gd name="T0" fmla="*/ 144 w 281"/>
                <a:gd name="T1" fmla="*/ 4 h 158"/>
                <a:gd name="T2" fmla="*/ 261 w 281"/>
                <a:gd name="T3" fmla="*/ 64 h 158"/>
                <a:gd name="T4" fmla="*/ 280 w 281"/>
                <a:gd name="T5" fmla="*/ 131 h 158"/>
                <a:gd name="T6" fmla="*/ 256 w 281"/>
                <a:gd name="T7" fmla="*/ 155 h 158"/>
                <a:gd name="T8" fmla="*/ 219 w 281"/>
                <a:gd name="T9" fmla="*/ 131 h 158"/>
                <a:gd name="T10" fmla="*/ 198 w 281"/>
                <a:gd name="T11" fmla="*/ 82 h 158"/>
                <a:gd name="T12" fmla="*/ 173 w 281"/>
                <a:gd name="T13" fmla="*/ 69 h 158"/>
                <a:gd name="T14" fmla="*/ 152 w 281"/>
                <a:gd name="T15" fmla="*/ 60 h 158"/>
                <a:gd name="T16" fmla="*/ 143 w 281"/>
                <a:gd name="T17" fmla="*/ 54 h 158"/>
                <a:gd name="T18" fmla="*/ 96 w 281"/>
                <a:gd name="T19" fmla="*/ 75 h 158"/>
                <a:gd name="T20" fmla="*/ 67 w 281"/>
                <a:gd name="T21" fmla="*/ 123 h 158"/>
                <a:gd name="T22" fmla="*/ 51 w 281"/>
                <a:gd name="T23" fmla="*/ 153 h 158"/>
                <a:gd name="T24" fmla="*/ 9 w 281"/>
                <a:gd name="T25" fmla="*/ 145 h 158"/>
                <a:gd name="T26" fmla="*/ 12 w 281"/>
                <a:gd name="T27" fmla="*/ 102 h 158"/>
                <a:gd name="T28" fmla="*/ 48 w 281"/>
                <a:gd name="T29" fmla="*/ 39 h 158"/>
                <a:gd name="T30" fmla="*/ 53 w 281"/>
                <a:gd name="T31" fmla="*/ 32 h 158"/>
                <a:gd name="T32" fmla="*/ 144 w 281"/>
                <a:gd name="T33" fmla="*/ 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158">
                  <a:moveTo>
                    <a:pt x="144" y="4"/>
                  </a:moveTo>
                  <a:cubicBezTo>
                    <a:pt x="195" y="0"/>
                    <a:pt x="229" y="25"/>
                    <a:pt x="261" y="64"/>
                  </a:cubicBezTo>
                  <a:cubicBezTo>
                    <a:pt x="279" y="87"/>
                    <a:pt x="278" y="108"/>
                    <a:pt x="280" y="131"/>
                  </a:cubicBezTo>
                  <a:cubicBezTo>
                    <a:pt x="281" y="148"/>
                    <a:pt x="273" y="157"/>
                    <a:pt x="256" y="155"/>
                  </a:cubicBezTo>
                  <a:cubicBezTo>
                    <a:pt x="240" y="154"/>
                    <a:pt x="219" y="158"/>
                    <a:pt x="219" y="131"/>
                  </a:cubicBezTo>
                  <a:cubicBezTo>
                    <a:pt x="219" y="112"/>
                    <a:pt x="218" y="95"/>
                    <a:pt x="198" y="82"/>
                  </a:cubicBezTo>
                  <a:cubicBezTo>
                    <a:pt x="190" y="77"/>
                    <a:pt x="184" y="70"/>
                    <a:pt x="173" y="69"/>
                  </a:cubicBezTo>
                  <a:cubicBezTo>
                    <a:pt x="165" y="69"/>
                    <a:pt x="157" y="68"/>
                    <a:pt x="152" y="60"/>
                  </a:cubicBezTo>
                  <a:cubicBezTo>
                    <a:pt x="150" y="58"/>
                    <a:pt x="143" y="54"/>
                    <a:pt x="143" y="54"/>
                  </a:cubicBezTo>
                  <a:cubicBezTo>
                    <a:pt x="131" y="69"/>
                    <a:pt x="107" y="64"/>
                    <a:pt x="96" y="75"/>
                  </a:cubicBezTo>
                  <a:cubicBezTo>
                    <a:pt x="84" y="88"/>
                    <a:pt x="66" y="101"/>
                    <a:pt x="67" y="123"/>
                  </a:cubicBezTo>
                  <a:cubicBezTo>
                    <a:pt x="67" y="136"/>
                    <a:pt x="69" y="150"/>
                    <a:pt x="51" y="153"/>
                  </a:cubicBezTo>
                  <a:cubicBezTo>
                    <a:pt x="36" y="156"/>
                    <a:pt x="18" y="158"/>
                    <a:pt x="9" y="145"/>
                  </a:cubicBezTo>
                  <a:cubicBezTo>
                    <a:pt x="0" y="133"/>
                    <a:pt x="2" y="112"/>
                    <a:pt x="12" y="102"/>
                  </a:cubicBezTo>
                  <a:cubicBezTo>
                    <a:pt x="31" y="84"/>
                    <a:pt x="26" y="54"/>
                    <a:pt x="48" y="39"/>
                  </a:cubicBezTo>
                  <a:cubicBezTo>
                    <a:pt x="50" y="38"/>
                    <a:pt x="51" y="34"/>
                    <a:pt x="53" y="32"/>
                  </a:cubicBezTo>
                  <a:cubicBezTo>
                    <a:pt x="58" y="27"/>
                    <a:pt x="135" y="4"/>
                    <a:pt x="14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20" name="Freeform 18">
              <a:extLst>
                <a:ext uri="{FF2B5EF4-FFF2-40B4-BE49-F238E27FC236}">
                  <a16:creationId xmlns:a16="http://schemas.microsoft.com/office/drawing/2014/main" id="{B5F2D596-9BEE-A5BE-939D-CB3D0C4A3649}"/>
                </a:ext>
              </a:extLst>
            </p:cNvPr>
            <p:cNvSpPr>
              <a:spLocks/>
            </p:cNvSpPr>
            <p:nvPr/>
          </p:nvSpPr>
          <p:spPr bwMode="auto">
            <a:xfrm>
              <a:off x="-1620838" y="4083051"/>
              <a:ext cx="106363" cy="65088"/>
            </a:xfrm>
            <a:custGeom>
              <a:avLst/>
              <a:gdLst>
                <a:gd name="T0" fmla="*/ 7 w 279"/>
                <a:gd name="T1" fmla="*/ 114 h 171"/>
                <a:gd name="T2" fmla="*/ 41 w 279"/>
                <a:gd name="T3" fmla="*/ 52 h 171"/>
                <a:gd name="T4" fmla="*/ 54 w 279"/>
                <a:gd name="T5" fmla="*/ 36 h 171"/>
                <a:gd name="T6" fmla="*/ 187 w 279"/>
                <a:gd name="T7" fmla="*/ 16 h 171"/>
                <a:gd name="T8" fmla="*/ 240 w 279"/>
                <a:gd name="T9" fmla="*/ 61 h 171"/>
                <a:gd name="T10" fmla="*/ 274 w 279"/>
                <a:gd name="T11" fmla="*/ 124 h 171"/>
                <a:gd name="T12" fmla="*/ 269 w 279"/>
                <a:gd name="T13" fmla="*/ 138 h 171"/>
                <a:gd name="T14" fmla="*/ 232 w 279"/>
                <a:gd name="T15" fmla="*/ 160 h 171"/>
                <a:gd name="T16" fmla="*/ 218 w 279"/>
                <a:gd name="T17" fmla="*/ 145 h 171"/>
                <a:gd name="T18" fmla="*/ 194 w 279"/>
                <a:gd name="T19" fmla="*/ 83 h 171"/>
                <a:gd name="T20" fmla="*/ 183 w 279"/>
                <a:gd name="T21" fmla="*/ 76 h 171"/>
                <a:gd name="T22" fmla="*/ 117 w 279"/>
                <a:gd name="T23" fmla="*/ 72 h 171"/>
                <a:gd name="T24" fmla="*/ 68 w 279"/>
                <a:gd name="T25" fmla="*/ 119 h 171"/>
                <a:gd name="T26" fmla="*/ 43 w 279"/>
                <a:gd name="T27" fmla="*/ 157 h 171"/>
                <a:gd name="T28" fmla="*/ 7 w 279"/>
                <a:gd name="T29" fmla="*/ 139 h 171"/>
                <a:gd name="T30" fmla="*/ 7 w 279"/>
                <a:gd name="T31" fmla="*/ 11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171">
                  <a:moveTo>
                    <a:pt x="7" y="114"/>
                  </a:moveTo>
                  <a:cubicBezTo>
                    <a:pt x="0" y="86"/>
                    <a:pt x="20" y="68"/>
                    <a:pt x="41" y="52"/>
                  </a:cubicBezTo>
                  <a:cubicBezTo>
                    <a:pt x="47" y="47"/>
                    <a:pt x="49" y="40"/>
                    <a:pt x="54" y="36"/>
                  </a:cubicBezTo>
                  <a:cubicBezTo>
                    <a:pt x="94" y="0"/>
                    <a:pt x="142" y="4"/>
                    <a:pt x="187" y="16"/>
                  </a:cubicBezTo>
                  <a:cubicBezTo>
                    <a:pt x="207" y="21"/>
                    <a:pt x="223" y="45"/>
                    <a:pt x="240" y="61"/>
                  </a:cubicBezTo>
                  <a:cubicBezTo>
                    <a:pt x="260" y="79"/>
                    <a:pt x="253" y="108"/>
                    <a:pt x="274" y="124"/>
                  </a:cubicBezTo>
                  <a:cubicBezTo>
                    <a:pt x="279" y="128"/>
                    <a:pt x="273" y="134"/>
                    <a:pt x="269" y="138"/>
                  </a:cubicBezTo>
                  <a:cubicBezTo>
                    <a:pt x="259" y="149"/>
                    <a:pt x="253" y="166"/>
                    <a:pt x="232" y="160"/>
                  </a:cubicBezTo>
                  <a:cubicBezTo>
                    <a:pt x="224" y="158"/>
                    <a:pt x="217" y="154"/>
                    <a:pt x="218" y="145"/>
                  </a:cubicBezTo>
                  <a:cubicBezTo>
                    <a:pt x="218" y="121"/>
                    <a:pt x="192" y="108"/>
                    <a:pt x="194" y="83"/>
                  </a:cubicBezTo>
                  <a:cubicBezTo>
                    <a:pt x="195" y="79"/>
                    <a:pt x="188" y="77"/>
                    <a:pt x="183" y="76"/>
                  </a:cubicBezTo>
                  <a:cubicBezTo>
                    <a:pt x="161" y="75"/>
                    <a:pt x="139" y="68"/>
                    <a:pt x="117" y="72"/>
                  </a:cubicBezTo>
                  <a:cubicBezTo>
                    <a:pt x="90" y="76"/>
                    <a:pt x="72" y="92"/>
                    <a:pt x="68" y="119"/>
                  </a:cubicBezTo>
                  <a:cubicBezTo>
                    <a:pt x="66" y="136"/>
                    <a:pt x="53" y="147"/>
                    <a:pt x="43" y="157"/>
                  </a:cubicBezTo>
                  <a:cubicBezTo>
                    <a:pt x="30" y="171"/>
                    <a:pt x="8" y="158"/>
                    <a:pt x="7" y="139"/>
                  </a:cubicBezTo>
                  <a:cubicBezTo>
                    <a:pt x="7" y="132"/>
                    <a:pt x="7" y="125"/>
                    <a:pt x="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sp>
        <p:nvSpPr>
          <p:cNvPr id="521" name="Retângulo: Cantos Diagonais Arredondados 317">
            <a:extLst>
              <a:ext uri="{FF2B5EF4-FFF2-40B4-BE49-F238E27FC236}">
                <a16:creationId xmlns:a16="http://schemas.microsoft.com/office/drawing/2014/main" id="{9A42465B-F087-6DCA-8DB7-B8E3FC2C0A06}"/>
              </a:ext>
            </a:extLst>
          </p:cNvPr>
          <p:cNvSpPr/>
          <p:nvPr/>
        </p:nvSpPr>
        <p:spPr>
          <a:xfrm rot="16200000">
            <a:off x="765122" y="3216545"/>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grpSp>
        <p:nvGrpSpPr>
          <p:cNvPr id="524" name="Group 91">
            <a:extLst>
              <a:ext uri="{FF2B5EF4-FFF2-40B4-BE49-F238E27FC236}">
                <a16:creationId xmlns:a16="http://schemas.microsoft.com/office/drawing/2014/main" id="{558729DD-F51F-7DE9-41F5-49DA3B3BA9D9}"/>
              </a:ext>
            </a:extLst>
          </p:cNvPr>
          <p:cNvGrpSpPr/>
          <p:nvPr/>
        </p:nvGrpSpPr>
        <p:grpSpPr>
          <a:xfrm>
            <a:off x="10386604" y="1236322"/>
            <a:ext cx="720000" cy="720000"/>
            <a:chOff x="5807075" y="3138488"/>
            <a:chExt cx="519113" cy="522287"/>
          </a:xfrm>
          <a:solidFill>
            <a:srgbClr val="00A3E0"/>
          </a:solidFill>
        </p:grpSpPr>
        <p:sp>
          <p:nvSpPr>
            <p:cNvPr id="525" name="Freeform 22">
              <a:extLst>
                <a:ext uri="{FF2B5EF4-FFF2-40B4-BE49-F238E27FC236}">
                  <a16:creationId xmlns:a16="http://schemas.microsoft.com/office/drawing/2014/main" id="{C324DF84-D5A2-325A-A030-E593675B2CA2}"/>
                </a:ext>
              </a:extLst>
            </p:cNvPr>
            <p:cNvSpPr>
              <a:spLocks noEditPoints="1"/>
            </p:cNvSpPr>
            <p:nvPr/>
          </p:nvSpPr>
          <p:spPr bwMode="auto">
            <a:xfrm>
              <a:off x="5807075" y="3138488"/>
              <a:ext cx="519113" cy="522287"/>
            </a:xfrm>
            <a:custGeom>
              <a:avLst/>
              <a:gdLst>
                <a:gd name="T0" fmla="*/ 650 w 2426"/>
                <a:gd name="T1" fmla="*/ 2303 h 2442"/>
                <a:gd name="T2" fmla="*/ 299 w 2426"/>
                <a:gd name="T3" fmla="*/ 2021 h 2442"/>
                <a:gd name="T4" fmla="*/ 83 w 2426"/>
                <a:gd name="T5" fmla="*/ 1616 h 2442"/>
                <a:gd name="T6" fmla="*/ 56 w 2426"/>
                <a:gd name="T7" fmla="*/ 890 h 2442"/>
                <a:gd name="T8" fmla="*/ 243 w 2426"/>
                <a:gd name="T9" fmla="*/ 445 h 2442"/>
                <a:gd name="T10" fmla="*/ 594 w 2426"/>
                <a:gd name="T11" fmla="*/ 200 h 2442"/>
                <a:gd name="T12" fmla="*/ 1060 w 2426"/>
                <a:gd name="T13" fmla="*/ 27 h 2442"/>
                <a:gd name="T14" fmla="*/ 1825 w 2426"/>
                <a:gd name="T15" fmla="*/ 27 h 2442"/>
                <a:gd name="T16" fmla="*/ 2257 w 2426"/>
                <a:gd name="T17" fmla="*/ 145 h 2442"/>
                <a:gd name="T18" fmla="*/ 2286 w 2426"/>
                <a:gd name="T19" fmla="*/ 676 h 2442"/>
                <a:gd name="T20" fmla="*/ 2410 w 2426"/>
                <a:gd name="T21" fmla="*/ 1404 h 2442"/>
                <a:gd name="T22" fmla="*/ 2257 w 2426"/>
                <a:gd name="T23" fmla="*/ 1853 h 2442"/>
                <a:gd name="T24" fmla="*/ 1885 w 2426"/>
                <a:gd name="T25" fmla="*/ 2247 h 2442"/>
                <a:gd name="T26" fmla="*/ 1439 w 2426"/>
                <a:gd name="T27" fmla="*/ 2427 h 2442"/>
                <a:gd name="T28" fmla="*/ 791 w 2426"/>
                <a:gd name="T29" fmla="*/ 1502 h 2442"/>
                <a:gd name="T30" fmla="*/ 1043 w 2426"/>
                <a:gd name="T31" fmla="*/ 1314 h 2442"/>
                <a:gd name="T32" fmla="*/ 1563 w 2426"/>
                <a:gd name="T33" fmla="*/ 1402 h 2442"/>
                <a:gd name="T34" fmla="*/ 1617 w 2426"/>
                <a:gd name="T35" fmla="*/ 842 h 2442"/>
                <a:gd name="T36" fmla="*/ 2094 w 2426"/>
                <a:gd name="T37" fmla="*/ 79 h 2442"/>
                <a:gd name="T38" fmla="*/ 1663 w 2426"/>
                <a:gd name="T39" fmla="*/ 278 h 2442"/>
                <a:gd name="T40" fmla="*/ 1815 w 2426"/>
                <a:gd name="T41" fmla="*/ 809 h 2442"/>
                <a:gd name="T42" fmla="*/ 2032 w 2426"/>
                <a:gd name="T43" fmla="*/ 979 h 2442"/>
                <a:gd name="T44" fmla="*/ 2252 w 2426"/>
                <a:gd name="T45" fmla="*/ 557 h 2442"/>
                <a:gd name="T46" fmla="*/ 1013 w 2426"/>
                <a:gd name="T47" fmla="*/ 320 h 2442"/>
                <a:gd name="T48" fmla="*/ 902 w 2426"/>
                <a:gd name="T49" fmla="*/ 691 h 2442"/>
                <a:gd name="T50" fmla="*/ 1495 w 2426"/>
                <a:gd name="T51" fmla="*/ 418 h 2442"/>
                <a:gd name="T52" fmla="*/ 1022 w 2426"/>
                <a:gd name="T53" fmla="*/ 1654 h 2442"/>
                <a:gd name="T54" fmla="*/ 1240 w 2426"/>
                <a:gd name="T55" fmla="*/ 2069 h 2442"/>
                <a:gd name="T56" fmla="*/ 1467 w 2426"/>
                <a:gd name="T57" fmla="*/ 1747 h 2442"/>
                <a:gd name="T58" fmla="*/ 1411 w 2426"/>
                <a:gd name="T59" fmla="*/ 1310 h 2442"/>
                <a:gd name="T60" fmla="*/ 1015 w 2426"/>
                <a:gd name="T61" fmla="*/ 1543 h 2442"/>
                <a:gd name="T62" fmla="*/ 307 w 2426"/>
                <a:gd name="T63" fmla="*/ 746 h 2442"/>
                <a:gd name="T64" fmla="*/ 535 w 2426"/>
                <a:gd name="T65" fmla="*/ 1109 h 2442"/>
                <a:gd name="T66" fmla="*/ 734 w 2426"/>
                <a:gd name="T67" fmla="*/ 719 h 2442"/>
                <a:gd name="T68" fmla="*/ 616 w 2426"/>
                <a:gd name="T69" fmla="*/ 339 h 2442"/>
                <a:gd name="T70" fmla="*/ 2030 w 2426"/>
                <a:gd name="T71" fmla="*/ 1100 h 2442"/>
                <a:gd name="T72" fmla="*/ 1835 w 2426"/>
                <a:gd name="T73" fmla="*/ 941 h 2442"/>
                <a:gd name="T74" fmla="*/ 1946 w 2426"/>
                <a:gd name="T75" fmla="*/ 1561 h 2442"/>
                <a:gd name="T76" fmla="*/ 2267 w 2426"/>
                <a:gd name="T77" fmla="*/ 1321 h 2442"/>
                <a:gd name="T78" fmla="*/ 619 w 2426"/>
                <a:gd name="T79" fmla="*/ 1039 h 2442"/>
                <a:gd name="T80" fmla="*/ 415 w 2426"/>
                <a:gd name="T81" fmla="*/ 1066 h 2442"/>
                <a:gd name="T82" fmla="*/ 140 w 2426"/>
                <a:gd name="T83" fmla="*/ 1248 h 2442"/>
                <a:gd name="T84" fmla="*/ 463 w 2426"/>
                <a:gd name="T85" fmla="*/ 1543 h 2442"/>
                <a:gd name="T86" fmla="*/ 791 w 2426"/>
                <a:gd name="T87" fmla="*/ 2048 h 2442"/>
                <a:gd name="T88" fmla="*/ 450 w 2426"/>
                <a:gd name="T89" fmla="*/ 1683 h 2442"/>
                <a:gd name="T90" fmla="*/ 245 w 2426"/>
                <a:gd name="T91" fmla="*/ 1685 h 2442"/>
                <a:gd name="T92" fmla="*/ 478 w 2426"/>
                <a:gd name="T93" fmla="*/ 2006 h 2442"/>
                <a:gd name="T94" fmla="*/ 846 w 2426"/>
                <a:gd name="T95" fmla="*/ 2247 h 2442"/>
                <a:gd name="T96" fmla="*/ 1935 w 2426"/>
                <a:gd name="T97" fmla="*/ 2050 h 2442"/>
                <a:gd name="T98" fmla="*/ 2200 w 2426"/>
                <a:gd name="T99" fmla="*/ 1691 h 2442"/>
                <a:gd name="T100" fmla="*/ 1963 w 2426"/>
                <a:gd name="T101" fmla="*/ 1687 h 2442"/>
                <a:gd name="T102" fmla="*/ 1665 w 2426"/>
                <a:gd name="T103" fmla="*/ 1993 h 2442"/>
                <a:gd name="T104" fmla="*/ 848 w 2426"/>
                <a:gd name="T105" fmla="*/ 1806 h 2442"/>
                <a:gd name="T106" fmla="*/ 1054 w 2426"/>
                <a:gd name="T107" fmla="*/ 2219 h 2442"/>
                <a:gd name="T108" fmla="*/ 1441 w 2426"/>
                <a:gd name="T109" fmla="*/ 2142 h 2442"/>
                <a:gd name="T110" fmla="*/ 1524 w 2426"/>
                <a:gd name="T111" fmla="*/ 1795 h 2442"/>
                <a:gd name="T112" fmla="*/ 1318 w 2426"/>
                <a:gd name="T113" fmla="*/ 2158 h 2442"/>
                <a:gd name="T114" fmla="*/ 1094 w 2426"/>
                <a:gd name="T115" fmla="*/ 1881 h 2442"/>
                <a:gd name="T116" fmla="*/ 688 w 2426"/>
                <a:gd name="T117" fmla="*/ 334 h 2442"/>
                <a:gd name="T118" fmla="*/ 883 w 2426"/>
                <a:gd name="T119" fmla="*/ 223 h 2442"/>
                <a:gd name="T120" fmla="*/ 261 w 2426"/>
                <a:gd name="T121" fmla="*/ 895 h 2442"/>
                <a:gd name="T122" fmla="*/ 2230 w 2426"/>
                <a:gd name="T123" fmla="*/ 876 h 2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6" h="2442">
                  <a:moveTo>
                    <a:pt x="1227" y="2442"/>
                  </a:moveTo>
                  <a:cubicBezTo>
                    <a:pt x="1164" y="2442"/>
                    <a:pt x="1100" y="2442"/>
                    <a:pt x="1037" y="2442"/>
                  </a:cubicBezTo>
                  <a:cubicBezTo>
                    <a:pt x="1026" y="2442"/>
                    <a:pt x="1015" y="2442"/>
                    <a:pt x="1014" y="2427"/>
                  </a:cubicBezTo>
                  <a:cubicBezTo>
                    <a:pt x="1013" y="2415"/>
                    <a:pt x="1003" y="2416"/>
                    <a:pt x="994" y="2416"/>
                  </a:cubicBezTo>
                  <a:cubicBezTo>
                    <a:pt x="961" y="2415"/>
                    <a:pt x="928" y="2414"/>
                    <a:pt x="894" y="2414"/>
                  </a:cubicBezTo>
                  <a:cubicBezTo>
                    <a:pt x="884" y="2414"/>
                    <a:pt x="876" y="2413"/>
                    <a:pt x="875" y="2400"/>
                  </a:cubicBezTo>
                  <a:cubicBezTo>
                    <a:pt x="874" y="2390"/>
                    <a:pt x="867" y="2387"/>
                    <a:pt x="858" y="2387"/>
                  </a:cubicBezTo>
                  <a:cubicBezTo>
                    <a:pt x="841" y="2387"/>
                    <a:pt x="825" y="2386"/>
                    <a:pt x="808" y="2386"/>
                  </a:cubicBezTo>
                  <a:cubicBezTo>
                    <a:pt x="800" y="2386"/>
                    <a:pt x="792" y="2385"/>
                    <a:pt x="792" y="2375"/>
                  </a:cubicBezTo>
                  <a:cubicBezTo>
                    <a:pt x="791" y="2361"/>
                    <a:pt x="782" y="2358"/>
                    <a:pt x="770" y="2359"/>
                  </a:cubicBezTo>
                  <a:cubicBezTo>
                    <a:pt x="762" y="2359"/>
                    <a:pt x="754" y="2359"/>
                    <a:pt x="746" y="2358"/>
                  </a:cubicBezTo>
                  <a:cubicBezTo>
                    <a:pt x="739" y="2358"/>
                    <a:pt x="732" y="2357"/>
                    <a:pt x="732" y="2350"/>
                  </a:cubicBezTo>
                  <a:cubicBezTo>
                    <a:pt x="732" y="2331"/>
                    <a:pt x="720" y="2331"/>
                    <a:pt x="706" y="2331"/>
                  </a:cubicBezTo>
                  <a:cubicBezTo>
                    <a:pt x="692" y="2330"/>
                    <a:pt x="675" y="2335"/>
                    <a:pt x="673" y="2310"/>
                  </a:cubicBezTo>
                  <a:cubicBezTo>
                    <a:pt x="672" y="2300"/>
                    <a:pt x="658" y="2304"/>
                    <a:pt x="650" y="2303"/>
                  </a:cubicBezTo>
                  <a:cubicBezTo>
                    <a:pt x="636" y="2302"/>
                    <a:pt x="618" y="2307"/>
                    <a:pt x="617" y="2282"/>
                  </a:cubicBezTo>
                  <a:cubicBezTo>
                    <a:pt x="617" y="2274"/>
                    <a:pt x="607" y="2276"/>
                    <a:pt x="601" y="2275"/>
                  </a:cubicBezTo>
                  <a:cubicBezTo>
                    <a:pt x="585" y="2273"/>
                    <a:pt x="562" y="2281"/>
                    <a:pt x="561" y="2252"/>
                  </a:cubicBezTo>
                  <a:cubicBezTo>
                    <a:pt x="561" y="2250"/>
                    <a:pt x="556" y="2247"/>
                    <a:pt x="553" y="2247"/>
                  </a:cubicBezTo>
                  <a:cubicBezTo>
                    <a:pt x="540" y="2247"/>
                    <a:pt x="535" y="2241"/>
                    <a:pt x="534" y="2228"/>
                  </a:cubicBezTo>
                  <a:cubicBezTo>
                    <a:pt x="533" y="2219"/>
                    <a:pt x="525" y="2220"/>
                    <a:pt x="518" y="2219"/>
                  </a:cubicBezTo>
                  <a:cubicBezTo>
                    <a:pt x="503" y="2215"/>
                    <a:pt x="480" y="2221"/>
                    <a:pt x="477" y="2195"/>
                  </a:cubicBezTo>
                  <a:cubicBezTo>
                    <a:pt x="477" y="2193"/>
                    <a:pt x="471" y="2192"/>
                    <a:pt x="468" y="2191"/>
                  </a:cubicBezTo>
                  <a:cubicBezTo>
                    <a:pt x="466" y="2190"/>
                    <a:pt x="461" y="2190"/>
                    <a:pt x="461" y="2189"/>
                  </a:cubicBezTo>
                  <a:cubicBezTo>
                    <a:pt x="454" y="2170"/>
                    <a:pt x="434" y="2164"/>
                    <a:pt x="423" y="2149"/>
                  </a:cubicBezTo>
                  <a:cubicBezTo>
                    <a:pt x="422" y="2148"/>
                    <a:pt x="423" y="2144"/>
                    <a:pt x="422" y="2144"/>
                  </a:cubicBezTo>
                  <a:cubicBezTo>
                    <a:pt x="401" y="2139"/>
                    <a:pt x="398" y="2113"/>
                    <a:pt x="379" y="2106"/>
                  </a:cubicBezTo>
                  <a:cubicBezTo>
                    <a:pt x="378" y="2106"/>
                    <a:pt x="376" y="2106"/>
                    <a:pt x="376" y="2106"/>
                  </a:cubicBezTo>
                  <a:cubicBezTo>
                    <a:pt x="372" y="2084"/>
                    <a:pt x="348" y="2080"/>
                    <a:pt x="337" y="2063"/>
                  </a:cubicBezTo>
                  <a:cubicBezTo>
                    <a:pt x="328" y="2048"/>
                    <a:pt x="312" y="2035"/>
                    <a:pt x="299" y="2021"/>
                  </a:cubicBezTo>
                  <a:cubicBezTo>
                    <a:pt x="293" y="2015"/>
                    <a:pt x="283" y="2012"/>
                    <a:pt x="282" y="2001"/>
                  </a:cubicBezTo>
                  <a:cubicBezTo>
                    <a:pt x="281" y="1998"/>
                    <a:pt x="278" y="1994"/>
                    <a:pt x="276" y="1993"/>
                  </a:cubicBezTo>
                  <a:cubicBezTo>
                    <a:pt x="252" y="1992"/>
                    <a:pt x="254" y="1972"/>
                    <a:pt x="252" y="1957"/>
                  </a:cubicBezTo>
                  <a:cubicBezTo>
                    <a:pt x="250" y="1946"/>
                    <a:pt x="248" y="1939"/>
                    <a:pt x="236" y="1938"/>
                  </a:cubicBezTo>
                  <a:cubicBezTo>
                    <a:pt x="234" y="1938"/>
                    <a:pt x="230" y="1937"/>
                    <a:pt x="230" y="1936"/>
                  </a:cubicBezTo>
                  <a:cubicBezTo>
                    <a:pt x="227" y="1910"/>
                    <a:pt x="191" y="1903"/>
                    <a:pt x="195" y="1872"/>
                  </a:cubicBezTo>
                  <a:cubicBezTo>
                    <a:pt x="197" y="1861"/>
                    <a:pt x="193" y="1851"/>
                    <a:pt x="178" y="1851"/>
                  </a:cubicBezTo>
                  <a:cubicBezTo>
                    <a:pt x="177" y="1851"/>
                    <a:pt x="173" y="1850"/>
                    <a:pt x="173" y="1849"/>
                  </a:cubicBezTo>
                  <a:cubicBezTo>
                    <a:pt x="168" y="1823"/>
                    <a:pt x="131" y="1813"/>
                    <a:pt x="139" y="1780"/>
                  </a:cubicBezTo>
                  <a:cubicBezTo>
                    <a:pt x="141" y="1773"/>
                    <a:pt x="139" y="1764"/>
                    <a:pt x="138" y="1757"/>
                  </a:cubicBezTo>
                  <a:cubicBezTo>
                    <a:pt x="138" y="1751"/>
                    <a:pt x="136" y="1745"/>
                    <a:pt x="130" y="1744"/>
                  </a:cubicBezTo>
                  <a:cubicBezTo>
                    <a:pt x="111" y="1743"/>
                    <a:pt x="112" y="1729"/>
                    <a:pt x="111" y="1715"/>
                  </a:cubicBezTo>
                  <a:cubicBezTo>
                    <a:pt x="111" y="1700"/>
                    <a:pt x="115" y="1682"/>
                    <a:pt x="90" y="1681"/>
                  </a:cubicBezTo>
                  <a:cubicBezTo>
                    <a:pt x="83" y="1681"/>
                    <a:pt x="84" y="1671"/>
                    <a:pt x="84" y="1666"/>
                  </a:cubicBezTo>
                  <a:cubicBezTo>
                    <a:pt x="83" y="1649"/>
                    <a:pt x="83" y="1632"/>
                    <a:pt x="83" y="1616"/>
                  </a:cubicBezTo>
                  <a:cubicBezTo>
                    <a:pt x="82" y="1607"/>
                    <a:pt x="80" y="1600"/>
                    <a:pt x="70" y="1599"/>
                  </a:cubicBezTo>
                  <a:cubicBezTo>
                    <a:pt x="58" y="1598"/>
                    <a:pt x="56" y="1591"/>
                    <a:pt x="56" y="1581"/>
                  </a:cubicBezTo>
                  <a:cubicBezTo>
                    <a:pt x="56" y="1564"/>
                    <a:pt x="55" y="1548"/>
                    <a:pt x="55" y="1531"/>
                  </a:cubicBezTo>
                  <a:cubicBezTo>
                    <a:pt x="55" y="1523"/>
                    <a:pt x="54" y="1515"/>
                    <a:pt x="44" y="1515"/>
                  </a:cubicBezTo>
                  <a:cubicBezTo>
                    <a:pt x="27" y="1515"/>
                    <a:pt x="28" y="1504"/>
                    <a:pt x="28" y="1492"/>
                  </a:cubicBezTo>
                  <a:cubicBezTo>
                    <a:pt x="27" y="1442"/>
                    <a:pt x="27" y="1392"/>
                    <a:pt x="27" y="1342"/>
                  </a:cubicBezTo>
                  <a:cubicBezTo>
                    <a:pt x="27" y="1330"/>
                    <a:pt x="26" y="1319"/>
                    <a:pt x="10" y="1318"/>
                  </a:cubicBezTo>
                  <a:cubicBezTo>
                    <a:pt x="1" y="1318"/>
                    <a:pt x="0" y="1310"/>
                    <a:pt x="0" y="1303"/>
                  </a:cubicBezTo>
                  <a:cubicBezTo>
                    <a:pt x="0" y="1258"/>
                    <a:pt x="0" y="1213"/>
                    <a:pt x="0" y="1167"/>
                  </a:cubicBezTo>
                  <a:cubicBezTo>
                    <a:pt x="0" y="1159"/>
                    <a:pt x="2" y="1152"/>
                    <a:pt x="12" y="1152"/>
                  </a:cubicBezTo>
                  <a:cubicBezTo>
                    <a:pt x="26" y="1151"/>
                    <a:pt x="27" y="1142"/>
                    <a:pt x="27" y="1131"/>
                  </a:cubicBezTo>
                  <a:cubicBezTo>
                    <a:pt x="27" y="1087"/>
                    <a:pt x="27" y="1044"/>
                    <a:pt x="27" y="1001"/>
                  </a:cubicBezTo>
                  <a:cubicBezTo>
                    <a:pt x="27" y="989"/>
                    <a:pt x="28" y="979"/>
                    <a:pt x="43" y="978"/>
                  </a:cubicBezTo>
                  <a:cubicBezTo>
                    <a:pt x="54" y="978"/>
                    <a:pt x="54" y="969"/>
                    <a:pt x="54" y="960"/>
                  </a:cubicBezTo>
                  <a:cubicBezTo>
                    <a:pt x="55" y="937"/>
                    <a:pt x="56" y="914"/>
                    <a:pt x="56" y="890"/>
                  </a:cubicBezTo>
                  <a:cubicBezTo>
                    <a:pt x="56" y="880"/>
                    <a:pt x="58" y="872"/>
                    <a:pt x="70" y="871"/>
                  </a:cubicBezTo>
                  <a:cubicBezTo>
                    <a:pt x="81" y="870"/>
                    <a:pt x="83" y="863"/>
                    <a:pt x="83" y="854"/>
                  </a:cubicBezTo>
                  <a:cubicBezTo>
                    <a:pt x="83" y="836"/>
                    <a:pt x="84" y="818"/>
                    <a:pt x="84" y="800"/>
                  </a:cubicBezTo>
                  <a:cubicBezTo>
                    <a:pt x="84" y="791"/>
                    <a:pt x="87" y="784"/>
                    <a:pt x="97" y="784"/>
                  </a:cubicBezTo>
                  <a:cubicBezTo>
                    <a:pt x="109" y="783"/>
                    <a:pt x="111" y="776"/>
                    <a:pt x="111" y="766"/>
                  </a:cubicBezTo>
                  <a:cubicBezTo>
                    <a:pt x="113" y="749"/>
                    <a:pt x="105" y="728"/>
                    <a:pt x="134" y="724"/>
                  </a:cubicBezTo>
                  <a:cubicBezTo>
                    <a:pt x="142" y="723"/>
                    <a:pt x="138" y="710"/>
                    <a:pt x="139" y="702"/>
                  </a:cubicBezTo>
                  <a:cubicBezTo>
                    <a:pt x="140" y="688"/>
                    <a:pt x="136" y="670"/>
                    <a:pt x="160" y="670"/>
                  </a:cubicBezTo>
                  <a:cubicBezTo>
                    <a:pt x="168" y="669"/>
                    <a:pt x="166" y="659"/>
                    <a:pt x="168" y="653"/>
                  </a:cubicBezTo>
                  <a:cubicBezTo>
                    <a:pt x="172" y="638"/>
                    <a:pt x="165" y="617"/>
                    <a:pt x="190" y="613"/>
                  </a:cubicBezTo>
                  <a:cubicBezTo>
                    <a:pt x="196" y="612"/>
                    <a:pt x="195" y="602"/>
                    <a:pt x="195" y="597"/>
                  </a:cubicBezTo>
                  <a:cubicBezTo>
                    <a:pt x="197" y="572"/>
                    <a:pt x="198" y="547"/>
                    <a:pt x="199" y="523"/>
                  </a:cubicBezTo>
                  <a:cubicBezTo>
                    <a:pt x="199" y="516"/>
                    <a:pt x="198" y="507"/>
                    <a:pt x="206" y="505"/>
                  </a:cubicBezTo>
                  <a:cubicBezTo>
                    <a:pt x="226" y="502"/>
                    <a:pt x="223" y="487"/>
                    <a:pt x="224" y="474"/>
                  </a:cubicBezTo>
                  <a:cubicBezTo>
                    <a:pt x="224" y="460"/>
                    <a:pt x="224" y="447"/>
                    <a:pt x="243" y="445"/>
                  </a:cubicBezTo>
                  <a:cubicBezTo>
                    <a:pt x="251" y="444"/>
                    <a:pt x="250" y="435"/>
                    <a:pt x="251" y="429"/>
                  </a:cubicBezTo>
                  <a:cubicBezTo>
                    <a:pt x="255" y="413"/>
                    <a:pt x="249" y="391"/>
                    <a:pt x="276" y="389"/>
                  </a:cubicBezTo>
                  <a:cubicBezTo>
                    <a:pt x="282" y="388"/>
                    <a:pt x="282" y="380"/>
                    <a:pt x="283" y="375"/>
                  </a:cubicBezTo>
                  <a:cubicBezTo>
                    <a:pt x="284" y="368"/>
                    <a:pt x="287" y="364"/>
                    <a:pt x="294" y="363"/>
                  </a:cubicBezTo>
                  <a:cubicBezTo>
                    <a:pt x="306" y="363"/>
                    <a:pt x="310" y="356"/>
                    <a:pt x="311" y="346"/>
                  </a:cubicBezTo>
                  <a:cubicBezTo>
                    <a:pt x="312" y="341"/>
                    <a:pt x="314" y="337"/>
                    <a:pt x="318" y="337"/>
                  </a:cubicBezTo>
                  <a:cubicBezTo>
                    <a:pt x="332" y="336"/>
                    <a:pt x="339" y="330"/>
                    <a:pt x="341" y="315"/>
                  </a:cubicBezTo>
                  <a:cubicBezTo>
                    <a:pt x="343" y="305"/>
                    <a:pt x="354" y="308"/>
                    <a:pt x="362" y="308"/>
                  </a:cubicBezTo>
                  <a:cubicBezTo>
                    <a:pt x="377" y="306"/>
                    <a:pt x="395" y="310"/>
                    <a:pt x="397" y="286"/>
                  </a:cubicBezTo>
                  <a:cubicBezTo>
                    <a:pt x="398" y="279"/>
                    <a:pt x="407" y="280"/>
                    <a:pt x="413" y="280"/>
                  </a:cubicBezTo>
                  <a:cubicBezTo>
                    <a:pt x="436" y="279"/>
                    <a:pt x="459" y="279"/>
                    <a:pt x="483" y="279"/>
                  </a:cubicBezTo>
                  <a:cubicBezTo>
                    <a:pt x="487" y="279"/>
                    <a:pt x="495" y="280"/>
                    <a:pt x="496" y="278"/>
                  </a:cubicBezTo>
                  <a:cubicBezTo>
                    <a:pt x="505" y="260"/>
                    <a:pt x="526" y="254"/>
                    <a:pt x="535" y="238"/>
                  </a:cubicBezTo>
                  <a:cubicBezTo>
                    <a:pt x="540" y="229"/>
                    <a:pt x="543" y="225"/>
                    <a:pt x="554" y="223"/>
                  </a:cubicBezTo>
                  <a:cubicBezTo>
                    <a:pt x="569" y="219"/>
                    <a:pt x="589" y="226"/>
                    <a:pt x="594" y="200"/>
                  </a:cubicBezTo>
                  <a:cubicBezTo>
                    <a:pt x="597" y="190"/>
                    <a:pt x="614" y="195"/>
                    <a:pt x="624" y="192"/>
                  </a:cubicBezTo>
                  <a:cubicBezTo>
                    <a:pt x="635" y="190"/>
                    <a:pt x="646" y="190"/>
                    <a:pt x="648" y="175"/>
                  </a:cubicBezTo>
                  <a:cubicBezTo>
                    <a:pt x="649" y="168"/>
                    <a:pt x="655" y="168"/>
                    <a:pt x="661" y="167"/>
                  </a:cubicBezTo>
                  <a:cubicBezTo>
                    <a:pt x="678" y="163"/>
                    <a:pt x="699" y="169"/>
                    <a:pt x="707" y="143"/>
                  </a:cubicBezTo>
                  <a:cubicBezTo>
                    <a:pt x="710" y="134"/>
                    <a:pt x="727" y="138"/>
                    <a:pt x="737" y="136"/>
                  </a:cubicBezTo>
                  <a:cubicBezTo>
                    <a:pt x="748" y="134"/>
                    <a:pt x="758" y="134"/>
                    <a:pt x="760" y="119"/>
                  </a:cubicBezTo>
                  <a:cubicBezTo>
                    <a:pt x="762" y="111"/>
                    <a:pt x="770" y="112"/>
                    <a:pt x="777" y="111"/>
                  </a:cubicBezTo>
                  <a:cubicBezTo>
                    <a:pt x="794" y="107"/>
                    <a:pt x="817" y="115"/>
                    <a:pt x="823" y="88"/>
                  </a:cubicBezTo>
                  <a:cubicBezTo>
                    <a:pt x="824" y="83"/>
                    <a:pt x="831" y="84"/>
                    <a:pt x="835" y="83"/>
                  </a:cubicBezTo>
                  <a:cubicBezTo>
                    <a:pt x="860" y="78"/>
                    <a:pt x="886" y="80"/>
                    <a:pt x="911" y="79"/>
                  </a:cubicBezTo>
                  <a:cubicBezTo>
                    <a:pt x="921" y="78"/>
                    <a:pt x="930" y="77"/>
                    <a:pt x="932" y="65"/>
                  </a:cubicBezTo>
                  <a:cubicBezTo>
                    <a:pt x="933" y="57"/>
                    <a:pt x="940" y="56"/>
                    <a:pt x="947" y="55"/>
                  </a:cubicBezTo>
                  <a:cubicBezTo>
                    <a:pt x="973" y="50"/>
                    <a:pt x="999" y="53"/>
                    <a:pt x="1025" y="51"/>
                  </a:cubicBezTo>
                  <a:cubicBezTo>
                    <a:pt x="1034" y="51"/>
                    <a:pt x="1042" y="49"/>
                    <a:pt x="1044" y="38"/>
                  </a:cubicBezTo>
                  <a:cubicBezTo>
                    <a:pt x="1045" y="28"/>
                    <a:pt x="1053" y="28"/>
                    <a:pt x="1060" y="27"/>
                  </a:cubicBezTo>
                  <a:cubicBezTo>
                    <a:pt x="1170" y="23"/>
                    <a:pt x="1280" y="24"/>
                    <a:pt x="1390" y="28"/>
                  </a:cubicBezTo>
                  <a:cubicBezTo>
                    <a:pt x="1396" y="28"/>
                    <a:pt x="1404" y="28"/>
                    <a:pt x="1405" y="35"/>
                  </a:cubicBezTo>
                  <a:cubicBezTo>
                    <a:pt x="1408" y="54"/>
                    <a:pt x="1422" y="51"/>
                    <a:pt x="1435" y="52"/>
                  </a:cubicBezTo>
                  <a:cubicBezTo>
                    <a:pt x="1459" y="53"/>
                    <a:pt x="1482" y="54"/>
                    <a:pt x="1505" y="56"/>
                  </a:cubicBezTo>
                  <a:cubicBezTo>
                    <a:pt x="1511" y="56"/>
                    <a:pt x="1518" y="55"/>
                    <a:pt x="1520" y="60"/>
                  </a:cubicBezTo>
                  <a:cubicBezTo>
                    <a:pt x="1524" y="82"/>
                    <a:pt x="1541" y="79"/>
                    <a:pt x="1555" y="80"/>
                  </a:cubicBezTo>
                  <a:cubicBezTo>
                    <a:pt x="1567" y="81"/>
                    <a:pt x="1579" y="82"/>
                    <a:pt x="1591" y="83"/>
                  </a:cubicBezTo>
                  <a:cubicBezTo>
                    <a:pt x="1597" y="83"/>
                    <a:pt x="1605" y="83"/>
                    <a:pt x="1606" y="91"/>
                  </a:cubicBezTo>
                  <a:cubicBezTo>
                    <a:pt x="1608" y="106"/>
                    <a:pt x="1619" y="106"/>
                    <a:pt x="1630" y="108"/>
                  </a:cubicBezTo>
                  <a:cubicBezTo>
                    <a:pt x="1655" y="112"/>
                    <a:pt x="1679" y="112"/>
                    <a:pt x="1704" y="111"/>
                  </a:cubicBezTo>
                  <a:cubicBezTo>
                    <a:pt x="1711" y="110"/>
                    <a:pt x="1720" y="110"/>
                    <a:pt x="1721" y="103"/>
                  </a:cubicBezTo>
                  <a:cubicBezTo>
                    <a:pt x="1722" y="80"/>
                    <a:pt x="1740" y="82"/>
                    <a:pt x="1754" y="80"/>
                  </a:cubicBezTo>
                  <a:cubicBezTo>
                    <a:pt x="1765" y="78"/>
                    <a:pt x="1775" y="77"/>
                    <a:pt x="1776" y="62"/>
                  </a:cubicBezTo>
                  <a:cubicBezTo>
                    <a:pt x="1776" y="62"/>
                    <a:pt x="1776" y="60"/>
                    <a:pt x="1776" y="60"/>
                  </a:cubicBezTo>
                  <a:cubicBezTo>
                    <a:pt x="1797" y="56"/>
                    <a:pt x="1805" y="32"/>
                    <a:pt x="1825" y="27"/>
                  </a:cubicBezTo>
                  <a:cubicBezTo>
                    <a:pt x="1855" y="20"/>
                    <a:pt x="1886" y="23"/>
                    <a:pt x="1917" y="23"/>
                  </a:cubicBezTo>
                  <a:cubicBezTo>
                    <a:pt x="1927" y="22"/>
                    <a:pt x="1937" y="22"/>
                    <a:pt x="1940" y="9"/>
                  </a:cubicBezTo>
                  <a:cubicBezTo>
                    <a:pt x="1941" y="2"/>
                    <a:pt x="1947" y="0"/>
                    <a:pt x="1953" y="0"/>
                  </a:cubicBezTo>
                  <a:cubicBezTo>
                    <a:pt x="1967" y="0"/>
                    <a:pt x="1980" y="0"/>
                    <a:pt x="1993" y="0"/>
                  </a:cubicBezTo>
                  <a:cubicBezTo>
                    <a:pt x="1998" y="0"/>
                    <a:pt x="2004" y="1"/>
                    <a:pt x="2005" y="6"/>
                  </a:cubicBezTo>
                  <a:cubicBezTo>
                    <a:pt x="2008" y="25"/>
                    <a:pt x="2022" y="22"/>
                    <a:pt x="2036" y="23"/>
                  </a:cubicBezTo>
                  <a:cubicBezTo>
                    <a:pt x="2055" y="23"/>
                    <a:pt x="2074" y="24"/>
                    <a:pt x="2094" y="25"/>
                  </a:cubicBezTo>
                  <a:cubicBezTo>
                    <a:pt x="2106" y="26"/>
                    <a:pt x="2119" y="25"/>
                    <a:pt x="2121" y="43"/>
                  </a:cubicBezTo>
                  <a:cubicBezTo>
                    <a:pt x="2121" y="51"/>
                    <a:pt x="2131" y="50"/>
                    <a:pt x="2137" y="51"/>
                  </a:cubicBezTo>
                  <a:cubicBezTo>
                    <a:pt x="2151" y="55"/>
                    <a:pt x="2171" y="50"/>
                    <a:pt x="2174" y="74"/>
                  </a:cubicBezTo>
                  <a:cubicBezTo>
                    <a:pt x="2174" y="78"/>
                    <a:pt x="2180" y="79"/>
                    <a:pt x="2184" y="79"/>
                  </a:cubicBezTo>
                  <a:cubicBezTo>
                    <a:pt x="2196" y="79"/>
                    <a:pt x="2203" y="84"/>
                    <a:pt x="2203" y="97"/>
                  </a:cubicBezTo>
                  <a:cubicBezTo>
                    <a:pt x="2203" y="97"/>
                    <a:pt x="2204" y="98"/>
                    <a:pt x="2204" y="98"/>
                  </a:cubicBezTo>
                  <a:cubicBezTo>
                    <a:pt x="2224" y="104"/>
                    <a:pt x="2229" y="127"/>
                    <a:pt x="2246" y="135"/>
                  </a:cubicBezTo>
                  <a:cubicBezTo>
                    <a:pt x="2251" y="137"/>
                    <a:pt x="2257" y="139"/>
                    <a:pt x="2257" y="145"/>
                  </a:cubicBezTo>
                  <a:cubicBezTo>
                    <a:pt x="2258" y="158"/>
                    <a:pt x="2265" y="164"/>
                    <a:pt x="2278" y="165"/>
                  </a:cubicBezTo>
                  <a:cubicBezTo>
                    <a:pt x="2282" y="165"/>
                    <a:pt x="2285" y="169"/>
                    <a:pt x="2285" y="173"/>
                  </a:cubicBezTo>
                  <a:cubicBezTo>
                    <a:pt x="2286" y="186"/>
                    <a:pt x="2289" y="195"/>
                    <a:pt x="2304" y="197"/>
                  </a:cubicBezTo>
                  <a:cubicBezTo>
                    <a:pt x="2310" y="198"/>
                    <a:pt x="2310" y="204"/>
                    <a:pt x="2311" y="210"/>
                  </a:cubicBezTo>
                  <a:cubicBezTo>
                    <a:pt x="2312" y="222"/>
                    <a:pt x="2314" y="235"/>
                    <a:pt x="2315" y="248"/>
                  </a:cubicBezTo>
                  <a:cubicBezTo>
                    <a:pt x="2316" y="261"/>
                    <a:pt x="2314" y="275"/>
                    <a:pt x="2333" y="277"/>
                  </a:cubicBezTo>
                  <a:cubicBezTo>
                    <a:pt x="2340" y="277"/>
                    <a:pt x="2342" y="285"/>
                    <a:pt x="2342" y="291"/>
                  </a:cubicBezTo>
                  <a:cubicBezTo>
                    <a:pt x="2341" y="355"/>
                    <a:pt x="2345" y="420"/>
                    <a:pt x="2340" y="485"/>
                  </a:cubicBezTo>
                  <a:cubicBezTo>
                    <a:pt x="2339" y="494"/>
                    <a:pt x="2337" y="502"/>
                    <a:pt x="2326" y="503"/>
                  </a:cubicBezTo>
                  <a:cubicBezTo>
                    <a:pt x="2314" y="505"/>
                    <a:pt x="2316" y="515"/>
                    <a:pt x="2315" y="524"/>
                  </a:cubicBezTo>
                  <a:cubicBezTo>
                    <a:pt x="2313" y="539"/>
                    <a:pt x="2317" y="556"/>
                    <a:pt x="2293" y="562"/>
                  </a:cubicBezTo>
                  <a:cubicBezTo>
                    <a:pt x="2282" y="565"/>
                    <a:pt x="2287" y="584"/>
                    <a:pt x="2284" y="595"/>
                  </a:cubicBezTo>
                  <a:cubicBezTo>
                    <a:pt x="2282" y="605"/>
                    <a:pt x="2281" y="613"/>
                    <a:pt x="2268" y="616"/>
                  </a:cubicBezTo>
                  <a:cubicBezTo>
                    <a:pt x="2257" y="619"/>
                    <a:pt x="2255" y="639"/>
                    <a:pt x="2265" y="641"/>
                  </a:cubicBezTo>
                  <a:cubicBezTo>
                    <a:pt x="2288" y="644"/>
                    <a:pt x="2283" y="663"/>
                    <a:pt x="2286" y="676"/>
                  </a:cubicBezTo>
                  <a:cubicBezTo>
                    <a:pt x="2288" y="687"/>
                    <a:pt x="2287" y="698"/>
                    <a:pt x="2303" y="700"/>
                  </a:cubicBezTo>
                  <a:cubicBezTo>
                    <a:pt x="2311" y="701"/>
                    <a:pt x="2310" y="710"/>
                    <a:pt x="2312" y="717"/>
                  </a:cubicBezTo>
                  <a:cubicBezTo>
                    <a:pt x="2316" y="732"/>
                    <a:pt x="2308" y="754"/>
                    <a:pt x="2334" y="759"/>
                  </a:cubicBezTo>
                  <a:cubicBezTo>
                    <a:pt x="2339" y="760"/>
                    <a:pt x="2339" y="767"/>
                    <a:pt x="2339" y="771"/>
                  </a:cubicBezTo>
                  <a:cubicBezTo>
                    <a:pt x="2340" y="785"/>
                    <a:pt x="2342" y="799"/>
                    <a:pt x="2343" y="813"/>
                  </a:cubicBezTo>
                  <a:cubicBezTo>
                    <a:pt x="2344" y="826"/>
                    <a:pt x="2342" y="839"/>
                    <a:pt x="2361" y="840"/>
                  </a:cubicBezTo>
                  <a:cubicBezTo>
                    <a:pt x="2370" y="840"/>
                    <a:pt x="2370" y="849"/>
                    <a:pt x="2370" y="856"/>
                  </a:cubicBezTo>
                  <a:cubicBezTo>
                    <a:pt x="2370" y="869"/>
                    <a:pt x="2370" y="882"/>
                    <a:pt x="2371" y="896"/>
                  </a:cubicBezTo>
                  <a:cubicBezTo>
                    <a:pt x="2371" y="909"/>
                    <a:pt x="2370" y="923"/>
                    <a:pt x="2390" y="925"/>
                  </a:cubicBezTo>
                  <a:cubicBezTo>
                    <a:pt x="2399" y="926"/>
                    <a:pt x="2398" y="936"/>
                    <a:pt x="2398" y="943"/>
                  </a:cubicBezTo>
                  <a:cubicBezTo>
                    <a:pt x="2399" y="978"/>
                    <a:pt x="2399" y="1014"/>
                    <a:pt x="2399" y="1049"/>
                  </a:cubicBezTo>
                  <a:cubicBezTo>
                    <a:pt x="2400" y="1060"/>
                    <a:pt x="2401" y="1068"/>
                    <a:pt x="2411" y="1075"/>
                  </a:cubicBezTo>
                  <a:cubicBezTo>
                    <a:pt x="2422" y="1083"/>
                    <a:pt x="2426" y="1096"/>
                    <a:pt x="2426" y="1110"/>
                  </a:cubicBezTo>
                  <a:cubicBezTo>
                    <a:pt x="2426" y="1200"/>
                    <a:pt x="2426" y="1290"/>
                    <a:pt x="2426" y="1380"/>
                  </a:cubicBezTo>
                  <a:cubicBezTo>
                    <a:pt x="2426" y="1392"/>
                    <a:pt x="2426" y="1402"/>
                    <a:pt x="2410" y="1404"/>
                  </a:cubicBezTo>
                  <a:cubicBezTo>
                    <a:pt x="2399" y="1405"/>
                    <a:pt x="2400" y="1415"/>
                    <a:pt x="2400" y="1423"/>
                  </a:cubicBezTo>
                  <a:cubicBezTo>
                    <a:pt x="2399" y="1456"/>
                    <a:pt x="2399" y="1488"/>
                    <a:pt x="2398" y="1521"/>
                  </a:cubicBezTo>
                  <a:cubicBezTo>
                    <a:pt x="2398" y="1533"/>
                    <a:pt x="2396" y="1545"/>
                    <a:pt x="2395" y="1557"/>
                  </a:cubicBezTo>
                  <a:cubicBezTo>
                    <a:pt x="2394" y="1561"/>
                    <a:pt x="2394" y="1568"/>
                    <a:pt x="2389" y="1568"/>
                  </a:cubicBezTo>
                  <a:cubicBezTo>
                    <a:pt x="2368" y="1571"/>
                    <a:pt x="2372" y="1587"/>
                    <a:pt x="2370" y="1600"/>
                  </a:cubicBezTo>
                  <a:cubicBezTo>
                    <a:pt x="2369" y="1613"/>
                    <a:pt x="2368" y="1627"/>
                    <a:pt x="2367" y="1640"/>
                  </a:cubicBezTo>
                  <a:cubicBezTo>
                    <a:pt x="2366" y="1644"/>
                    <a:pt x="2366" y="1651"/>
                    <a:pt x="2362" y="1652"/>
                  </a:cubicBezTo>
                  <a:cubicBezTo>
                    <a:pt x="2338" y="1656"/>
                    <a:pt x="2343" y="1674"/>
                    <a:pt x="2342" y="1689"/>
                  </a:cubicBezTo>
                  <a:cubicBezTo>
                    <a:pt x="2342" y="1702"/>
                    <a:pt x="2341" y="1712"/>
                    <a:pt x="2325" y="1712"/>
                  </a:cubicBezTo>
                  <a:cubicBezTo>
                    <a:pt x="2318" y="1713"/>
                    <a:pt x="2316" y="1719"/>
                    <a:pt x="2315" y="1725"/>
                  </a:cubicBezTo>
                  <a:cubicBezTo>
                    <a:pt x="2315" y="1735"/>
                    <a:pt x="2314" y="1744"/>
                    <a:pt x="2314" y="1753"/>
                  </a:cubicBezTo>
                  <a:cubicBezTo>
                    <a:pt x="2314" y="1759"/>
                    <a:pt x="2314" y="1768"/>
                    <a:pt x="2307" y="1768"/>
                  </a:cubicBezTo>
                  <a:cubicBezTo>
                    <a:pt x="2285" y="1771"/>
                    <a:pt x="2287" y="1788"/>
                    <a:pt x="2286" y="1803"/>
                  </a:cubicBezTo>
                  <a:cubicBezTo>
                    <a:pt x="2286" y="1816"/>
                    <a:pt x="2284" y="1825"/>
                    <a:pt x="2268" y="1828"/>
                  </a:cubicBezTo>
                  <a:cubicBezTo>
                    <a:pt x="2255" y="1830"/>
                    <a:pt x="2259" y="1844"/>
                    <a:pt x="2257" y="1853"/>
                  </a:cubicBezTo>
                  <a:cubicBezTo>
                    <a:pt x="2254" y="1865"/>
                    <a:pt x="2251" y="1873"/>
                    <a:pt x="2239" y="1883"/>
                  </a:cubicBezTo>
                  <a:cubicBezTo>
                    <a:pt x="2227" y="1893"/>
                    <a:pt x="2218" y="1910"/>
                    <a:pt x="2205" y="1922"/>
                  </a:cubicBezTo>
                  <a:cubicBezTo>
                    <a:pt x="2199" y="1926"/>
                    <a:pt x="2200" y="1938"/>
                    <a:pt x="2199" y="1946"/>
                  </a:cubicBezTo>
                  <a:cubicBezTo>
                    <a:pt x="2199" y="1957"/>
                    <a:pt x="2195" y="1963"/>
                    <a:pt x="2184" y="1964"/>
                  </a:cubicBezTo>
                  <a:cubicBezTo>
                    <a:pt x="2182" y="1964"/>
                    <a:pt x="2179" y="1964"/>
                    <a:pt x="2179" y="1965"/>
                  </a:cubicBezTo>
                  <a:cubicBezTo>
                    <a:pt x="2173" y="1983"/>
                    <a:pt x="2157" y="1993"/>
                    <a:pt x="2147" y="2008"/>
                  </a:cubicBezTo>
                  <a:cubicBezTo>
                    <a:pt x="2137" y="2024"/>
                    <a:pt x="2120" y="2034"/>
                    <a:pt x="2108" y="2048"/>
                  </a:cubicBezTo>
                  <a:cubicBezTo>
                    <a:pt x="2100" y="2057"/>
                    <a:pt x="2091" y="2063"/>
                    <a:pt x="2088" y="2076"/>
                  </a:cubicBezTo>
                  <a:cubicBezTo>
                    <a:pt x="2086" y="2089"/>
                    <a:pt x="2083" y="2099"/>
                    <a:pt x="2067" y="2106"/>
                  </a:cubicBezTo>
                  <a:cubicBezTo>
                    <a:pt x="2055" y="2112"/>
                    <a:pt x="2048" y="2132"/>
                    <a:pt x="2031" y="2138"/>
                  </a:cubicBezTo>
                  <a:cubicBezTo>
                    <a:pt x="2033" y="2162"/>
                    <a:pt x="2013" y="2159"/>
                    <a:pt x="1999" y="2162"/>
                  </a:cubicBezTo>
                  <a:cubicBezTo>
                    <a:pt x="1987" y="2164"/>
                    <a:pt x="1973" y="2164"/>
                    <a:pt x="1974" y="2182"/>
                  </a:cubicBezTo>
                  <a:cubicBezTo>
                    <a:pt x="1952" y="2185"/>
                    <a:pt x="1951" y="2213"/>
                    <a:pt x="1931" y="2218"/>
                  </a:cubicBezTo>
                  <a:cubicBezTo>
                    <a:pt x="1926" y="2220"/>
                    <a:pt x="1920" y="2220"/>
                    <a:pt x="1920" y="2225"/>
                  </a:cubicBezTo>
                  <a:cubicBezTo>
                    <a:pt x="1919" y="2250"/>
                    <a:pt x="1900" y="2246"/>
                    <a:pt x="1885" y="2247"/>
                  </a:cubicBezTo>
                  <a:cubicBezTo>
                    <a:pt x="1873" y="2247"/>
                    <a:pt x="1869" y="2254"/>
                    <a:pt x="1861" y="2263"/>
                  </a:cubicBezTo>
                  <a:cubicBezTo>
                    <a:pt x="1848" y="2276"/>
                    <a:pt x="1832" y="2288"/>
                    <a:pt x="1817" y="2301"/>
                  </a:cubicBezTo>
                  <a:cubicBezTo>
                    <a:pt x="1813" y="2305"/>
                    <a:pt x="1802" y="2303"/>
                    <a:pt x="1794" y="2303"/>
                  </a:cubicBezTo>
                  <a:cubicBezTo>
                    <a:pt x="1783" y="2303"/>
                    <a:pt x="1776" y="2305"/>
                    <a:pt x="1775" y="2318"/>
                  </a:cubicBezTo>
                  <a:cubicBezTo>
                    <a:pt x="1773" y="2333"/>
                    <a:pt x="1761" y="2329"/>
                    <a:pt x="1752" y="2330"/>
                  </a:cubicBezTo>
                  <a:cubicBezTo>
                    <a:pt x="1737" y="2332"/>
                    <a:pt x="1718" y="2326"/>
                    <a:pt x="1717" y="2351"/>
                  </a:cubicBezTo>
                  <a:cubicBezTo>
                    <a:pt x="1717" y="2358"/>
                    <a:pt x="1708" y="2358"/>
                    <a:pt x="1702" y="2358"/>
                  </a:cubicBezTo>
                  <a:cubicBezTo>
                    <a:pt x="1685" y="2359"/>
                    <a:pt x="1668" y="2359"/>
                    <a:pt x="1652" y="2359"/>
                  </a:cubicBezTo>
                  <a:cubicBezTo>
                    <a:pt x="1644" y="2360"/>
                    <a:pt x="1636" y="2361"/>
                    <a:pt x="1636" y="2371"/>
                  </a:cubicBezTo>
                  <a:cubicBezTo>
                    <a:pt x="1635" y="2384"/>
                    <a:pt x="1627" y="2387"/>
                    <a:pt x="1616" y="2386"/>
                  </a:cubicBezTo>
                  <a:cubicBezTo>
                    <a:pt x="1600" y="2386"/>
                    <a:pt x="1584" y="2387"/>
                    <a:pt x="1568" y="2387"/>
                  </a:cubicBezTo>
                  <a:cubicBezTo>
                    <a:pt x="1559" y="2388"/>
                    <a:pt x="1552" y="2390"/>
                    <a:pt x="1551" y="2401"/>
                  </a:cubicBezTo>
                  <a:cubicBezTo>
                    <a:pt x="1551" y="2412"/>
                    <a:pt x="1543" y="2414"/>
                    <a:pt x="1534" y="2414"/>
                  </a:cubicBezTo>
                  <a:cubicBezTo>
                    <a:pt x="1508" y="2415"/>
                    <a:pt x="1483" y="2415"/>
                    <a:pt x="1458" y="2416"/>
                  </a:cubicBezTo>
                  <a:cubicBezTo>
                    <a:pt x="1449" y="2416"/>
                    <a:pt x="1440" y="2416"/>
                    <a:pt x="1439" y="2427"/>
                  </a:cubicBezTo>
                  <a:cubicBezTo>
                    <a:pt x="1438" y="2442"/>
                    <a:pt x="1428" y="2442"/>
                    <a:pt x="1417" y="2442"/>
                  </a:cubicBezTo>
                  <a:cubicBezTo>
                    <a:pt x="1354" y="2442"/>
                    <a:pt x="1290" y="2442"/>
                    <a:pt x="1227" y="2442"/>
                  </a:cubicBezTo>
                  <a:cubicBezTo>
                    <a:pt x="1227" y="2442"/>
                    <a:pt x="1227" y="2442"/>
                    <a:pt x="1227" y="2442"/>
                  </a:cubicBezTo>
                  <a:close/>
                  <a:moveTo>
                    <a:pt x="1216" y="811"/>
                  </a:moveTo>
                  <a:cubicBezTo>
                    <a:pt x="1216" y="811"/>
                    <a:pt x="1216" y="811"/>
                    <a:pt x="1216" y="811"/>
                  </a:cubicBezTo>
                  <a:cubicBezTo>
                    <a:pt x="1128" y="811"/>
                    <a:pt x="1041" y="811"/>
                    <a:pt x="954" y="811"/>
                  </a:cubicBezTo>
                  <a:cubicBezTo>
                    <a:pt x="941" y="811"/>
                    <a:pt x="928" y="811"/>
                    <a:pt x="926" y="829"/>
                  </a:cubicBezTo>
                  <a:cubicBezTo>
                    <a:pt x="925" y="839"/>
                    <a:pt x="916" y="838"/>
                    <a:pt x="908" y="838"/>
                  </a:cubicBezTo>
                  <a:cubicBezTo>
                    <a:pt x="886" y="838"/>
                    <a:pt x="863" y="839"/>
                    <a:pt x="840" y="839"/>
                  </a:cubicBezTo>
                  <a:cubicBezTo>
                    <a:pt x="826" y="839"/>
                    <a:pt x="819" y="843"/>
                    <a:pt x="818" y="859"/>
                  </a:cubicBezTo>
                  <a:cubicBezTo>
                    <a:pt x="814" y="892"/>
                    <a:pt x="817" y="926"/>
                    <a:pt x="815" y="959"/>
                  </a:cubicBezTo>
                  <a:cubicBezTo>
                    <a:pt x="814" y="966"/>
                    <a:pt x="816" y="976"/>
                    <a:pt x="807" y="977"/>
                  </a:cubicBezTo>
                  <a:cubicBezTo>
                    <a:pt x="786" y="980"/>
                    <a:pt x="788" y="994"/>
                    <a:pt x="788" y="1008"/>
                  </a:cubicBezTo>
                  <a:cubicBezTo>
                    <a:pt x="788" y="1161"/>
                    <a:pt x="787" y="1313"/>
                    <a:pt x="788" y="1466"/>
                  </a:cubicBezTo>
                  <a:cubicBezTo>
                    <a:pt x="788" y="1478"/>
                    <a:pt x="790" y="1490"/>
                    <a:pt x="791" y="1502"/>
                  </a:cubicBezTo>
                  <a:cubicBezTo>
                    <a:pt x="792" y="1508"/>
                    <a:pt x="794" y="1513"/>
                    <a:pt x="802" y="1514"/>
                  </a:cubicBezTo>
                  <a:cubicBezTo>
                    <a:pt x="815" y="1516"/>
                    <a:pt x="815" y="1525"/>
                    <a:pt x="815" y="1535"/>
                  </a:cubicBezTo>
                  <a:cubicBezTo>
                    <a:pt x="815" y="1559"/>
                    <a:pt x="817" y="1583"/>
                    <a:pt x="815" y="1606"/>
                  </a:cubicBezTo>
                  <a:cubicBezTo>
                    <a:pt x="812" y="1633"/>
                    <a:pt x="851" y="1626"/>
                    <a:pt x="847" y="1651"/>
                  </a:cubicBezTo>
                  <a:cubicBezTo>
                    <a:pt x="847" y="1652"/>
                    <a:pt x="853" y="1654"/>
                    <a:pt x="856" y="1655"/>
                  </a:cubicBezTo>
                  <a:cubicBezTo>
                    <a:pt x="860" y="1655"/>
                    <a:pt x="864" y="1655"/>
                    <a:pt x="868" y="1655"/>
                  </a:cubicBezTo>
                  <a:cubicBezTo>
                    <a:pt x="888" y="1655"/>
                    <a:pt x="908" y="1655"/>
                    <a:pt x="928" y="1656"/>
                  </a:cubicBezTo>
                  <a:cubicBezTo>
                    <a:pt x="959" y="1656"/>
                    <a:pt x="959" y="1656"/>
                    <a:pt x="959" y="1625"/>
                  </a:cubicBezTo>
                  <a:cubicBezTo>
                    <a:pt x="959" y="1568"/>
                    <a:pt x="959" y="1511"/>
                    <a:pt x="960" y="1453"/>
                  </a:cubicBezTo>
                  <a:cubicBezTo>
                    <a:pt x="960" y="1446"/>
                    <a:pt x="957" y="1435"/>
                    <a:pt x="965" y="1434"/>
                  </a:cubicBezTo>
                  <a:cubicBezTo>
                    <a:pt x="993" y="1431"/>
                    <a:pt x="986" y="1410"/>
                    <a:pt x="988" y="1393"/>
                  </a:cubicBezTo>
                  <a:cubicBezTo>
                    <a:pt x="988" y="1387"/>
                    <a:pt x="987" y="1378"/>
                    <a:pt x="995" y="1377"/>
                  </a:cubicBezTo>
                  <a:cubicBezTo>
                    <a:pt x="1010" y="1376"/>
                    <a:pt x="1016" y="1369"/>
                    <a:pt x="1016" y="1354"/>
                  </a:cubicBezTo>
                  <a:cubicBezTo>
                    <a:pt x="1017" y="1352"/>
                    <a:pt x="1020" y="1349"/>
                    <a:pt x="1021" y="1349"/>
                  </a:cubicBezTo>
                  <a:cubicBezTo>
                    <a:pt x="1046" y="1348"/>
                    <a:pt x="1044" y="1330"/>
                    <a:pt x="1043" y="1314"/>
                  </a:cubicBezTo>
                  <a:cubicBezTo>
                    <a:pt x="1043" y="1297"/>
                    <a:pt x="1050" y="1290"/>
                    <a:pt x="1067" y="1292"/>
                  </a:cubicBezTo>
                  <a:cubicBezTo>
                    <a:pt x="1073" y="1292"/>
                    <a:pt x="1079" y="1291"/>
                    <a:pt x="1085" y="1291"/>
                  </a:cubicBezTo>
                  <a:cubicBezTo>
                    <a:pt x="1092" y="1290"/>
                    <a:pt x="1099" y="1288"/>
                    <a:pt x="1099" y="1280"/>
                  </a:cubicBezTo>
                  <a:cubicBezTo>
                    <a:pt x="1099" y="1266"/>
                    <a:pt x="1107" y="1264"/>
                    <a:pt x="1118" y="1263"/>
                  </a:cubicBezTo>
                  <a:cubicBezTo>
                    <a:pt x="1134" y="1261"/>
                    <a:pt x="1153" y="1264"/>
                    <a:pt x="1157" y="1241"/>
                  </a:cubicBezTo>
                  <a:cubicBezTo>
                    <a:pt x="1158" y="1235"/>
                    <a:pt x="1166" y="1235"/>
                    <a:pt x="1171" y="1235"/>
                  </a:cubicBezTo>
                  <a:cubicBezTo>
                    <a:pt x="1216" y="1234"/>
                    <a:pt x="1260" y="1232"/>
                    <a:pt x="1305" y="1232"/>
                  </a:cubicBezTo>
                  <a:cubicBezTo>
                    <a:pt x="1332" y="1232"/>
                    <a:pt x="1360" y="1232"/>
                    <a:pt x="1387" y="1236"/>
                  </a:cubicBezTo>
                  <a:cubicBezTo>
                    <a:pt x="1410" y="1240"/>
                    <a:pt x="1419" y="1265"/>
                    <a:pt x="1439" y="1276"/>
                  </a:cubicBezTo>
                  <a:cubicBezTo>
                    <a:pt x="1444" y="1278"/>
                    <a:pt x="1447" y="1285"/>
                    <a:pt x="1455" y="1287"/>
                  </a:cubicBezTo>
                  <a:cubicBezTo>
                    <a:pt x="1471" y="1292"/>
                    <a:pt x="1496" y="1285"/>
                    <a:pt x="1497" y="1315"/>
                  </a:cubicBezTo>
                  <a:cubicBezTo>
                    <a:pt x="1497" y="1318"/>
                    <a:pt x="1503" y="1320"/>
                    <a:pt x="1507" y="1320"/>
                  </a:cubicBezTo>
                  <a:cubicBezTo>
                    <a:pt x="1520" y="1319"/>
                    <a:pt x="1522" y="1327"/>
                    <a:pt x="1522" y="1338"/>
                  </a:cubicBezTo>
                  <a:cubicBezTo>
                    <a:pt x="1522" y="1346"/>
                    <a:pt x="1520" y="1360"/>
                    <a:pt x="1525" y="1363"/>
                  </a:cubicBezTo>
                  <a:cubicBezTo>
                    <a:pt x="1540" y="1374"/>
                    <a:pt x="1547" y="1394"/>
                    <a:pt x="1563" y="1402"/>
                  </a:cubicBezTo>
                  <a:cubicBezTo>
                    <a:pt x="1575" y="1408"/>
                    <a:pt x="1578" y="1413"/>
                    <a:pt x="1578" y="1425"/>
                  </a:cubicBezTo>
                  <a:cubicBezTo>
                    <a:pt x="1578" y="1486"/>
                    <a:pt x="1579" y="1546"/>
                    <a:pt x="1579" y="1607"/>
                  </a:cubicBezTo>
                  <a:cubicBezTo>
                    <a:pt x="1579" y="1619"/>
                    <a:pt x="1580" y="1631"/>
                    <a:pt x="1583" y="1643"/>
                  </a:cubicBezTo>
                  <a:cubicBezTo>
                    <a:pt x="1584" y="1649"/>
                    <a:pt x="1587" y="1654"/>
                    <a:pt x="1595" y="1654"/>
                  </a:cubicBezTo>
                  <a:cubicBezTo>
                    <a:pt x="1602" y="1654"/>
                    <a:pt x="1606" y="1650"/>
                    <a:pt x="1606" y="1643"/>
                  </a:cubicBezTo>
                  <a:cubicBezTo>
                    <a:pt x="1607" y="1635"/>
                    <a:pt x="1609" y="1628"/>
                    <a:pt x="1618" y="1627"/>
                  </a:cubicBezTo>
                  <a:cubicBezTo>
                    <a:pt x="1635" y="1627"/>
                    <a:pt x="1635" y="1616"/>
                    <a:pt x="1635" y="1604"/>
                  </a:cubicBezTo>
                  <a:cubicBezTo>
                    <a:pt x="1636" y="1537"/>
                    <a:pt x="1638" y="1470"/>
                    <a:pt x="1639" y="1402"/>
                  </a:cubicBezTo>
                  <a:cubicBezTo>
                    <a:pt x="1639" y="1390"/>
                    <a:pt x="1638" y="1376"/>
                    <a:pt x="1656" y="1373"/>
                  </a:cubicBezTo>
                  <a:cubicBezTo>
                    <a:pt x="1663" y="1372"/>
                    <a:pt x="1663" y="1364"/>
                    <a:pt x="1663" y="1358"/>
                  </a:cubicBezTo>
                  <a:cubicBezTo>
                    <a:pt x="1663" y="1276"/>
                    <a:pt x="1663" y="1194"/>
                    <a:pt x="1663" y="1112"/>
                  </a:cubicBezTo>
                  <a:cubicBezTo>
                    <a:pt x="1663" y="1106"/>
                    <a:pt x="1662" y="1098"/>
                    <a:pt x="1654" y="1096"/>
                  </a:cubicBezTo>
                  <a:cubicBezTo>
                    <a:pt x="1638" y="1093"/>
                    <a:pt x="1639" y="1082"/>
                    <a:pt x="1639" y="1070"/>
                  </a:cubicBezTo>
                  <a:cubicBezTo>
                    <a:pt x="1638" y="1002"/>
                    <a:pt x="1636" y="933"/>
                    <a:pt x="1635" y="865"/>
                  </a:cubicBezTo>
                  <a:cubicBezTo>
                    <a:pt x="1635" y="851"/>
                    <a:pt x="1631" y="844"/>
                    <a:pt x="1617" y="842"/>
                  </a:cubicBezTo>
                  <a:cubicBezTo>
                    <a:pt x="1598" y="838"/>
                    <a:pt x="1580" y="839"/>
                    <a:pt x="1561" y="838"/>
                  </a:cubicBezTo>
                  <a:cubicBezTo>
                    <a:pt x="1544" y="837"/>
                    <a:pt x="1525" y="844"/>
                    <a:pt x="1518" y="820"/>
                  </a:cubicBezTo>
                  <a:cubicBezTo>
                    <a:pt x="1516" y="816"/>
                    <a:pt x="1510" y="815"/>
                    <a:pt x="1505" y="815"/>
                  </a:cubicBezTo>
                  <a:cubicBezTo>
                    <a:pt x="1494" y="814"/>
                    <a:pt x="1482" y="811"/>
                    <a:pt x="1470" y="811"/>
                  </a:cubicBezTo>
                  <a:cubicBezTo>
                    <a:pt x="1385" y="811"/>
                    <a:pt x="1300" y="811"/>
                    <a:pt x="1216" y="811"/>
                  </a:cubicBezTo>
                  <a:close/>
                  <a:moveTo>
                    <a:pt x="2287" y="386"/>
                  </a:moveTo>
                  <a:cubicBezTo>
                    <a:pt x="2286" y="347"/>
                    <a:pt x="2291" y="307"/>
                    <a:pt x="2284" y="268"/>
                  </a:cubicBezTo>
                  <a:cubicBezTo>
                    <a:pt x="2283" y="262"/>
                    <a:pt x="2283" y="254"/>
                    <a:pt x="2275" y="252"/>
                  </a:cubicBezTo>
                  <a:cubicBezTo>
                    <a:pt x="2261" y="250"/>
                    <a:pt x="2257" y="241"/>
                    <a:pt x="2259" y="229"/>
                  </a:cubicBezTo>
                  <a:cubicBezTo>
                    <a:pt x="2264" y="199"/>
                    <a:pt x="2227" y="192"/>
                    <a:pt x="2225" y="167"/>
                  </a:cubicBezTo>
                  <a:cubicBezTo>
                    <a:pt x="2225" y="165"/>
                    <a:pt x="2219" y="165"/>
                    <a:pt x="2216" y="163"/>
                  </a:cubicBezTo>
                  <a:cubicBezTo>
                    <a:pt x="2200" y="153"/>
                    <a:pt x="2195" y="131"/>
                    <a:pt x="2173" y="128"/>
                  </a:cubicBezTo>
                  <a:cubicBezTo>
                    <a:pt x="2173" y="104"/>
                    <a:pt x="2155" y="108"/>
                    <a:pt x="2140" y="107"/>
                  </a:cubicBezTo>
                  <a:cubicBezTo>
                    <a:pt x="2132" y="106"/>
                    <a:pt x="2121" y="109"/>
                    <a:pt x="2120" y="96"/>
                  </a:cubicBezTo>
                  <a:cubicBezTo>
                    <a:pt x="2118" y="80"/>
                    <a:pt x="2107" y="80"/>
                    <a:pt x="2094" y="79"/>
                  </a:cubicBezTo>
                  <a:cubicBezTo>
                    <a:pt x="2079" y="78"/>
                    <a:pt x="2060" y="84"/>
                    <a:pt x="2056" y="60"/>
                  </a:cubicBezTo>
                  <a:cubicBezTo>
                    <a:pt x="2055" y="55"/>
                    <a:pt x="2047" y="55"/>
                    <a:pt x="2042" y="55"/>
                  </a:cubicBezTo>
                  <a:cubicBezTo>
                    <a:pt x="1996" y="48"/>
                    <a:pt x="1949" y="52"/>
                    <a:pt x="1903" y="52"/>
                  </a:cubicBezTo>
                  <a:cubicBezTo>
                    <a:pt x="1895" y="52"/>
                    <a:pt x="1887" y="54"/>
                    <a:pt x="1885" y="62"/>
                  </a:cubicBezTo>
                  <a:cubicBezTo>
                    <a:pt x="1882" y="77"/>
                    <a:pt x="1872" y="78"/>
                    <a:pt x="1860" y="79"/>
                  </a:cubicBezTo>
                  <a:cubicBezTo>
                    <a:pt x="1850" y="79"/>
                    <a:pt x="1840" y="80"/>
                    <a:pt x="1830" y="81"/>
                  </a:cubicBezTo>
                  <a:cubicBezTo>
                    <a:pt x="1819" y="82"/>
                    <a:pt x="1813" y="91"/>
                    <a:pt x="1805" y="97"/>
                  </a:cubicBezTo>
                  <a:cubicBezTo>
                    <a:pt x="1790" y="109"/>
                    <a:pt x="1778" y="125"/>
                    <a:pt x="1762" y="133"/>
                  </a:cubicBezTo>
                  <a:cubicBezTo>
                    <a:pt x="1745" y="143"/>
                    <a:pt x="1742" y="168"/>
                    <a:pt x="1720" y="172"/>
                  </a:cubicBezTo>
                  <a:cubicBezTo>
                    <a:pt x="1719" y="172"/>
                    <a:pt x="1719" y="178"/>
                    <a:pt x="1718" y="181"/>
                  </a:cubicBezTo>
                  <a:cubicBezTo>
                    <a:pt x="1717" y="184"/>
                    <a:pt x="1715" y="188"/>
                    <a:pt x="1713" y="189"/>
                  </a:cubicBezTo>
                  <a:cubicBezTo>
                    <a:pt x="1696" y="190"/>
                    <a:pt x="1690" y="200"/>
                    <a:pt x="1690" y="215"/>
                  </a:cubicBezTo>
                  <a:cubicBezTo>
                    <a:pt x="1690" y="220"/>
                    <a:pt x="1685" y="222"/>
                    <a:pt x="1681" y="223"/>
                  </a:cubicBezTo>
                  <a:cubicBezTo>
                    <a:pt x="1670" y="224"/>
                    <a:pt x="1668" y="231"/>
                    <a:pt x="1666" y="241"/>
                  </a:cubicBezTo>
                  <a:cubicBezTo>
                    <a:pt x="1664" y="253"/>
                    <a:pt x="1663" y="266"/>
                    <a:pt x="1663" y="278"/>
                  </a:cubicBezTo>
                  <a:cubicBezTo>
                    <a:pt x="1662" y="291"/>
                    <a:pt x="1663" y="303"/>
                    <a:pt x="1646" y="304"/>
                  </a:cubicBezTo>
                  <a:cubicBezTo>
                    <a:pt x="1639" y="305"/>
                    <a:pt x="1636" y="311"/>
                    <a:pt x="1636" y="318"/>
                  </a:cubicBezTo>
                  <a:cubicBezTo>
                    <a:pt x="1636" y="374"/>
                    <a:pt x="1632" y="430"/>
                    <a:pt x="1639" y="485"/>
                  </a:cubicBezTo>
                  <a:cubicBezTo>
                    <a:pt x="1641" y="505"/>
                    <a:pt x="1667" y="510"/>
                    <a:pt x="1671" y="531"/>
                  </a:cubicBezTo>
                  <a:cubicBezTo>
                    <a:pt x="1671" y="531"/>
                    <a:pt x="1672" y="531"/>
                    <a:pt x="1673" y="531"/>
                  </a:cubicBezTo>
                  <a:cubicBezTo>
                    <a:pt x="1689" y="530"/>
                    <a:pt x="1689" y="542"/>
                    <a:pt x="1692" y="553"/>
                  </a:cubicBezTo>
                  <a:cubicBezTo>
                    <a:pt x="1694" y="564"/>
                    <a:pt x="1689" y="580"/>
                    <a:pt x="1703" y="585"/>
                  </a:cubicBezTo>
                  <a:cubicBezTo>
                    <a:pt x="1714" y="589"/>
                    <a:pt x="1719" y="594"/>
                    <a:pt x="1720" y="606"/>
                  </a:cubicBezTo>
                  <a:cubicBezTo>
                    <a:pt x="1720" y="610"/>
                    <a:pt x="1722" y="615"/>
                    <a:pt x="1727" y="615"/>
                  </a:cubicBezTo>
                  <a:cubicBezTo>
                    <a:pt x="1749" y="614"/>
                    <a:pt x="1746" y="631"/>
                    <a:pt x="1747" y="645"/>
                  </a:cubicBezTo>
                  <a:cubicBezTo>
                    <a:pt x="1748" y="658"/>
                    <a:pt x="1747" y="672"/>
                    <a:pt x="1752" y="683"/>
                  </a:cubicBezTo>
                  <a:cubicBezTo>
                    <a:pt x="1759" y="700"/>
                    <a:pt x="1773" y="716"/>
                    <a:pt x="1786" y="728"/>
                  </a:cubicBezTo>
                  <a:cubicBezTo>
                    <a:pt x="1795" y="737"/>
                    <a:pt x="1803" y="742"/>
                    <a:pt x="1803" y="755"/>
                  </a:cubicBezTo>
                  <a:cubicBezTo>
                    <a:pt x="1804" y="768"/>
                    <a:pt x="1806" y="781"/>
                    <a:pt x="1807" y="794"/>
                  </a:cubicBezTo>
                  <a:cubicBezTo>
                    <a:pt x="1808" y="800"/>
                    <a:pt x="1808" y="809"/>
                    <a:pt x="1815" y="809"/>
                  </a:cubicBezTo>
                  <a:cubicBezTo>
                    <a:pt x="1837" y="811"/>
                    <a:pt x="1834" y="827"/>
                    <a:pt x="1835" y="841"/>
                  </a:cubicBezTo>
                  <a:cubicBezTo>
                    <a:pt x="1836" y="854"/>
                    <a:pt x="1833" y="868"/>
                    <a:pt x="1854" y="867"/>
                  </a:cubicBezTo>
                  <a:cubicBezTo>
                    <a:pt x="1860" y="866"/>
                    <a:pt x="1862" y="872"/>
                    <a:pt x="1862" y="878"/>
                  </a:cubicBezTo>
                  <a:cubicBezTo>
                    <a:pt x="1862" y="887"/>
                    <a:pt x="1863" y="897"/>
                    <a:pt x="1863" y="906"/>
                  </a:cubicBezTo>
                  <a:cubicBezTo>
                    <a:pt x="1864" y="913"/>
                    <a:pt x="1863" y="921"/>
                    <a:pt x="1872" y="922"/>
                  </a:cubicBezTo>
                  <a:cubicBezTo>
                    <a:pt x="1891" y="923"/>
                    <a:pt x="1890" y="935"/>
                    <a:pt x="1891" y="948"/>
                  </a:cubicBezTo>
                  <a:cubicBezTo>
                    <a:pt x="1891" y="958"/>
                    <a:pt x="1887" y="974"/>
                    <a:pt x="1897" y="975"/>
                  </a:cubicBezTo>
                  <a:cubicBezTo>
                    <a:pt x="1925" y="980"/>
                    <a:pt x="1918" y="1000"/>
                    <a:pt x="1919" y="1016"/>
                  </a:cubicBezTo>
                  <a:cubicBezTo>
                    <a:pt x="1920" y="1027"/>
                    <a:pt x="1922" y="1035"/>
                    <a:pt x="1934" y="1035"/>
                  </a:cubicBezTo>
                  <a:cubicBezTo>
                    <a:pt x="1943" y="1036"/>
                    <a:pt x="1947" y="1042"/>
                    <a:pt x="1946" y="1050"/>
                  </a:cubicBezTo>
                  <a:cubicBezTo>
                    <a:pt x="1946" y="1064"/>
                    <a:pt x="1953" y="1067"/>
                    <a:pt x="1965" y="1068"/>
                  </a:cubicBezTo>
                  <a:cubicBezTo>
                    <a:pt x="2001" y="1069"/>
                    <a:pt x="2002" y="1068"/>
                    <a:pt x="2003" y="1033"/>
                  </a:cubicBezTo>
                  <a:cubicBezTo>
                    <a:pt x="2004" y="1029"/>
                    <a:pt x="2004" y="1025"/>
                    <a:pt x="2004" y="1021"/>
                  </a:cubicBezTo>
                  <a:cubicBezTo>
                    <a:pt x="2004" y="1015"/>
                    <a:pt x="2005" y="1009"/>
                    <a:pt x="2012" y="1009"/>
                  </a:cubicBezTo>
                  <a:cubicBezTo>
                    <a:pt x="2033" y="1008"/>
                    <a:pt x="2031" y="993"/>
                    <a:pt x="2032" y="979"/>
                  </a:cubicBezTo>
                  <a:cubicBezTo>
                    <a:pt x="2033" y="970"/>
                    <a:pt x="2028" y="956"/>
                    <a:pt x="2039" y="954"/>
                  </a:cubicBezTo>
                  <a:cubicBezTo>
                    <a:pt x="2064" y="950"/>
                    <a:pt x="2058" y="932"/>
                    <a:pt x="2060" y="916"/>
                  </a:cubicBezTo>
                  <a:cubicBezTo>
                    <a:pt x="2061" y="908"/>
                    <a:pt x="2059" y="897"/>
                    <a:pt x="2071" y="896"/>
                  </a:cubicBezTo>
                  <a:cubicBezTo>
                    <a:pt x="2084" y="895"/>
                    <a:pt x="2086" y="887"/>
                    <a:pt x="2088" y="876"/>
                  </a:cubicBezTo>
                  <a:cubicBezTo>
                    <a:pt x="2090" y="864"/>
                    <a:pt x="2086" y="846"/>
                    <a:pt x="2096" y="843"/>
                  </a:cubicBezTo>
                  <a:cubicBezTo>
                    <a:pt x="2119" y="836"/>
                    <a:pt x="2114" y="820"/>
                    <a:pt x="2116" y="805"/>
                  </a:cubicBezTo>
                  <a:cubicBezTo>
                    <a:pt x="2117" y="797"/>
                    <a:pt x="2115" y="786"/>
                    <a:pt x="2125" y="785"/>
                  </a:cubicBezTo>
                  <a:cubicBezTo>
                    <a:pt x="2144" y="783"/>
                    <a:pt x="2142" y="769"/>
                    <a:pt x="2145" y="757"/>
                  </a:cubicBezTo>
                  <a:cubicBezTo>
                    <a:pt x="2147" y="747"/>
                    <a:pt x="2142" y="732"/>
                    <a:pt x="2155" y="729"/>
                  </a:cubicBezTo>
                  <a:cubicBezTo>
                    <a:pt x="2170" y="725"/>
                    <a:pt x="2170" y="715"/>
                    <a:pt x="2172" y="704"/>
                  </a:cubicBezTo>
                  <a:cubicBezTo>
                    <a:pt x="2175" y="694"/>
                    <a:pt x="2170" y="677"/>
                    <a:pt x="2180" y="674"/>
                  </a:cubicBezTo>
                  <a:cubicBezTo>
                    <a:pt x="2205" y="669"/>
                    <a:pt x="2198" y="649"/>
                    <a:pt x="2202" y="634"/>
                  </a:cubicBezTo>
                  <a:cubicBezTo>
                    <a:pt x="2204" y="627"/>
                    <a:pt x="2202" y="617"/>
                    <a:pt x="2212" y="616"/>
                  </a:cubicBezTo>
                  <a:cubicBezTo>
                    <a:pt x="2226" y="614"/>
                    <a:pt x="2226" y="604"/>
                    <a:pt x="2228" y="593"/>
                  </a:cubicBezTo>
                  <a:cubicBezTo>
                    <a:pt x="2232" y="579"/>
                    <a:pt x="2226" y="557"/>
                    <a:pt x="2252" y="557"/>
                  </a:cubicBezTo>
                  <a:cubicBezTo>
                    <a:pt x="2257" y="557"/>
                    <a:pt x="2258" y="551"/>
                    <a:pt x="2258" y="546"/>
                  </a:cubicBezTo>
                  <a:cubicBezTo>
                    <a:pt x="2259" y="538"/>
                    <a:pt x="2260" y="530"/>
                    <a:pt x="2259" y="522"/>
                  </a:cubicBezTo>
                  <a:cubicBezTo>
                    <a:pt x="2259" y="512"/>
                    <a:pt x="2262" y="504"/>
                    <a:pt x="2274" y="503"/>
                  </a:cubicBezTo>
                  <a:cubicBezTo>
                    <a:pt x="2286" y="502"/>
                    <a:pt x="2287" y="493"/>
                    <a:pt x="2287" y="484"/>
                  </a:cubicBezTo>
                  <a:cubicBezTo>
                    <a:pt x="2287" y="451"/>
                    <a:pt x="2287" y="419"/>
                    <a:pt x="2287" y="386"/>
                  </a:cubicBezTo>
                  <a:close/>
                  <a:moveTo>
                    <a:pt x="1226" y="163"/>
                  </a:moveTo>
                  <a:cubicBezTo>
                    <a:pt x="1207" y="163"/>
                    <a:pt x="1188" y="164"/>
                    <a:pt x="1170" y="166"/>
                  </a:cubicBezTo>
                  <a:cubicBezTo>
                    <a:pt x="1163" y="167"/>
                    <a:pt x="1156" y="169"/>
                    <a:pt x="1155" y="177"/>
                  </a:cubicBezTo>
                  <a:cubicBezTo>
                    <a:pt x="1154" y="189"/>
                    <a:pt x="1146" y="189"/>
                    <a:pt x="1137" y="191"/>
                  </a:cubicBezTo>
                  <a:cubicBezTo>
                    <a:pt x="1122" y="195"/>
                    <a:pt x="1100" y="188"/>
                    <a:pt x="1097" y="214"/>
                  </a:cubicBezTo>
                  <a:cubicBezTo>
                    <a:pt x="1096" y="218"/>
                    <a:pt x="1091" y="219"/>
                    <a:pt x="1087" y="220"/>
                  </a:cubicBezTo>
                  <a:cubicBezTo>
                    <a:pt x="1077" y="221"/>
                    <a:pt x="1075" y="228"/>
                    <a:pt x="1070" y="236"/>
                  </a:cubicBezTo>
                  <a:cubicBezTo>
                    <a:pt x="1061" y="253"/>
                    <a:pt x="1044" y="265"/>
                    <a:pt x="1030" y="277"/>
                  </a:cubicBezTo>
                  <a:cubicBezTo>
                    <a:pt x="1022" y="284"/>
                    <a:pt x="1015" y="288"/>
                    <a:pt x="1015" y="299"/>
                  </a:cubicBezTo>
                  <a:cubicBezTo>
                    <a:pt x="1015" y="306"/>
                    <a:pt x="1017" y="317"/>
                    <a:pt x="1013" y="320"/>
                  </a:cubicBezTo>
                  <a:cubicBezTo>
                    <a:pt x="998" y="331"/>
                    <a:pt x="984" y="343"/>
                    <a:pt x="979" y="362"/>
                  </a:cubicBezTo>
                  <a:cubicBezTo>
                    <a:pt x="954" y="362"/>
                    <a:pt x="961" y="382"/>
                    <a:pt x="958" y="397"/>
                  </a:cubicBezTo>
                  <a:cubicBezTo>
                    <a:pt x="957" y="404"/>
                    <a:pt x="961" y="416"/>
                    <a:pt x="951" y="417"/>
                  </a:cubicBezTo>
                  <a:cubicBezTo>
                    <a:pt x="928" y="419"/>
                    <a:pt x="932" y="435"/>
                    <a:pt x="930" y="449"/>
                  </a:cubicBezTo>
                  <a:cubicBezTo>
                    <a:pt x="929" y="462"/>
                    <a:pt x="928" y="476"/>
                    <a:pt x="927" y="489"/>
                  </a:cubicBezTo>
                  <a:cubicBezTo>
                    <a:pt x="926" y="495"/>
                    <a:pt x="924" y="501"/>
                    <a:pt x="917" y="502"/>
                  </a:cubicBezTo>
                  <a:cubicBezTo>
                    <a:pt x="905" y="503"/>
                    <a:pt x="904" y="511"/>
                    <a:pt x="902" y="521"/>
                  </a:cubicBezTo>
                  <a:cubicBezTo>
                    <a:pt x="900" y="533"/>
                    <a:pt x="905" y="552"/>
                    <a:pt x="892" y="556"/>
                  </a:cubicBezTo>
                  <a:cubicBezTo>
                    <a:pt x="873" y="562"/>
                    <a:pt x="875" y="575"/>
                    <a:pt x="875" y="588"/>
                  </a:cubicBezTo>
                  <a:cubicBezTo>
                    <a:pt x="873" y="609"/>
                    <a:pt x="872" y="630"/>
                    <a:pt x="871" y="650"/>
                  </a:cubicBezTo>
                  <a:cubicBezTo>
                    <a:pt x="871" y="661"/>
                    <a:pt x="870" y="670"/>
                    <a:pt x="856" y="672"/>
                  </a:cubicBezTo>
                  <a:cubicBezTo>
                    <a:pt x="848" y="673"/>
                    <a:pt x="847" y="680"/>
                    <a:pt x="848" y="687"/>
                  </a:cubicBezTo>
                  <a:cubicBezTo>
                    <a:pt x="848" y="695"/>
                    <a:pt x="853" y="698"/>
                    <a:pt x="860" y="698"/>
                  </a:cubicBezTo>
                  <a:cubicBezTo>
                    <a:pt x="870" y="699"/>
                    <a:pt x="881" y="699"/>
                    <a:pt x="892" y="698"/>
                  </a:cubicBezTo>
                  <a:cubicBezTo>
                    <a:pt x="897" y="698"/>
                    <a:pt x="902" y="696"/>
                    <a:pt x="902" y="691"/>
                  </a:cubicBezTo>
                  <a:cubicBezTo>
                    <a:pt x="902" y="669"/>
                    <a:pt x="918" y="672"/>
                    <a:pt x="932" y="672"/>
                  </a:cubicBezTo>
                  <a:cubicBezTo>
                    <a:pt x="1121" y="672"/>
                    <a:pt x="1309" y="672"/>
                    <a:pt x="1498" y="672"/>
                  </a:cubicBezTo>
                  <a:cubicBezTo>
                    <a:pt x="1511" y="672"/>
                    <a:pt x="1524" y="672"/>
                    <a:pt x="1524" y="690"/>
                  </a:cubicBezTo>
                  <a:cubicBezTo>
                    <a:pt x="1525" y="696"/>
                    <a:pt x="1531" y="698"/>
                    <a:pt x="1536" y="698"/>
                  </a:cubicBezTo>
                  <a:cubicBezTo>
                    <a:pt x="1546" y="699"/>
                    <a:pt x="1555" y="699"/>
                    <a:pt x="1564" y="699"/>
                  </a:cubicBezTo>
                  <a:cubicBezTo>
                    <a:pt x="1574" y="699"/>
                    <a:pt x="1579" y="694"/>
                    <a:pt x="1579" y="684"/>
                  </a:cubicBezTo>
                  <a:cubicBezTo>
                    <a:pt x="1579" y="667"/>
                    <a:pt x="1579" y="650"/>
                    <a:pt x="1579" y="632"/>
                  </a:cubicBezTo>
                  <a:cubicBezTo>
                    <a:pt x="1579" y="622"/>
                    <a:pt x="1576" y="616"/>
                    <a:pt x="1564" y="615"/>
                  </a:cubicBezTo>
                  <a:cubicBezTo>
                    <a:pt x="1554" y="614"/>
                    <a:pt x="1552" y="607"/>
                    <a:pt x="1552" y="598"/>
                  </a:cubicBezTo>
                  <a:cubicBezTo>
                    <a:pt x="1552" y="581"/>
                    <a:pt x="1551" y="565"/>
                    <a:pt x="1551" y="548"/>
                  </a:cubicBezTo>
                  <a:cubicBezTo>
                    <a:pt x="1551" y="538"/>
                    <a:pt x="1548" y="531"/>
                    <a:pt x="1537" y="530"/>
                  </a:cubicBezTo>
                  <a:cubicBezTo>
                    <a:pt x="1526" y="530"/>
                    <a:pt x="1524" y="523"/>
                    <a:pt x="1524" y="514"/>
                  </a:cubicBezTo>
                  <a:cubicBezTo>
                    <a:pt x="1524" y="497"/>
                    <a:pt x="1523" y="481"/>
                    <a:pt x="1522" y="464"/>
                  </a:cubicBezTo>
                  <a:cubicBezTo>
                    <a:pt x="1522" y="458"/>
                    <a:pt x="1522" y="450"/>
                    <a:pt x="1515" y="449"/>
                  </a:cubicBezTo>
                  <a:cubicBezTo>
                    <a:pt x="1493" y="448"/>
                    <a:pt x="1496" y="432"/>
                    <a:pt x="1495" y="418"/>
                  </a:cubicBezTo>
                  <a:cubicBezTo>
                    <a:pt x="1495" y="412"/>
                    <a:pt x="1496" y="402"/>
                    <a:pt x="1493" y="400"/>
                  </a:cubicBezTo>
                  <a:cubicBezTo>
                    <a:pt x="1477" y="391"/>
                    <a:pt x="1466" y="379"/>
                    <a:pt x="1461" y="361"/>
                  </a:cubicBezTo>
                  <a:cubicBezTo>
                    <a:pt x="1436" y="360"/>
                    <a:pt x="1440" y="342"/>
                    <a:pt x="1439" y="326"/>
                  </a:cubicBezTo>
                  <a:cubicBezTo>
                    <a:pt x="1439" y="315"/>
                    <a:pt x="1432" y="312"/>
                    <a:pt x="1425" y="305"/>
                  </a:cubicBezTo>
                  <a:cubicBezTo>
                    <a:pt x="1410" y="290"/>
                    <a:pt x="1390" y="278"/>
                    <a:pt x="1384" y="257"/>
                  </a:cubicBezTo>
                  <a:cubicBezTo>
                    <a:pt x="1376" y="225"/>
                    <a:pt x="1378" y="225"/>
                    <a:pt x="1345" y="219"/>
                  </a:cubicBezTo>
                  <a:cubicBezTo>
                    <a:pt x="1338" y="218"/>
                    <a:pt x="1329" y="219"/>
                    <a:pt x="1328" y="211"/>
                  </a:cubicBezTo>
                  <a:cubicBezTo>
                    <a:pt x="1327" y="195"/>
                    <a:pt x="1318" y="191"/>
                    <a:pt x="1305" y="190"/>
                  </a:cubicBezTo>
                  <a:cubicBezTo>
                    <a:pt x="1300" y="190"/>
                    <a:pt x="1297" y="187"/>
                    <a:pt x="1296" y="183"/>
                  </a:cubicBezTo>
                  <a:cubicBezTo>
                    <a:pt x="1295" y="169"/>
                    <a:pt x="1284" y="168"/>
                    <a:pt x="1273" y="166"/>
                  </a:cubicBezTo>
                  <a:cubicBezTo>
                    <a:pt x="1257" y="163"/>
                    <a:pt x="1242" y="164"/>
                    <a:pt x="1226" y="163"/>
                  </a:cubicBezTo>
                  <a:close/>
                  <a:moveTo>
                    <a:pt x="1015" y="1543"/>
                  </a:moveTo>
                  <a:cubicBezTo>
                    <a:pt x="1015" y="1543"/>
                    <a:pt x="1015" y="1543"/>
                    <a:pt x="1015" y="1543"/>
                  </a:cubicBezTo>
                  <a:cubicBezTo>
                    <a:pt x="1015" y="1574"/>
                    <a:pt x="1015" y="1605"/>
                    <a:pt x="1015" y="1637"/>
                  </a:cubicBezTo>
                  <a:cubicBezTo>
                    <a:pt x="1015" y="1643"/>
                    <a:pt x="1014" y="1653"/>
                    <a:pt x="1022" y="1654"/>
                  </a:cubicBezTo>
                  <a:cubicBezTo>
                    <a:pt x="1046" y="1655"/>
                    <a:pt x="1041" y="1672"/>
                    <a:pt x="1043" y="1686"/>
                  </a:cubicBezTo>
                  <a:cubicBezTo>
                    <a:pt x="1044" y="1695"/>
                    <a:pt x="1040" y="1708"/>
                    <a:pt x="1050" y="1709"/>
                  </a:cubicBezTo>
                  <a:cubicBezTo>
                    <a:pt x="1075" y="1711"/>
                    <a:pt x="1070" y="1729"/>
                    <a:pt x="1071" y="1744"/>
                  </a:cubicBezTo>
                  <a:cubicBezTo>
                    <a:pt x="1072" y="1752"/>
                    <a:pt x="1069" y="1764"/>
                    <a:pt x="1078" y="1765"/>
                  </a:cubicBezTo>
                  <a:cubicBezTo>
                    <a:pt x="1103" y="1767"/>
                    <a:pt x="1098" y="1785"/>
                    <a:pt x="1099" y="1800"/>
                  </a:cubicBezTo>
                  <a:cubicBezTo>
                    <a:pt x="1100" y="1808"/>
                    <a:pt x="1097" y="1820"/>
                    <a:pt x="1106" y="1821"/>
                  </a:cubicBezTo>
                  <a:cubicBezTo>
                    <a:pt x="1131" y="1823"/>
                    <a:pt x="1126" y="1841"/>
                    <a:pt x="1127" y="1856"/>
                  </a:cubicBezTo>
                  <a:cubicBezTo>
                    <a:pt x="1128" y="1863"/>
                    <a:pt x="1125" y="1876"/>
                    <a:pt x="1134" y="1877"/>
                  </a:cubicBezTo>
                  <a:cubicBezTo>
                    <a:pt x="1160" y="1879"/>
                    <a:pt x="1154" y="1897"/>
                    <a:pt x="1155" y="1912"/>
                  </a:cubicBezTo>
                  <a:cubicBezTo>
                    <a:pt x="1156" y="1921"/>
                    <a:pt x="1153" y="1933"/>
                    <a:pt x="1166" y="1934"/>
                  </a:cubicBezTo>
                  <a:cubicBezTo>
                    <a:pt x="1180" y="1936"/>
                    <a:pt x="1182" y="1944"/>
                    <a:pt x="1184" y="1956"/>
                  </a:cubicBezTo>
                  <a:cubicBezTo>
                    <a:pt x="1185" y="1968"/>
                    <a:pt x="1181" y="1985"/>
                    <a:pt x="1195" y="1989"/>
                  </a:cubicBezTo>
                  <a:cubicBezTo>
                    <a:pt x="1210" y="1994"/>
                    <a:pt x="1210" y="2004"/>
                    <a:pt x="1212" y="2015"/>
                  </a:cubicBezTo>
                  <a:cubicBezTo>
                    <a:pt x="1214" y="2026"/>
                    <a:pt x="1209" y="2042"/>
                    <a:pt x="1224" y="2046"/>
                  </a:cubicBezTo>
                  <a:cubicBezTo>
                    <a:pt x="1238" y="2050"/>
                    <a:pt x="1238" y="2058"/>
                    <a:pt x="1240" y="2069"/>
                  </a:cubicBezTo>
                  <a:cubicBezTo>
                    <a:pt x="1242" y="2080"/>
                    <a:pt x="1238" y="2095"/>
                    <a:pt x="1251" y="2102"/>
                  </a:cubicBezTo>
                  <a:cubicBezTo>
                    <a:pt x="1279" y="2117"/>
                    <a:pt x="1297" y="2106"/>
                    <a:pt x="1299" y="2075"/>
                  </a:cubicBezTo>
                  <a:cubicBezTo>
                    <a:pt x="1300" y="2067"/>
                    <a:pt x="1296" y="2054"/>
                    <a:pt x="1307" y="2053"/>
                  </a:cubicBezTo>
                  <a:cubicBezTo>
                    <a:pt x="1328" y="2050"/>
                    <a:pt x="1326" y="2036"/>
                    <a:pt x="1327" y="2022"/>
                  </a:cubicBezTo>
                  <a:cubicBezTo>
                    <a:pt x="1328" y="2014"/>
                    <a:pt x="1323" y="1999"/>
                    <a:pt x="1334" y="1997"/>
                  </a:cubicBezTo>
                  <a:cubicBezTo>
                    <a:pt x="1358" y="1994"/>
                    <a:pt x="1354" y="1977"/>
                    <a:pt x="1355" y="1962"/>
                  </a:cubicBezTo>
                  <a:cubicBezTo>
                    <a:pt x="1356" y="1953"/>
                    <a:pt x="1353" y="1942"/>
                    <a:pt x="1365" y="1940"/>
                  </a:cubicBezTo>
                  <a:cubicBezTo>
                    <a:pt x="1383" y="1938"/>
                    <a:pt x="1382" y="1926"/>
                    <a:pt x="1383" y="1913"/>
                  </a:cubicBezTo>
                  <a:cubicBezTo>
                    <a:pt x="1384" y="1903"/>
                    <a:pt x="1379" y="1888"/>
                    <a:pt x="1389" y="1886"/>
                  </a:cubicBezTo>
                  <a:cubicBezTo>
                    <a:pt x="1415" y="1881"/>
                    <a:pt x="1411" y="1863"/>
                    <a:pt x="1411" y="1846"/>
                  </a:cubicBezTo>
                  <a:cubicBezTo>
                    <a:pt x="1412" y="1835"/>
                    <a:pt x="1414" y="1827"/>
                    <a:pt x="1428" y="1826"/>
                  </a:cubicBezTo>
                  <a:cubicBezTo>
                    <a:pt x="1436" y="1826"/>
                    <a:pt x="1439" y="1820"/>
                    <a:pt x="1439" y="1812"/>
                  </a:cubicBezTo>
                  <a:cubicBezTo>
                    <a:pt x="1439" y="1802"/>
                    <a:pt x="1440" y="1792"/>
                    <a:pt x="1440" y="1782"/>
                  </a:cubicBezTo>
                  <a:cubicBezTo>
                    <a:pt x="1440" y="1775"/>
                    <a:pt x="1442" y="1768"/>
                    <a:pt x="1450" y="1768"/>
                  </a:cubicBezTo>
                  <a:cubicBezTo>
                    <a:pt x="1465" y="1768"/>
                    <a:pt x="1467" y="1759"/>
                    <a:pt x="1467" y="1747"/>
                  </a:cubicBezTo>
                  <a:cubicBezTo>
                    <a:pt x="1467" y="1739"/>
                    <a:pt x="1465" y="1728"/>
                    <a:pt x="1469" y="1725"/>
                  </a:cubicBezTo>
                  <a:cubicBezTo>
                    <a:pt x="1484" y="1715"/>
                    <a:pt x="1492" y="1693"/>
                    <a:pt x="1504" y="1686"/>
                  </a:cubicBezTo>
                  <a:cubicBezTo>
                    <a:pt x="1521" y="1677"/>
                    <a:pt x="1522" y="1667"/>
                    <a:pt x="1523" y="1653"/>
                  </a:cubicBezTo>
                  <a:cubicBezTo>
                    <a:pt x="1524" y="1642"/>
                    <a:pt x="1524" y="1630"/>
                    <a:pt x="1524" y="1619"/>
                  </a:cubicBezTo>
                  <a:cubicBezTo>
                    <a:pt x="1524" y="1608"/>
                    <a:pt x="1526" y="1599"/>
                    <a:pt x="1540" y="1599"/>
                  </a:cubicBezTo>
                  <a:cubicBezTo>
                    <a:pt x="1549" y="1598"/>
                    <a:pt x="1551" y="1591"/>
                    <a:pt x="1551" y="1583"/>
                  </a:cubicBezTo>
                  <a:cubicBezTo>
                    <a:pt x="1551" y="1556"/>
                    <a:pt x="1551" y="1530"/>
                    <a:pt x="1551" y="1503"/>
                  </a:cubicBezTo>
                  <a:cubicBezTo>
                    <a:pt x="1551" y="1497"/>
                    <a:pt x="1550" y="1489"/>
                    <a:pt x="1543" y="1488"/>
                  </a:cubicBezTo>
                  <a:cubicBezTo>
                    <a:pt x="1522" y="1487"/>
                    <a:pt x="1524" y="1473"/>
                    <a:pt x="1524" y="1459"/>
                  </a:cubicBezTo>
                  <a:cubicBezTo>
                    <a:pt x="1524" y="1446"/>
                    <a:pt x="1523" y="1433"/>
                    <a:pt x="1523" y="1421"/>
                  </a:cubicBezTo>
                  <a:cubicBezTo>
                    <a:pt x="1522" y="1411"/>
                    <a:pt x="1520" y="1404"/>
                    <a:pt x="1508" y="1403"/>
                  </a:cubicBezTo>
                  <a:cubicBezTo>
                    <a:pt x="1499" y="1403"/>
                    <a:pt x="1498" y="1397"/>
                    <a:pt x="1495" y="1389"/>
                  </a:cubicBezTo>
                  <a:cubicBezTo>
                    <a:pt x="1487" y="1372"/>
                    <a:pt x="1464" y="1367"/>
                    <a:pt x="1458" y="1347"/>
                  </a:cubicBezTo>
                  <a:cubicBezTo>
                    <a:pt x="1458" y="1346"/>
                    <a:pt x="1456" y="1347"/>
                    <a:pt x="1454" y="1346"/>
                  </a:cubicBezTo>
                  <a:cubicBezTo>
                    <a:pt x="1436" y="1339"/>
                    <a:pt x="1432" y="1314"/>
                    <a:pt x="1411" y="1310"/>
                  </a:cubicBezTo>
                  <a:cubicBezTo>
                    <a:pt x="1412" y="1291"/>
                    <a:pt x="1399" y="1291"/>
                    <a:pt x="1385" y="1291"/>
                  </a:cubicBezTo>
                  <a:cubicBezTo>
                    <a:pt x="1373" y="1290"/>
                    <a:pt x="1360" y="1288"/>
                    <a:pt x="1348" y="1288"/>
                  </a:cubicBezTo>
                  <a:cubicBezTo>
                    <a:pt x="1337" y="1287"/>
                    <a:pt x="1328" y="1286"/>
                    <a:pt x="1326" y="1272"/>
                  </a:cubicBezTo>
                  <a:cubicBezTo>
                    <a:pt x="1325" y="1265"/>
                    <a:pt x="1319" y="1263"/>
                    <a:pt x="1312" y="1263"/>
                  </a:cubicBezTo>
                  <a:cubicBezTo>
                    <a:pt x="1284" y="1263"/>
                    <a:pt x="1255" y="1263"/>
                    <a:pt x="1226" y="1263"/>
                  </a:cubicBezTo>
                  <a:cubicBezTo>
                    <a:pt x="1222" y="1263"/>
                    <a:pt x="1215" y="1263"/>
                    <a:pt x="1214" y="1268"/>
                  </a:cubicBezTo>
                  <a:cubicBezTo>
                    <a:pt x="1210" y="1293"/>
                    <a:pt x="1189" y="1286"/>
                    <a:pt x="1173" y="1290"/>
                  </a:cubicBezTo>
                  <a:cubicBezTo>
                    <a:pt x="1165" y="1292"/>
                    <a:pt x="1156" y="1290"/>
                    <a:pt x="1155" y="1301"/>
                  </a:cubicBezTo>
                  <a:cubicBezTo>
                    <a:pt x="1154" y="1314"/>
                    <a:pt x="1144" y="1314"/>
                    <a:pt x="1135" y="1316"/>
                  </a:cubicBezTo>
                  <a:cubicBezTo>
                    <a:pt x="1120" y="1320"/>
                    <a:pt x="1097" y="1312"/>
                    <a:pt x="1098" y="1340"/>
                  </a:cubicBezTo>
                  <a:cubicBezTo>
                    <a:pt x="1080" y="1344"/>
                    <a:pt x="1069" y="1356"/>
                    <a:pt x="1064" y="1374"/>
                  </a:cubicBezTo>
                  <a:cubicBezTo>
                    <a:pt x="1038" y="1373"/>
                    <a:pt x="1043" y="1392"/>
                    <a:pt x="1043" y="1407"/>
                  </a:cubicBezTo>
                  <a:cubicBezTo>
                    <a:pt x="1042" y="1420"/>
                    <a:pt x="1042" y="1431"/>
                    <a:pt x="1024" y="1432"/>
                  </a:cubicBezTo>
                  <a:cubicBezTo>
                    <a:pt x="1015" y="1432"/>
                    <a:pt x="1015" y="1442"/>
                    <a:pt x="1015" y="1449"/>
                  </a:cubicBezTo>
                  <a:cubicBezTo>
                    <a:pt x="1015" y="1480"/>
                    <a:pt x="1015" y="1512"/>
                    <a:pt x="1015" y="1543"/>
                  </a:cubicBezTo>
                  <a:close/>
                  <a:moveTo>
                    <a:pt x="509" y="331"/>
                  </a:moveTo>
                  <a:cubicBezTo>
                    <a:pt x="476" y="332"/>
                    <a:pt x="445" y="328"/>
                    <a:pt x="414" y="335"/>
                  </a:cubicBezTo>
                  <a:cubicBezTo>
                    <a:pt x="393" y="339"/>
                    <a:pt x="385" y="364"/>
                    <a:pt x="364" y="368"/>
                  </a:cubicBezTo>
                  <a:cubicBezTo>
                    <a:pt x="364" y="368"/>
                    <a:pt x="363" y="370"/>
                    <a:pt x="363" y="372"/>
                  </a:cubicBezTo>
                  <a:cubicBezTo>
                    <a:pt x="363" y="382"/>
                    <a:pt x="356" y="386"/>
                    <a:pt x="346" y="388"/>
                  </a:cubicBezTo>
                  <a:cubicBezTo>
                    <a:pt x="312" y="394"/>
                    <a:pt x="312" y="395"/>
                    <a:pt x="307" y="429"/>
                  </a:cubicBezTo>
                  <a:cubicBezTo>
                    <a:pt x="306" y="435"/>
                    <a:pt x="307" y="444"/>
                    <a:pt x="300" y="444"/>
                  </a:cubicBezTo>
                  <a:cubicBezTo>
                    <a:pt x="274" y="446"/>
                    <a:pt x="279" y="465"/>
                    <a:pt x="279" y="480"/>
                  </a:cubicBezTo>
                  <a:cubicBezTo>
                    <a:pt x="278" y="492"/>
                    <a:pt x="279" y="502"/>
                    <a:pt x="263" y="503"/>
                  </a:cubicBezTo>
                  <a:cubicBezTo>
                    <a:pt x="253" y="503"/>
                    <a:pt x="251" y="510"/>
                    <a:pt x="251" y="518"/>
                  </a:cubicBezTo>
                  <a:cubicBezTo>
                    <a:pt x="251" y="564"/>
                    <a:pt x="252" y="610"/>
                    <a:pt x="252" y="656"/>
                  </a:cubicBezTo>
                  <a:cubicBezTo>
                    <a:pt x="252" y="661"/>
                    <a:pt x="252" y="668"/>
                    <a:pt x="257" y="668"/>
                  </a:cubicBezTo>
                  <a:cubicBezTo>
                    <a:pt x="286" y="671"/>
                    <a:pt x="278" y="693"/>
                    <a:pt x="279" y="710"/>
                  </a:cubicBezTo>
                  <a:cubicBezTo>
                    <a:pt x="280" y="719"/>
                    <a:pt x="281" y="727"/>
                    <a:pt x="292" y="727"/>
                  </a:cubicBezTo>
                  <a:cubicBezTo>
                    <a:pt x="304" y="727"/>
                    <a:pt x="306" y="735"/>
                    <a:pt x="307" y="746"/>
                  </a:cubicBezTo>
                  <a:cubicBezTo>
                    <a:pt x="309" y="757"/>
                    <a:pt x="307" y="776"/>
                    <a:pt x="316" y="779"/>
                  </a:cubicBezTo>
                  <a:cubicBezTo>
                    <a:pt x="340" y="786"/>
                    <a:pt x="334" y="805"/>
                    <a:pt x="338" y="820"/>
                  </a:cubicBezTo>
                  <a:cubicBezTo>
                    <a:pt x="340" y="827"/>
                    <a:pt x="338" y="837"/>
                    <a:pt x="348" y="838"/>
                  </a:cubicBezTo>
                  <a:cubicBezTo>
                    <a:pt x="362" y="840"/>
                    <a:pt x="362" y="850"/>
                    <a:pt x="365" y="861"/>
                  </a:cubicBezTo>
                  <a:cubicBezTo>
                    <a:pt x="367" y="872"/>
                    <a:pt x="362" y="889"/>
                    <a:pt x="375" y="893"/>
                  </a:cubicBezTo>
                  <a:cubicBezTo>
                    <a:pt x="390" y="898"/>
                    <a:pt x="390" y="908"/>
                    <a:pt x="393" y="919"/>
                  </a:cubicBezTo>
                  <a:cubicBezTo>
                    <a:pt x="395" y="929"/>
                    <a:pt x="390" y="946"/>
                    <a:pt x="401" y="948"/>
                  </a:cubicBezTo>
                  <a:cubicBezTo>
                    <a:pt x="426" y="953"/>
                    <a:pt x="421" y="970"/>
                    <a:pt x="423" y="986"/>
                  </a:cubicBezTo>
                  <a:cubicBezTo>
                    <a:pt x="424" y="994"/>
                    <a:pt x="421" y="1004"/>
                    <a:pt x="432" y="1006"/>
                  </a:cubicBezTo>
                  <a:cubicBezTo>
                    <a:pt x="450" y="1008"/>
                    <a:pt x="450" y="1020"/>
                    <a:pt x="451" y="1033"/>
                  </a:cubicBezTo>
                  <a:cubicBezTo>
                    <a:pt x="451" y="1043"/>
                    <a:pt x="447" y="1058"/>
                    <a:pt x="457" y="1060"/>
                  </a:cubicBezTo>
                  <a:cubicBezTo>
                    <a:pt x="483" y="1065"/>
                    <a:pt x="477" y="1084"/>
                    <a:pt x="479" y="1100"/>
                  </a:cubicBezTo>
                  <a:cubicBezTo>
                    <a:pt x="480" y="1108"/>
                    <a:pt x="479" y="1117"/>
                    <a:pt x="490" y="1119"/>
                  </a:cubicBezTo>
                  <a:cubicBezTo>
                    <a:pt x="500" y="1120"/>
                    <a:pt x="510" y="1122"/>
                    <a:pt x="520" y="1122"/>
                  </a:cubicBezTo>
                  <a:cubicBezTo>
                    <a:pt x="529" y="1123"/>
                    <a:pt x="535" y="1119"/>
                    <a:pt x="535" y="1109"/>
                  </a:cubicBezTo>
                  <a:cubicBezTo>
                    <a:pt x="535" y="1102"/>
                    <a:pt x="535" y="1092"/>
                    <a:pt x="545" y="1092"/>
                  </a:cubicBezTo>
                  <a:cubicBezTo>
                    <a:pt x="562" y="1091"/>
                    <a:pt x="563" y="1080"/>
                    <a:pt x="563" y="1067"/>
                  </a:cubicBezTo>
                  <a:cubicBezTo>
                    <a:pt x="563" y="1056"/>
                    <a:pt x="564" y="1044"/>
                    <a:pt x="564" y="1033"/>
                  </a:cubicBezTo>
                  <a:cubicBezTo>
                    <a:pt x="563" y="1020"/>
                    <a:pt x="565" y="1010"/>
                    <a:pt x="581" y="1010"/>
                  </a:cubicBezTo>
                  <a:cubicBezTo>
                    <a:pt x="588" y="1010"/>
                    <a:pt x="591" y="1004"/>
                    <a:pt x="591" y="997"/>
                  </a:cubicBezTo>
                  <a:cubicBezTo>
                    <a:pt x="591" y="992"/>
                    <a:pt x="590" y="986"/>
                    <a:pt x="595" y="982"/>
                  </a:cubicBezTo>
                  <a:cubicBezTo>
                    <a:pt x="615" y="964"/>
                    <a:pt x="621" y="941"/>
                    <a:pt x="620" y="915"/>
                  </a:cubicBezTo>
                  <a:cubicBezTo>
                    <a:pt x="620" y="907"/>
                    <a:pt x="622" y="900"/>
                    <a:pt x="631" y="899"/>
                  </a:cubicBezTo>
                  <a:cubicBezTo>
                    <a:pt x="645" y="898"/>
                    <a:pt x="647" y="890"/>
                    <a:pt x="648" y="879"/>
                  </a:cubicBezTo>
                  <a:cubicBezTo>
                    <a:pt x="650" y="867"/>
                    <a:pt x="645" y="850"/>
                    <a:pt x="661" y="844"/>
                  </a:cubicBezTo>
                  <a:cubicBezTo>
                    <a:pt x="673" y="840"/>
                    <a:pt x="674" y="833"/>
                    <a:pt x="676" y="822"/>
                  </a:cubicBezTo>
                  <a:cubicBezTo>
                    <a:pt x="678" y="806"/>
                    <a:pt x="672" y="785"/>
                    <a:pt x="699" y="781"/>
                  </a:cubicBezTo>
                  <a:cubicBezTo>
                    <a:pt x="703" y="780"/>
                    <a:pt x="703" y="773"/>
                    <a:pt x="704" y="768"/>
                  </a:cubicBezTo>
                  <a:cubicBezTo>
                    <a:pt x="704" y="764"/>
                    <a:pt x="705" y="757"/>
                    <a:pt x="710" y="757"/>
                  </a:cubicBezTo>
                  <a:cubicBezTo>
                    <a:pt x="737" y="756"/>
                    <a:pt x="730" y="734"/>
                    <a:pt x="734" y="719"/>
                  </a:cubicBezTo>
                  <a:cubicBezTo>
                    <a:pt x="736" y="712"/>
                    <a:pt x="733" y="702"/>
                    <a:pt x="742" y="700"/>
                  </a:cubicBezTo>
                  <a:cubicBezTo>
                    <a:pt x="759" y="698"/>
                    <a:pt x="759" y="686"/>
                    <a:pt x="760" y="674"/>
                  </a:cubicBezTo>
                  <a:cubicBezTo>
                    <a:pt x="761" y="661"/>
                    <a:pt x="762" y="648"/>
                    <a:pt x="763" y="634"/>
                  </a:cubicBezTo>
                  <a:cubicBezTo>
                    <a:pt x="763" y="624"/>
                    <a:pt x="765" y="617"/>
                    <a:pt x="777" y="614"/>
                  </a:cubicBezTo>
                  <a:cubicBezTo>
                    <a:pt x="791" y="611"/>
                    <a:pt x="787" y="598"/>
                    <a:pt x="786" y="589"/>
                  </a:cubicBezTo>
                  <a:cubicBezTo>
                    <a:pt x="786" y="579"/>
                    <a:pt x="792" y="564"/>
                    <a:pt x="777" y="560"/>
                  </a:cubicBezTo>
                  <a:cubicBezTo>
                    <a:pt x="765" y="556"/>
                    <a:pt x="764" y="549"/>
                    <a:pt x="763" y="539"/>
                  </a:cubicBezTo>
                  <a:cubicBezTo>
                    <a:pt x="763" y="527"/>
                    <a:pt x="763" y="515"/>
                    <a:pt x="761" y="503"/>
                  </a:cubicBezTo>
                  <a:cubicBezTo>
                    <a:pt x="759" y="495"/>
                    <a:pt x="762" y="481"/>
                    <a:pt x="755" y="479"/>
                  </a:cubicBezTo>
                  <a:cubicBezTo>
                    <a:pt x="729" y="473"/>
                    <a:pt x="735" y="451"/>
                    <a:pt x="731" y="435"/>
                  </a:cubicBezTo>
                  <a:cubicBezTo>
                    <a:pt x="730" y="426"/>
                    <a:pt x="725" y="423"/>
                    <a:pt x="718" y="418"/>
                  </a:cubicBezTo>
                  <a:cubicBezTo>
                    <a:pt x="702" y="407"/>
                    <a:pt x="689" y="391"/>
                    <a:pt x="675" y="377"/>
                  </a:cubicBezTo>
                  <a:cubicBezTo>
                    <a:pt x="675" y="376"/>
                    <a:pt x="675" y="375"/>
                    <a:pt x="675" y="375"/>
                  </a:cubicBezTo>
                  <a:cubicBezTo>
                    <a:pt x="674" y="366"/>
                    <a:pt x="668" y="365"/>
                    <a:pt x="661" y="363"/>
                  </a:cubicBezTo>
                  <a:cubicBezTo>
                    <a:pt x="644" y="359"/>
                    <a:pt x="621" y="366"/>
                    <a:pt x="616" y="339"/>
                  </a:cubicBezTo>
                  <a:cubicBezTo>
                    <a:pt x="615" y="334"/>
                    <a:pt x="608" y="335"/>
                    <a:pt x="603" y="334"/>
                  </a:cubicBezTo>
                  <a:cubicBezTo>
                    <a:pt x="571" y="329"/>
                    <a:pt x="539" y="332"/>
                    <a:pt x="509" y="331"/>
                  </a:cubicBezTo>
                  <a:close/>
                  <a:moveTo>
                    <a:pt x="2287" y="1245"/>
                  </a:moveTo>
                  <a:cubicBezTo>
                    <a:pt x="2287" y="1219"/>
                    <a:pt x="2289" y="1193"/>
                    <a:pt x="2283" y="1167"/>
                  </a:cubicBezTo>
                  <a:cubicBezTo>
                    <a:pt x="2282" y="1160"/>
                    <a:pt x="2278" y="1156"/>
                    <a:pt x="2272" y="1151"/>
                  </a:cubicBezTo>
                  <a:cubicBezTo>
                    <a:pt x="2256" y="1139"/>
                    <a:pt x="2245" y="1122"/>
                    <a:pt x="2233" y="1107"/>
                  </a:cubicBezTo>
                  <a:cubicBezTo>
                    <a:pt x="2220" y="1092"/>
                    <a:pt x="2198" y="1086"/>
                    <a:pt x="2194" y="1064"/>
                  </a:cubicBezTo>
                  <a:cubicBezTo>
                    <a:pt x="2194" y="1064"/>
                    <a:pt x="2191" y="1064"/>
                    <a:pt x="2190" y="1063"/>
                  </a:cubicBezTo>
                  <a:cubicBezTo>
                    <a:pt x="2172" y="1055"/>
                    <a:pt x="2167" y="1030"/>
                    <a:pt x="2145" y="1028"/>
                  </a:cubicBezTo>
                  <a:cubicBezTo>
                    <a:pt x="2144" y="1028"/>
                    <a:pt x="2144" y="1027"/>
                    <a:pt x="2144" y="1026"/>
                  </a:cubicBezTo>
                  <a:cubicBezTo>
                    <a:pt x="2143" y="1013"/>
                    <a:pt x="2134" y="1011"/>
                    <a:pt x="2123" y="1009"/>
                  </a:cubicBezTo>
                  <a:cubicBezTo>
                    <a:pt x="2113" y="1008"/>
                    <a:pt x="2102" y="1006"/>
                    <a:pt x="2092" y="1007"/>
                  </a:cubicBezTo>
                  <a:cubicBezTo>
                    <a:pt x="2060" y="1007"/>
                    <a:pt x="2060" y="1007"/>
                    <a:pt x="2058" y="1038"/>
                  </a:cubicBezTo>
                  <a:cubicBezTo>
                    <a:pt x="2058" y="1046"/>
                    <a:pt x="2061" y="1059"/>
                    <a:pt x="2053" y="1060"/>
                  </a:cubicBezTo>
                  <a:cubicBezTo>
                    <a:pt x="2025" y="1063"/>
                    <a:pt x="2032" y="1084"/>
                    <a:pt x="2030" y="1100"/>
                  </a:cubicBezTo>
                  <a:cubicBezTo>
                    <a:pt x="2030" y="1107"/>
                    <a:pt x="2031" y="1117"/>
                    <a:pt x="2021" y="1118"/>
                  </a:cubicBezTo>
                  <a:cubicBezTo>
                    <a:pt x="2003" y="1119"/>
                    <a:pt x="2003" y="1131"/>
                    <a:pt x="2003" y="1144"/>
                  </a:cubicBezTo>
                  <a:cubicBezTo>
                    <a:pt x="2002" y="1159"/>
                    <a:pt x="2005" y="1177"/>
                    <a:pt x="1981" y="1177"/>
                  </a:cubicBezTo>
                  <a:cubicBezTo>
                    <a:pt x="1977" y="1177"/>
                    <a:pt x="1975" y="1182"/>
                    <a:pt x="1975" y="1186"/>
                  </a:cubicBezTo>
                  <a:cubicBezTo>
                    <a:pt x="1974" y="1195"/>
                    <a:pt x="1972" y="1203"/>
                    <a:pt x="1960" y="1202"/>
                  </a:cubicBezTo>
                  <a:cubicBezTo>
                    <a:pt x="1946" y="1201"/>
                    <a:pt x="1949" y="1190"/>
                    <a:pt x="1948" y="1181"/>
                  </a:cubicBezTo>
                  <a:cubicBezTo>
                    <a:pt x="1947" y="1175"/>
                    <a:pt x="1947" y="1168"/>
                    <a:pt x="1947" y="1161"/>
                  </a:cubicBezTo>
                  <a:cubicBezTo>
                    <a:pt x="1947" y="1156"/>
                    <a:pt x="1946" y="1149"/>
                    <a:pt x="1940" y="1148"/>
                  </a:cubicBezTo>
                  <a:cubicBezTo>
                    <a:pt x="1916" y="1147"/>
                    <a:pt x="1921" y="1130"/>
                    <a:pt x="1919" y="1115"/>
                  </a:cubicBezTo>
                  <a:cubicBezTo>
                    <a:pt x="1919" y="1107"/>
                    <a:pt x="1922" y="1095"/>
                    <a:pt x="1913" y="1094"/>
                  </a:cubicBezTo>
                  <a:cubicBezTo>
                    <a:pt x="1885" y="1090"/>
                    <a:pt x="1893" y="1070"/>
                    <a:pt x="1891" y="1053"/>
                  </a:cubicBezTo>
                  <a:cubicBezTo>
                    <a:pt x="1890" y="1047"/>
                    <a:pt x="1891" y="1037"/>
                    <a:pt x="1884" y="1037"/>
                  </a:cubicBezTo>
                  <a:cubicBezTo>
                    <a:pt x="1860" y="1035"/>
                    <a:pt x="1865" y="1018"/>
                    <a:pt x="1863" y="1003"/>
                  </a:cubicBezTo>
                  <a:cubicBezTo>
                    <a:pt x="1862" y="995"/>
                    <a:pt x="1866" y="983"/>
                    <a:pt x="1857" y="982"/>
                  </a:cubicBezTo>
                  <a:cubicBezTo>
                    <a:pt x="1830" y="978"/>
                    <a:pt x="1836" y="958"/>
                    <a:pt x="1835" y="941"/>
                  </a:cubicBezTo>
                  <a:cubicBezTo>
                    <a:pt x="1834" y="933"/>
                    <a:pt x="1835" y="924"/>
                    <a:pt x="1824" y="923"/>
                  </a:cubicBezTo>
                  <a:cubicBezTo>
                    <a:pt x="1810" y="922"/>
                    <a:pt x="1807" y="914"/>
                    <a:pt x="1808" y="903"/>
                  </a:cubicBezTo>
                  <a:cubicBezTo>
                    <a:pt x="1808" y="896"/>
                    <a:pt x="1807" y="888"/>
                    <a:pt x="1806" y="881"/>
                  </a:cubicBezTo>
                  <a:cubicBezTo>
                    <a:pt x="1805" y="872"/>
                    <a:pt x="1800" y="868"/>
                    <a:pt x="1792" y="868"/>
                  </a:cubicBezTo>
                  <a:cubicBezTo>
                    <a:pt x="1782" y="868"/>
                    <a:pt x="1776" y="871"/>
                    <a:pt x="1775" y="881"/>
                  </a:cubicBezTo>
                  <a:cubicBezTo>
                    <a:pt x="1775" y="887"/>
                    <a:pt x="1775" y="893"/>
                    <a:pt x="1775" y="899"/>
                  </a:cubicBezTo>
                  <a:cubicBezTo>
                    <a:pt x="1774" y="958"/>
                    <a:pt x="1777" y="1017"/>
                    <a:pt x="1778" y="1075"/>
                  </a:cubicBezTo>
                  <a:cubicBezTo>
                    <a:pt x="1780" y="1188"/>
                    <a:pt x="1780" y="1302"/>
                    <a:pt x="1778" y="1415"/>
                  </a:cubicBezTo>
                  <a:cubicBezTo>
                    <a:pt x="1778" y="1468"/>
                    <a:pt x="1775" y="1522"/>
                    <a:pt x="1775" y="1575"/>
                  </a:cubicBezTo>
                  <a:cubicBezTo>
                    <a:pt x="1775" y="1583"/>
                    <a:pt x="1772" y="1594"/>
                    <a:pt x="1782" y="1598"/>
                  </a:cubicBezTo>
                  <a:cubicBezTo>
                    <a:pt x="1796" y="1603"/>
                    <a:pt x="1811" y="1599"/>
                    <a:pt x="1826" y="1598"/>
                  </a:cubicBezTo>
                  <a:cubicBezTo>
                    <a:pt x="1835" y="1598"/>
                    <a:pt x="1834" y="1588"/>
                    <a:pt x="1837" y="1582"/>
                  </a:cubicBezTo>
                  <a:cubicBezTo>
                    <a:pt x="1840" y="1575"/>
                    <a:pt x="1847" y="1576"/>
                    <a:pt x="1853" y="1574"/>
                  </a:cubicBezTo>
                  <a:cubicBezTo>
                    <a:pt x="1878" y="1570"/>
                    <a:pt x="1903" y="1572"/>
                    <a:pt x="1928" y="1570"/>
                  </a:cubicBezTo>
                  <a:cubicBezTo>
                    <a:pt x="1936" y="1570"/>
                    <a:pt x="1945" y="1571"/>
                    <a:pt x="1946" y="1561"/>
                  </a:cubicBezTo>
                  <a:cubicBezTo>
                    <a:pt x="1947" y="1544"/>
                    <a:pt x="1958" y="1544"/>
                    <a:pt x="1971" y="1543"/>
                  </a:cubicBezTo>
                  <a:cubicBezTo>
                    <a:pt x="1986" y="1543"/>
                    <a:pt x="2004" y="1547"/>
                    <a:pt x="2005" y="1522"/>
                  </a:cubicBezTo>
                  <a:cubicBezTo>
                    <a:pt x="2005" y="1516"/>
                    <a:pt x="2013" y="1516"/>
                    <a:pt x="2018" y="1516"/>
                  </a:cubicBezTo>
                  <a:cubicBezTo>
                    <a:pt x="2027" y="1515"/>
                    <a:pt x="2037" y="1515"/>
                    <a:pt x="2046" y="1515"/>
                  </a:cubicBezTo>
                  <a:cubicBezTo>
                    <a:pt x="2053" y="1515"/>
                    <a:pt x="2059" y="1512"/>
                    <a:pt x="2059" y="1505"/>
                  </a:cubicBezTo>
                  <a:cubicBezTo>
                    <a:pt x="2059" y="1488"/>
                    <a:pt x="2069" y="1487"/>
                    <a:pt x="2082" y="1488"/>
                  </a:cubicBezTo>
                  <a:cubicBezTo>
                    <a:pt x="2090" y="1488"/>
                    <a:pt x="2102" y="1490"/>
                    <a:pt x="2105" y="1486"/>
                  </a:cubicBezTo>
                  <a:cubicBezTo>
                    <a:pt x="2115" y="1469"/>
                    <a:pt x="2135" y="1463"/>
                    <a:pt x="2144" y="1450"/>
                  </a:cubicBezTo>
                  <a:cubicBezTo>
                    <a:pt x="2153" y="1438"/>
                    <a:pt x="2159" y="1431"/>
                    <a:pt x="2173" y="1431"/>
                  </a:cubicBezTo>
                  <a:cubicBezTo>
                    <a:pt x="2187" y="1431"/>
                    <a:pt x="2200" y="1431"/>
                    <a:pt x="2200" y="1411"/>
                  </a:cubicBezTo>
                  <a:cubicBezTo>
                    <a:pt x="2200" y="1405"/>
                    <a:pt x="2207" y="1403"/>
                    <a:pt x="2212" y="1403"/>
                  </a:cubicBezTo>
                  <a:cubicBezTo>
                    <a:pt x="2222" y="1402"/>
                    <a:pt x="2227" y="1397"/>
                    <a:pt x="2227" y="1388"/>
                  </a:cubicBezTo>
                  <a:cubicBezTo>
                    <a:pt x="2228" y="1383"/>
                    <a:pt x="2229" y="1377"/>
                    <a:pt x="2234" y="1377"/>
                  </a:cubicBezTo>
                  <a:cubicBezTo>
                    <a:pt x="2262" y="1375"/>
                    <a:pt x="2254" y="1352"/>
                    <a:pt x="2259" y="1337"/>
                  </a:cubicBezTo>
                  <a:cubicBezTo>
                    <a:pt x="2261" y="1331"/>
                    <a:pt x="2259" y="1321"/>
                    <a:pt x="2267" y="1321"/>
                  </a:cubicBezTo>
                  <a:cubicBezTo>
                    <a:pt x="2288" y="1320"/>
                    <a:pt x="2287" y="1305"/>
                    <a:pt x="2287" y="1291"/>
                  </a:cubicBezTo>
                  <a:cubicBezTo>
                    <a:pt x="2287" y="1276"/>
                    <a:pt x="2287" y="1260"/>
                    <a:pt x="2287" y="1245"/>
                  </a:cubicBezTo>
                  <a:close/>
                  <a:moveTo>
                    <a:pt x="632" y="1599"/>
                  </a:moveTo>
                  <a:cubicBezTo>
                    <a:pt x="632" y="1599"/>
                    <a:pt x="632" y="1599"/>
                    <a:pt x="632" y="1600"/>
                  </a:cubicBezTo>
                  <a:cubicBezTo>
                    <a:pt x="638" y="1600"/>
                    <a:pt x="643" y="1600"/>
                    <a:pt x="648" y="1600"/>
                  </a:cubicBezTo>
                  <a:cubicBezTo>
                    <a:pt x="675" y="1599"/>
                    <a:pt x="676" y="1599"/>
                    <a:pt x="676" y="1573"/>
                  </a:cubicBezTo>
                  <a:cubicBezTo>
                    <a:pt x="675" y="1524"/>
                    <a:pt x="675" y="1474"/>
                    <a:pt x="675" y="1425"/>
                  </a:cubicBezTo>
                  <a:cubicBezTo>
                    <a:pt x="675" y="1415"/>
                    <a:pt x="675" y="1405"/>
                    <a:pt x="661" y="1402"/>
                  </a:cubicBezTo>
                  <a:cubicBezTo>
                    <a:pt x="652" y="1401"/>
                    <a:pt x="651" y="1393"/>
                    <a:pt x="651" y="1385"/>
                  </a:cubicBezTo>
                  <a:cubicBezTo>
                    <a:pt x="645" y="1290"/>
                    <a:pt x="648" y="1194"/>
                    <a:pt x="649" y="1098"/>
                  </a:cubicBezTo>
                  <a:cubicBezTo>
                    <a:pt x="649" y="1087"/>
                    <a:pt x="651" y="1076"/>
                    <a:pt x="666" y="1074"/>
                  </a:cubicBezTo>
                  <a:cubicBezTo>
                    <a:pt x="672" y="1073"/>
                    <a:pt x="674" y="1068"/>
                    <a:pt x="674" y="1062"/>
                  </a:cubicBezTo>
                  <a:cubicBezTo>
                    <a:pt x="674" y="1049"/>
                    <a:pt x="674" y="1037"/>
                    <a:pt x="674" y="1024"/>
                  </a:cubicBezTo>
                  <a:cubicBezTo>
                    <a:pt x="674" y="1017"/>
                    <a:pt x="671" y="1013"/>
                    <a:pt x="664" y="1011"/>
                  </a:cubicBezTo>
                  <a:cubicBezTo>
                    <a:pt x="634" y="999"/>
                    <a:pt x="620" y="1007"/>
                    <a:pt x="619" y="1039"/>
                  </a:cubicBezTo>
                  <a:cubicBezTo>
                    <a:pt x="618" y="1044"/>
                    <a:pt x="618" y="1049"/>
                    <a:pt x="618" y="1053"/>
                  </a:cubicBezTo>
                  <a:cubicBezTo>
                    <a:pt x="618" y="1058"/>
                    <a:pt x="617" y="1064"/>
                    <a:pt x="612" y="1065"/>
                  </a:cubicBezTo>
                  <a:cubicBezTo>
                    <a:pt x="586" y="1066"/>
                    <a:pt x="592" y="1086"/>
                    <a:pt x="590" y="1101"/>
                  </a:cubicBezTo>
                  <a:cubicBezTo>
                    <a:pt x="590" y="1108"/>
                    <a:pt x="593" y="1120"/>
                    <a:pt x="584" y="1120"/>
                  </a:cubicBezTo>
                  <a:cubicBezTo>
                    <a:pt x="559" y="1122"/>
                    <a:pt x="563" y="1140"/>
                    <a:pt x="563" y="1155"/>
                  </a:cubicBezTo>
                  <a:cubicBezTo>
                    <a:pt x="562" y="1168"/>
                    <a:pt x="562" y="1179"/>
                    <a:pt x="545" y="1180"/>
                  </a:cubicBezTo>
                  <a:cubicBezTo>
                    <a:pt x="537" y="1180"/>
                    <a:pt x="536" y="1187"/>
                    <a:pt x="535" y="1193"/>
                  </a:cubicBezTo>
                  <a:cubicBezTo>
                    <a:pt x="535" y="1202"/>
                    <a:pt x="534" y="1212"/>
                    <a:pt x="534" y="1221"/>
                  </a:cubicBezTo>
                  <a:cubicBezTo>
                    <a:pt x="534" y="1229"/>
                    <a:pt x="531" y="1233"/>
                    <a:pt x="523" y="1234"/>
                  </a:cubicBezTo>
                  <a:cubicBezTo>
                    <a:pt x="495" y="1239"/>
                    <a:pt x="481" y="1228"/>
                    <a:pt x="479" y="1200"/>
                  </a:cubicBezTo>
                  <a:cubicBezTo>
                    <a:pt x="479" y="1192"/>
                    <a:pt x="482" y="1179"/>
                    <a:pt x="472" y="1178"/>
                  </a:cubicBezTo>
                  <a:cubicBezTo>
                    <a:pt x="447" y="1174"/>
                    <a:pt x="452" y="1156"/>
                    <a:pt x="451" y="1141"/>
                  </a:cubicBezTo>
                  <a:cubicBezTo>
                    <a:pt x="450" y="1133"/>
                    <a:pt x="453" y="1121"/>
                    <a:pt x="443" y="1120"/>
                  </a:cubicBezTo>
                  <a:cubicBezTo>
                    <a:pt x="422" y="1119"/>
                    <a:pt x="424" y="1104"/>
                    <a:pt x="423" y="1090"/>
                  </a:cubicBezTo>
                  <a:cubicBezTo>
                    <a:pt x="422" y="1082"/>
                    <a:pt x="426" y="1067"/>
                    <a:pt x="415" y="1066"/>
                  </a:cubicBezTo>
                  <a:cubicBezTo>
                    <a:pt x="392" y="1062"/>
                    <a:pt x="395" y="1047"/>
                    <a:pt x="395" y="1032"/>
                  </a:cubicBezTo>
                  <a:cubicBezTo>
                    <a:pt x="395" y="1018"/>
                    <a:pt x="395" y="1006"/>
                    <a:pt x="376" y="1006"/>
                  </a:cubicBezTo>
                  <a:cubicBezTo>
                    <a:pt x="368" y="1006"/>
                    <a:pt x="368" y="997"/>
                    <a:pt x="364" y="991"/>
                  </a:cubicBezTo>
                  <a:cubicBezTo>
                    <a:pt x="358" y="982"/>
                    <a:pt x="346" y="979"/>
                    <a:pt x="342" y="989"/>
                  </a:cubicBezTo>
                  <a:cubicBezTo>
                    <a:pt x="337" y="1003"/>
                    <a:pt x="330" y="1008"/>
                    <a:pt x="316" y="1009"/>
                  </a:cubicBezTo>
                  <a:cubicBezTo>
                    <a:pt x="311" y="1009"/>
                    <a:pt x="308" y="1013"/>
                    <a:pt x="308" y="1018"/>
                  </a:cubicBezTo>
                  <a:cubicBezTo>
                    <a:pt x="307" y="1031"/>
                    <a:pt x="299" y="1034"/>
                    <a:pt x="288" y="1036"/>
                  </a:cubicBezTo>
                  <a:cubicBezTo>
                    <a:pt x="273" y="1038"/>
                    <a:pt x="260" y="1039"/>
                    <a:pt x="251" y="1058"/>
                  </a:cubicBezTo>
                  <a:cubicBezTo>
                    <a:pt x="244" y="1070"/>
                    <a:pt x="227" y="1085"/>
                    <a:pt x="213" y="1092"/>
                  </a:cubicBezTo>
                  <a:cubicBezTo>
                    <a:pt x="198" y="1100"/>
                    <a:pt x="196" y="1108"/>
                    <a:pt x="195" y="1121"/>
                  </a:cubicBezTo>
                  <a:cubicBezTo>
                    <a:pt x="194" y="1130"/>
                    <a:pt x="198" y="1144"/>
                    <a:pt x="186" y="1145"/>
                  </a:cubicBezTo>
                  <a:cubicBezTo>
                    <a:pt x="165" y="1148"/>
                    <a:pt x="166" y="1161"/>
                    <a:pt x="166" y="1175"/>
                  </a:cubicBezTo>
                  <a:cubicBezTo>
                    <a:pt x="167" y="1188"/>
                    <a:pt x="166" y="1200"/>
                    <a:pt x="166" y="1213"/>
                  </a:cubicBezTo>
                  <a:cubicBezTo>
                    <a:pt x="166" y="1225"/>
                    <a:pt x="165" y="1235"/>
                    <a:pt x="150" y="1235"/>
                  </a:cubicBezTo>
                  <a:cubicBezTo>
                    <a:pt x="143" y="1236"/>
                    <a:pt x="140" y="1241"/>
                    <a:pt x="140" y="1248"/>
                  </a:cubicBezTo>
                  <a:cubicBezTo>
                    <a:pt x="140" y="1254"/>
                    <a:pt x="141" y="1261"/>
                    <a:pt x="148" y="1262"/>
                  </a:cubicBezTo>
                  <a:cubicBezTo>
                    <a:pt x="167" y="1262"/>
                    <a:pt x="167" y="1275"/>
                    <a:pt x="166" y="1288"/>
                  </a:cubicBezTo>
                  <a:cubicBezTo>
                    <a:pt x="166" y="1299"/>
                    <a:pt x="167" y="1311"/>
                    <a:pt x="167" y="1322"/>
                  </a:cubicBezTo>
                  <a:cubicBezTo>
                    <a:pt x="167" y="1336"/>
                    <a:pt x="167" y="1348"/>
                    <a:pt x="186" y="1348"/>
                  </a:cubicBezTo>
                  <a:cubicBezTo>
                    <a:pt x="194" y="1348"/>
                    <a:pt x="192" y="1357"/>
                    <a:pt x="195" y="1361"/>
                  </a:cubicBezTo>
                  <a:cubicBezTo>
                    <a:pt x="205" y="1377"/>
                    <a:pt x="225" y="1385"/>
                    <a:pt x="233" y="1403"/>
                  </a:cubicBezTo>
                  <a:cubicBezTo>
                    <a:pt x="233" y="1404"/>
                    <a:pt x="236" y="1403"/>
                    <a:pt x="237" y="1404"/>
                  </a:cubicBezTo>
                  <a:cubicBezTo>
                    <a:pt x="252" y="1416"/>
                    <a:pt x="265" y="1430"/>
                    <a:pt x="278" y="1444"/>
                  </a:cubicBezTo>
                  <a:cubicBezTo>
                    <a:pt x="285" y="1452"/>
                    <a:pt x="288" y="1459"/>
                    <a:pt x="299" y="1459"/>
                  </a:cubicBezTo>
                  <a:cubicBezTo>
                    <a:pt x="307" y="1459"/>
                    <a:pt x="319" y="1456"/>
                    <a:pt x="323" y="1461"/>
                  </a:cubicBezTo>
                  <a:cubicBezTo>
                    <a:pt x="335" y="1476"/>
                    <a:pt x="354" y="1485"/>
                    <a:pt x="365" y="1499"/>
                  </a:cubicBezTo>
                  <a:cubicBezTo>
                    <a:pt x="373" y="1508"/>
                    <a:pt x="377" y="1515"/>
                    <a:pt x="389" y="1515"/>
                  </a:cubicBezTo>
                  <a:cubicBezTo>
                    <a:pt x="401" y="1515"/>
                    <a:pt x="413" y="1516"/>
                    <a:pt x="424" y="1516"/>
                  </a:cubicBezTo>
                  <a:cubicBezTo>
                    <a:pt x="437" y="1516"/>
                    <a:pt x="447" y="1517"/>
                    <a:pt x="448" y="1533"/>
                  </a:cubicBezTo>
                  <a:cubicBezTo>
                    <a:pt x="448" y="1541"/>
                    <a:pt x="455" y="1543"/>
                    <a:pt x="463" y="1543"/>
                  </a:cubicBezTo>
                  <a:cubicBezTo>
                    <a:pt x="473" y="1543"/>
                    <a:pt x="483" y="1544"/>
                    <a:pt x="493" y="1544"/>
                  </a:cubicBezTo>
                  <a:cubicBezTo>
                    <a:pt x="498" y="1544"/>
                    <a:pt x="505" y="1545"/>
                    <a:pt x="505" y="1551"/>
                  </a:cubicBezTo>
                  <a:cubicBezTo>
                    <a:pt x="506" y="1574"/>
                    <a:pt x="522" y="1571"/>
                    <a:pt x="537" y="1571"/>
                  </a:cubicBezTo>
                  <a:cubicBezTo>
                    <a:pt x="549" y="1572"/>
                    <a:pt x="561" y="1572"/>
                    <a:pt x="573" y="1572"/>
                  </a:cubicBezTo>
                  <a:cubicBezTo>
                    <a:pt x="583" y="1572"/>
                    <a:pt x="591" y="1574"/>
                    <a:pt x="591" y="1587"/>
                  </a:cubicBezTo>
                  <a:cubicBezTo>
                    <a:pt x="592" y="1596"/>
                    <a:pt x="598" y="1599"/>
                    <a:pt x="606" y="1599"/>
                  </a:cubicBezTo>
                  <a:cubicBezTo>
                    <a:pt x="615" y="1599"/>
                    <a:pt x="624" y="1599"/>
                    <a:pt x="632" y="1599"/>
                  </a:cubicBezTo>
                  <a:close/>
                  <a:moveTo>
                    <a:pt x="846" y="2247"/>
                  </a:moveTo>
                  <a:cubicBezTo>
                    <a:pt x="876" y="2248"/>
                    <a:pt x="877" y="2247"/>
                    <a:pt x="875" y="2216"/>
                  </a:cubicBezTo>
                  <a:cubicBezTo>
                    <a:pt x="874" y="2207"/>
                    <a:pt x="879" y="2193"/>
                    <a:pt x="865" y="2192"/>
                  </a:cubicBezTo>
                  <a:cubicBezTo>
                    <a:pt x="849" y="2190"/>
                    <a:pt x="848" y="2181"/>
                    <a:pt x="847" y="2169"/>
                  </a:cubicBezTo>
                  <a:cubicBezTo>
                    <a:pt x="845" y="2157"/>
                    <a:pt x="849" y="2141"/>
                    <a:pt x="834" y="2136"/>
                  </a:cubicBezTo>
                  <a:cubicBezTo>
                    <a:pt x="821" y="2132"/>
                    <a:pt x="820" y="2125"/>
                    <a:pt x="819" y="2114"/>
                  </a:cubicBezTo>
                  <a:cubicBezTo>
                    <a:pt x="817" y="2103"/>
                    <a:pt x="820" y="2085"/>
                    <a:pt x="809" y="2082"/>
                  </a:cubicBezTo>
                  <a:cubicBezTo>
                    <a:pt x="788" y="2076"/>
                    <a:pt x="792" y="2062"/>
                    <a:pt x="791" y="2048"/>
                  </a:cubicBezTo>
                  <a:cubicBezTo>
                    <a:pt x="790" y="2035"/>
                    <a:pt x="788" y="2023"/>
                    <a:pt x="787" y="2010"/>
                  </a:cubicBezTo>
                  <a:cubicBezTo>
                    <a:pt x="786" y="2004"/>
                    <a:pt x="785" y="1997"/>
                    <a:pt x="778" y="1996"/>
                  </a:cubicBezTo>
                  <a:cubicBezTo>
                    <a:pt x="763" y="1994"/>
                    <a:pt x="764" y="1984"/>
                    <a:pt x="762" y="1973"/>
                  </a:cubicBezTo>
                  <a:cubicBezTo>
                    <a:pt x="759" y="1958"/>
                    <a:pt x="766" y="1937"/>
                    <a:pt x="741" y="1932"/>
                  </a:cubicBezTo>
                  <a:cubicBezTo>
                    <a:pt x="734" y="1931"/>
                    <a:pt x="736" y="1922"/>
                    <a:pt x="735" y="1916"/>
                  </a:cubicBezTo>
                  <a:cubicBezTo>
                    <a:pt x="734" y="1885"/>
                    <a:pt x="732" y="1854"/>
                    <a:pt x="731" y="1822"/>
                  </a:cubicBezTo>
                  <a:cubicBezTo>
                    <a:pt x="730" y="1810"/>
                    <a:pt x="725" y="1805"/>
                    <a:pt x="716" y="1797"/>
                  </a:cubicBezTo>
                  <a:cubicBezTo>
                    <a:pt x="702" y="1784"/>
                    <a:pt x="689" y="1769"/>
                    <a:pt x="677" y="1754"/>
                  </a:cubicBezTo>
                  <a:cubicBezTo>
                    <a:pt x="670" y="1745"/>
                    <a:pt x="666" y="1739"/>
                    <a:pt x="655" y="1739"/>
                  </a:cubicBezTo>
                  <a:cubicBezTo>
                    <a:pt x="643" y="1739"/>
                    <a:pt x="631" y="1739"/>
                    <a:pt x="619" y="1739"/>
                  </a:cubicBezTo>
                  <a:cubicBezTo>
                    <a:pt x="606" y="1738"/>
                    <a:pt x="592" y="1741"/>
                    <a:pt x="589" y="1722"/>
                  </a:cubicBezTo>
                  <a:cubicBezTo>
                    <a:pt x="588" y="1716"/>
                    <a:pt x="581" y="1716"/>
                    <a:pt x="575" y="1715"/>
                  </a:cubicBezTo>
                  <a:cubicBezTo>
                    <a:pt x="550" y="1709"/>
                    <a:pt x="524" y="1712"/>
                    <a:pt x="498" y="1710"/>
                  </a:cubicBezTo>
                  <a:cubicBezTo>
                    <a:pt x="491" y="1710"/>
                    <a:pt x="482" y="1711"/>
                    <a:pt x="481" y="1703"/>
                  </a:cubicBezTo>
                  <a:cubicBezTo>
                    <a:pt x="480" y="1681"/>
                    <a:pt x="464" y="1683"/>
                    <a:pt x="450" y="1683"/>
                  </a:cubicBezTo>
                  <a:cubicBezTo>
                    <a:pt x="436" y="1683"/>
                    <a:pt x="423" y="1684"/>
                    <a:pt x="421" y="1664"/>
                  </a:cubicBezTo>
                  <a:cubicBezTo>
                    <a:pt x="420" y="1656"/>
                    <a:pt x="412" y="1656"/>
                    <a:pt x="405" y="1656"/>
                  </a:cubicBezTo>
                  <a:cubicBezTo>
                    <a:pt x="388" y="1655"/>
                    <a:pt x="372" y="1655"/>
                    <a:pt x="355" y="1654"/>
                  </a:cubicBezTo>
                  <a:cubicBezTo>
                    <a:pt x="349" y="1654"/>
                    <a:pt x="341" y="1654"/>
                    <a:pt x="341" y="1646"/>
                  </a:cubicBezTo>
                  <a:cubicBezTo>
                    <a:pt x="340" y="1630"/>
                    <a:pt x="331" y="1626"/>
                    <a:pt x="317" y="1626"/>
                  </a:cubicBezTo>
                  <a:cubicBezTo>
                    <a:pt x="314" y="1626"/>
                    <a:pt x="310" y="1625"/>
                    <a:pt x="309" y="1621"/>
                  </a:cubicBezTo>
                  <a:cubicBezTo>
                    <a:pt x="307" y="1593"/>
                    <a:pt x="286" y="1600"/>
                    <a:pt x="269" y="1599"/>
                  </a:cubicBezTo>
                  <a:cubicBezTo>
                    <a:pt x="263" y="1598"/>
                    <a:pt x="255" y="1599"/>
                    <a:pt x="253" y="1591"/>
                  </a:cubicBezTo>
                  <a:cubicBezTo>
                    <a:pt x="250" y="1582"/>
                    <a:pt x="250" y="1571"/>
                    <a:pt x="236" y="1571"/>
                  </a:cubicBezTo>
                  <a:cubicBezTo>
                    <a:pt x="226" y="1572"/>
                    <a:pt x="216" y="1571"/>
                    <a:pt x="206" y="1572"/>
                  </a:cubicBezTo>
                  <a:cubicBezTo>
                    <a:pt x="198" y="1572"/>
                    <a:pt x="196" y="1578"/>
                    <a:pt x="196" y="1584"/>
                  </a:cubicBezTo>
                  <a:cubicBezTo>
                    <a:pt x="196" y="1591"/>
                    <a:pt x="197" y="1598"/>
                    <a:pt x="204" y="1598"/>
                  </a:cubicBezTo>
                  <a:cubicBezTo>
                    <a:pt x="223" y="1598"/>
                    <a:pt x="223" y="1611"/>
                    <a:pt x="223" y="1624"/>
                  </a:cubicBezTo>
                  <a:cubicBezTo>
                    <a:pt x="223" y="1632"/>
                    <a:pt x="222" y="1639"/>
                    <a:pt x="223" y="1646"/>
                  </a:cubicBezTo>
                  <a:cubicBezTo>
                    <a:pt x="226" y="1662"/>
                    <a:pt x="221" y="1681"/>
                    <a:pt x="245" y="1685"/>
                  </a:cubicBezTo>
                  <a:cubicBezTo>
                    <a:pt x="248" y="1685"/>
                    <a:pt x="250" y="1689"/>
                    <a:pt x="250" y="1693"/>
                  </a:cubicBezTo>
                  <a:cubicBezTo>
                    <a:pt x="250" y="1707"/>
                    <a:pt x="255" y="1715"/>
                    <a:pt x="270" y="1717"/>
                  </a:cubicBezTo>
                  <a:cubicBezTo>
                    <a:pt x="277" y="1717"/>
                    <a:pt x="278" y="1724"/>
                    <a:pt x="278" y="1729"/>
                  </a:cubicBezTo>
                  <a:cubicBezTo>
                    <a:pt x="278" y="1739"/>
                    <a:pt x="280" y="1748"/>
                    <a:pt x="279" y="1757"/>
                  </a:cubicBezTo>
                  <a:cubicBezTo>
                    <a:pt x="274" y="1788"/>
                    <a:pt x="309" y="1798"/>
                    <a:pt x="313" y="1824"/>
                  </a:cubicBezTo>
                  <a:cubicBezTo>
                    <a:pt x="314" y="1825"/>
                    <a:pt x="316" y="1825"/>
                    <a:pt x="317" y="1825"/>
                  </a:cubicBezTo>
                  <a:cubicBezTo>
                    <a:pt x="334" y="1826"/>
                    <a:pt x="334" y="1838"/>
                    <a:pt x="336" y="1850"/>
                  </a:cubicBezTo>
                  <a:cubicBezTo>
                    <a:pt x="339" y="1860"/>
                    <a:pt x="334" y="1875"/>
                    <a:pt x="350" y="1878"/>
                  </a:cubicBezTo>
                  <a:cubicBezTo>
                    <a:pt x="362" y="1880"/>
                    <a:pt x="367" y="1887"/>
                    <a:pt x="367" y="1898"/>
                  </a:cubicBezTo>
                  <a:cubicBezTo>
                    <a:pt x="367" y="1902"/>
                    <a:pt x="368" y="1907"/>
                    <a:pt x="372" y="1908"/>
                  </a:cubicBezTo>
                  <a:cubicBezTo>
                    <a:pt x="385" y="1911"/>
                    <a:pt x="387" y="1924"/>
                    <a:pt x="394" y="1929"/>
                  </a:cubicBezTo>
                  <a:cubicBezTo>
                    <a:pt x="408" y="1941"/>
                    <a:pt x="423" y="1949"/>
                    <a:pt x="431" y="1966"/>
                  </a:cubicBezTo>
                  <a:cubicBezTo>
                    <a:pt x="431" y="1967"/>
                    <a:pt x="433" y="1966"/>
                    <a:pt x="435" y="1967"/>
                  </a:cubicBezTo>
                  <a:cubicBezTo>
                    <a:pt x="454" y="1974"/>
                    <a:pt x="456" y="2000"/>
                    <a:pt x="477" y="2004"/>
                  </a:cubicBezTo>
                  <a:cubicBezTo>
                    <a:pt x="478" y="2004"/>
                    <a:pt x="478" y="2005"/>
                    <a:pt x="478" y="2006"/>
                  </a:cubicBezTo>
                  <a:cubicBezTo>
                    <a:pt x="477" y="2019"/>
                    <a:pt x="484" y="2023"/>
                    <a:pt x="496" y="2024"/>
                  </a:cubicBezTo>
                  <a:cubicBezTo>
                    <a:pt x="501" y="2024"/>
                    <a:pt x="505" y="2026"/>
                    <a:pt x="505" y="2031"/>
                  </a:cubicBezTo>
                  <a:cubicBezTo>
                    <a:pt x="505" y="2046"/>
                    <a:pt x="518" y="2046"/>
                    <a:pt x="526" y="2054"/>
                  </a:cubicBezTo>
                  <a:cubicBezTo>
                    <a:pt x="537" y="2065"/>
                    <a:pt x="544" y="2081"/>
                    <a:pt x="561" y="2086"/>
                  </a:cubicBezTo>
                  <a:cubicBezTo>
                    <a:pt x="562" y="2112"/>
                    <a:pt x="582" y="2106"/>
                    <a:pt x="597" y="2108"/>
                  </a:cubicBezTo>
                  <a:cubicBezTo>
                    <a:pt x="605" y="2109"/>
                    <a:pt x="617" y="2106"/>
                    <a:pt x="617" y="2118"/>
                  </a:cubicBezTo>
                  <a:cubicBezTo>
                    <a:pt x="618" y="2131"/>
                    <a:pt x="625" y="2136"/>
                    <a:pt x="637" y="2136"/>
                  </a:cubicBezTo>
                  <a:cubicBezTo>
                    <a:pt x="639" y="2136"/>
                    <a:pt x="644" y="2139"/>
                    <a:pt x="645" y="2141"/>
                  </a:cubicBezTo>
                  <a:cubicBezTo>
                    <a:pt x="646" y="2169"/>
                    <a:pt x="667" y="2163"/>
                    <a:pt x="684" y="2164"/>
                  </a:cubicBezTo>
                  <a:cubicBezTo>
                    <a:pt x="694" y="2164"/>
                    <a:pt x="698" y="2169"/>
                    <a:pt x="704" y="2178"/>
                  </a:cubicBezTo>
                  <a:cubicBezTo>
                    <a:pt x="716" y="2194"/>
                    <a:pt x="734" y="2205"/>
                    <a:pt x="750" y="2218"/>
                  </a:cubicBezTo>
                  <a:cubicBezTo>
                    <a:pt x="752" y="2220"/>
                    <a:pt x="756" y="2219"/>
                    <a:pt x="760" y="2219"/>
                  </a:cubicBezTo>
                  <a:cubicBezTo>
                    <a:pt x="773" y="2219"/>
                    <a:pt x="786" y="2219"/>
                    <a:pt x="800" y="2220"/>
                  </a:cubicBezTo>
                  <a:cubicBezTo>
                    <a:pt x="806" y="2220"/>
                    <a:pt x="813" y="2220"/>
                    <a:pt x="814" y="2228"/>
                  </a:cubicBezTo>
                  <a:cubicBezTo>
                    <a:pt x="815" y="2251"/>
                    <a:pt x="831" y="2247"/>
                    <a:pt x="846" y="2247"/>
                  </a:cubicBezTo>
                  <a:close/>
                  <a:moveTo>
                    <a:pt x="1591" y="2248"/>
                  </a:moveTo>
                  <a:cubicBezTo>
                    <a:pt x="1591" y="2247"/>
                    <a:pt x="1591" y="2247"/>
                    <a:pt x="1591" y="2246"/>
                  </a:cubicBezTo>
                  <a:cubicBezTo>
                    <a:pt x="1601" y="2246"/>
                    <a:pt x="1611" y="2247"/>
                    <a:pt x="1621" y="2246"/>
                  </a:cubicBezTo>
                  <a:cubicBezTo>
                    <a:pt x="1627" y="2246"/>
                    <a:pt x="1633" y="2245"/>
                    <a:pt x="1634" y="2239"/>
                  </a:cubicBezTo>
                  <a:cubicBezTo>
                    <a:pt x="1634" y="2217"/>
                    <a:pt x="1649" y="2220"/>
                    <a:pt x="1663" y="2219"/>
                  </a:cubicBezTo>
                  <a:cubicBezTo>
                    <a:pt x="1672" y="2218"/>
                    <a:pt x="1687" y="2222"/>
                    <a:pt x="1688" y="2213"/>
                  </a:cubicBezTo>
                  <a:cubicBezTo>
                    <a:pt x="1692" y="2186"/>
                    <a:pt x="1711" y="2192"/>
                    <a:pt x="1727" y="2191"/>
                  </a:cubicBezTo>
                  <a:cubicBezTo>
                    <a:pt x="1735" y="2190"/>
                    <a:pt x="1745" y="2191"/>
                    <a:pt x="1746" y="2181"/>
                  </a:cubicBezTo>
                  <a:cubicBezTo>
                    <a:pt x="1748" y="2165"/>
                    <a:pt x="1757" y="2164"/>
                    <a:pt x="1769" y="2162"/>
                  </a:cubicBezTo>
                  <a:cubicBezTo>
                    <a:pt x="1783" y="2160"/>
                    <a:pt x="1796" y="2160"/>
                    <a:pt x="1807" y="2143"/>
                  </a:cubicBezTo>
                  <a:cubicBezTo>
                    <a:pt x="1814" y="2131"/>
                    <a:pt x="1836" y="2125"/>
                    <a:pt x="1844" y="2108"/>
                  </a:cubicBezTo>
                  <a:cubicBezTo>
                    <a:pt x="1844" y="2107"/>
                    <a:pt x="1846" y="2108"/>
                    <a:pt x="1847" y="2107"/>
                  </a:cubicBezTo>
                  <a:cubicBezTo>
                    <a:pt x="1867" y="2102"/>
                    <a:pt x="1869" y="2074"/>
                    <a:pt x="1891" y="2071"/>
                  </a:cubicBezTo>
                  <a:cubicBezTo>
                    <a:pt x="1890" y="2051"/>
                    <a:pt x="1904" y="2052"/>
                    <a:pt x="1918" y="2051"/>
                  </a:cubicBezTo>
                  <a:cubicBezTo>
                    <a:pt x="1924" y="2051"/>
                    <a:pt x="1933" y="2053"/>
                    <a:pt x="1935" y="2050"/>
                  </a:cubicBezTo>
                  <a:cubicBezTo>
                    <a:pt x="1947" y="2035"/>
                    <a:pt x="1964" y="2025"/>
                    <a:pt x="1974" y="2010"/>
                  </a:cubicBezTo>
                  <a:cubicBezTo>
                    <a:pt x="1985" y="1994"/>
                    <a:pt x="2009" y="1988"/>
                    <a:pt x="2010" y="1965"/>
                  </a:cubicBezTo>
                  <a:cubicBezTo>
                    <a:pt x="2010" y="1964"/>
                    <a:pt x="2013" y="1964"/>
                    <a:pt x="2014" y="1964"/>
                  </a:cubicBezTo>
                  <a:cubicBezTo>
                    <a:pt x="2028" y="1964"/>
                    <a:pt x="2030" y="1954"/>
                    <a:pt x="2032" y="1943"/>
                  </a:cubicBezTo>
                  <a:cubicBezTo>
                    <a:pt x="2034" y="1929"/>
                    <a:pt x="2032" y="1911"/>
                    <a:pt x="2055" y="1910"/>
                  </a:cubicBezTo>
                  <a:cubicBezTo>
                    <a:pt x="2060" y="1909"/>
                    <a:pt x="2061" y="1903"/>
                    <a:pt x="2062" y="1899"/>
                  </a:cubicBezTo>
                  <a:cubicBezTo>
                    <a:pt x="2068" y="1881"/>
                    <a:pt x="2093" y="1876"/>
                    <a:pt x="2094" y="1854"/>
                  </a:cubicBezTo>
                  <a:cubicBezTo>
                    <a:pt x="2094" y="1854"/>
                    <a:pt x="2096" y="1853"/>
                    <a:pt x="2097" y="1853"/>
                  </a:cubicBezTo>
                  <a:cubicBezTo>
                    <a:pt x="2114" y="1852"/>
                    <a:pt x="2114" y="1841"/>
                    <a:pt x="2117" y="1828"/>
                  </a:cubicBezTo>
                  <a:cubicBezTo>
                    <a:pt x="2119" y="1818"/>
                    <a:pt x="2114" y="1803"/>
                    <a:pt x="2129" y="1800"/>
                  </a:cubicBezTo>
                  <a:cubicBezTo>
                    <a:pt x="2141" y="1797"/>
                    <a:pt x="2147" y="1792"/>
                    <a:pt x="2147" y="1780"/>
                  </a:cubicBezTo>
                  <a:cubicBezTo>
                    <a:pt x="2147" y="1776"/>
                    <a:pt x="2148" y="1770"/>
                    <a:pt x="2152" y="1770"/>
                  </a:cubicBezTo>
                  <a:cubicBezTo>
                    <a:pt x="2177" y="1766"/>
                    <a:pt x="2170" y="1744"/>
                    <a:pt x="2174" y="1729"/>
                  </a:cubicBezTo>
                  <a:cubicBezTo>
                    <a:pt x="2176" y="1722"/>
                    <a:pt x="2175" y="1713"/>
                    <a:pt x="2184" y="1712"/>
                  </a:cubicBezTo>
                  <a:cubicBezTo>
                    <a:pt x="2198" y="1710"/>
                    <a:pt x="2199" y="1701"/>
                    <a:pt x="2200" y="1691"/>
                  </a:cubicBezTo>
                  <a:cubicBezTo>
                    <a:pt x="2201" y="1678"/>
                    <a:pt x="2203" y="1665"/>
                    <a:pt x="2203" y="1653"/>
                  </a:cubicBezTo>
                  <a:cubicBezTo>
                    <a:pt x="2203" y="1639"/>
                    <a:pt x="2203" y="1627"/>
                    <a:pt x="2222" y="1627"/>
                  </a:cubicBezTo>
                  <a:cubicBezTo>
                    <a:pt x="2227" y="1626"/>
                    <a:pt x="2230" y="1622"/>
                    <a:pt x="2230" y="1617"/>
                  </a:cubicBezTo>
                  <a:cubicBezTo>
                    <a:pt x="2230" y="1605"/>
                    <a:pt x="2231" y="1594"/>
                    <a:pt x="2230" y="1583"/>
                  </a:cubicBezTo>
                  <a:cubicBezTo>
                    <a:pt x="2230" y="1576"/>
                    <a:pt x="2227" y="1571"/>
                    <a:pt x="2219" y="1571"/>
                  </a:cubicBezTo>
                  <a:cubicBezTo>
                    <a:pt x="2212" y="1571"/>
                    <a:pt x="2202" y="1569"/>
                    <a:pt x="2201" y="1578"/>
                  </a:cubicBezTo>
                  <a:cubicBezTo>
                    <a:pt x="2199" y="1603"/>
                    <a:pt x="2181" y="1598"/>
                    <a:pt x="2166" y="1599"/>
                  </a:cubicBezTo>
                  <a:cubicBezTo>
                    <a:pt x="2158" y="1600"/>
                    <a:pt x="2145" y="1596"/>
                    <a:pt x="2144" y="1608"/>
                  </a:cubicBezTo>
                  <a:cubicBezTo>
                    <a:pt x="2143" y="1626"/>
                    <a:pt x="2132" y="1626"/>
                    <a:pt x="2118" y="1627"/>
                  </a:cubicBezTo>
                  <a:cubicBezTo>
                    <a:pt x="2104" y="1627"/>
                    <a:pt x="2086" y="1623"/>
                    <a:pt x="2085" y="1648"/>
                  </a:cubicBezTo>
                  <a:cubicBezTo>
                    <a:pt x="2085" y="1654"/>
                    <a:pt x="2078" y="1654"/>
                    <a:pt x="2072" y="1654"/>
                  </a:cubicBezTo>
                  <a:cubicBezTo>
                    <a:pt x="2063" y="1655"/>
                    <a:pt x="2054" y="1655"/>
                    <a:pt x="2044" y="1655"/>
                  </a:cubicBezTo>
                  <a:cubicBezTo>
                    <a:pt x="2038" y="1656"/>
                    <a:pt x="2031" y="1657"/>
                    <a:pt x="2031" y="1665"/>
                  </a:cubicBezTo>
                  <a:cubicBezTo>
                    <a:pt x="2031" y="1682"/>
                    <a:pt x="2019" y="1682"/>
                    <a:pt x="2006" y="1682"/>
                  </a:cubicBezTo>
                  <a:cubicBezTo>
                    <a:pt x="1992" y="1683"/>
                    <a:pt x="1977" y="1685"/>
                    <a:pt x="1963" y="1687"/>
                  </a:cubicBezTo>
                  <a:cubicBezTo>
                    <a:pt x="1957" y="1688"/>
                    <a:pt x="1950" y="1688"/>
                    <a:pt x="1949" y="1694"/>
                  </a:cubicBezTo>
                  <a:cubicBezTo>
                    <a:pt x="1946" y="1713"/>
                    <a:pt x="1932" y="1710"/>
                    <a:pt x="1919" y="1711"/>
                  </a:cubicBezTo>
                  <a:cubicBezTo>
                    <a:pt x="1906" y="1711"/>
                    <a:pt x="1894" y="1711"/>
                    <a:pt x="1881" y="1711"/>
                  </a:cubicBezTo>
                  <a:cubicBezTo>
                    <a:pt x="1870" y="1711"/>
                    <a:pt x="1861" y="1712"/>
                    <a:pt x="1862" y="1727"/>
                  </a:cubicBezTo>
                  <a:cubicBezTo>
                    <a:pt x="1862" y="1737"/>
                    <a:pt x="1854" y="1738"/>
                    <a:pt x="1846" y="1738"/>
                  </a:cubicBezTo>
                  <a:cubicBezTo>
                    <a:pt x="1828" y="1738"/>
                    <a:pt x="1810" y="1739"/>
                    <a:pt x="1792" y="1739"/>
                  </a:cubicBezTo>
                  <a:cubicBezTo>
                    <a:pt x="1785" y="1739"/>
                    <a:pt x="1777" y="1739"/>
                    <a:pt x="1776" y="1748"/>
                  </a:cubicBezTo>
                  <a:cubicBezTo>
                    <a:pt x="1775" y="1766"/>
                    <a:pt x="1763" y="1767"/>
                    <a:pt x="1750" y="1767"/>
                  </a:cubicBezTo>
                  <a:cubicBezTo>
                    <a:pt x="1728" y="1768"/>
                    <a:pt x="1720" y="1781"/>
                    <a:pt x="1720" y="1801"/>
                  </a:cubicBezTo>
                  <a:cubicBezTo>
                    <a:pt x="1720" y="1821"/>
                    <a:pt x="1719" y="1841"/>
                    <a:pt x="1718" y="1861"/>
                  </a:cubicBezTo>
                  <a:cubicBezTo>
                    <a:pt x="1718" y="1867"/>
                    <a:pt x="1719" y="1876"/>
                    <a:pt x="1711" y="1877"/>
                  </a:cubicBezTo>
                  <a:cubicBezTo>
                    <a:pt x="1696" y="1880"/>
                    <a:pt x="1695" y="1890"/>
                    <a:pt x="1693" y="1902"/>
                  </a:cubicBezTo>
                  <a:cubicBezTo>
                    <a:pt x="1691" y="1917"/>
                    <a:pt x="1692" y="1933"/>
                    <a:pt x="1691" y="1948"/>
                  </a:cubicBezTo>
                  <a:cubicBezTo>
                    <a:pt x="1691" y="1955"/>
                    <a:pt x="1692" y="1964"/>
                    <a:pt x="1684" y="1965"/>
                  </a:cubicBezTo>
                  <a:cubicBezTo>
                    <a:pt x="1666" y="1967"/>
                    <a:pt x="1666" y="1980"/>
                    <a:pt x="1665" y="1993"/>
                  </a:cubicBezTo>
                  <a:cubicBezTo>
                    <a:pt x="1663" y="2005"/>
                    <a:pt x="1663" y="2018"/>
                    <a:pt x="1662" y="2031"/>
                  </a:cubicBezTo>
                  <a:cubicBezTo>
                    <a:pt x="1662" y="2036"/>
                    <a:pt x="1662" y="2044"/>
                    <a:pt x="1657" y="2044"/>
                  </a:cubicBezTo>
                  <a:cubicBezTo>
                    <a:pt x="1629" y="2048"/>
                    <a:pt x="1636" y="2069"/>
                    <a:pt x="1635" y="2086"/>
                  </a:cubicBezTo>
                  <a:cubicBezTo>
                    <a:pt x="1634" y="2093"/>
                    <a:pt x="1637" y="2104"/>
                    <a:pt x="1628" y="2105"/>
                  </a:cubicBezTo>
                  <a:cubicBezTo>
                    <a:pt x="1603" y="2107"/>
                    <a:pt x="1608" y="2125"/>
                    <a:pt x="1606" y="2140"/>
                  </a:cubicBezTo>
                  <a:cubicBezTo>
                    <a:pt x="1606" y="2147"/>
                    <a:pt x="1609" y="2160"/>
                    <a:pt x="1600" y="2160"/>
                  </a:cubicBezTo>
                  <a:cubicBezTo>
                    <a:pt x="1573" y="2163"/>
                    <a:pt x="1580" y="2182"/>
                    <a:pt x="1579" y="2198"/>
                  </a:cubicBezTo>
                  <a:cubicBezTo>
                    <a:pt x="1578" y="2208"/>
                    <a:pt x="1578" y="2218"/>
                    <a:pt x="1564" y="2218"/>
                  </a:cubicBezTo>
                  <a:cubicBezTo>
                    <a:pt x="1553" y="2219"/>
                    <a:pt x="1551" y="2225"/>
                    <a:pt x="1551" y="2235"/>
                  </a:cubicBezTo>
                  <a:cubicBezTo>
                    <a:pt x="1551" y="2246"/>
                    <a:pt x="1558" y="2247"/>
                    <a:pt x="1567" y="2248"/>
                  </a:cubicBezTo>
                  <a:cubicBezTo>
                    <a:pt x="1575" y="2248"/>
                    <a:pt x="1583" y="2248"/>
                    <a:pt x="1591" y="2248"/>
                  </a:cubicBezTo>
                  <a:close/>
                  <a:moveTo>
                    <a:pt x="946" y="1795"/>
                  </a:moveTo>
                  <a:cubicBezTo>
                    <a:pt x="946" y="1795"/>
                    <a:pt x="946" y="1795"/>
                    <a:pt x="946" y="1795"/>
                  </a:cubicBezTo>
                  <a:cubicBezTo>
                    <a:pt x="918" y="1795"/>
                    <a:pt x="890" y="1795"/>
                    <a:pt x="863" y="1795"/>
                  </a:cubicBezTo>
                  <a:cubicBezTo>
                    <a:pt x="855" y="1795"/>
                    <a:pt x="849" y="1797"/>
                    <a:pt x="848" y="1806"/>
                  </a:cubicBezTo>
                  <a:cubicBezTo>
                    <a:pt x="847" y="1812"/>
                    <a:pt x="847" y="1821"/>
                    <a:pt x="855" y="1822"/>
                  </a:cubicBezTo>
                  <a:cubicBezTo>
                    <a:pt x="871" y="1824"/>
                    <a:pt x="872" y="1834"/>
                    <a:pt x="872" y="1846"/>
                  </a:cubicBezTo>
                  <a:cubicBezTo>
                    <a:pt x="873" y="1862"/>
                    <a:pt x="874" y="1877"/>
                    <a:pt x="875" y="1892"/>
                  </a:cubicBezTo>
                  <a:cubicBezTo>
                    <a:pt x="875" y="1899"/>
                    <a:pt x="874" y="1908"/>
                    <a:pt x="882" y="1909"/>
                  </a:cubicBezTo>
                  <a:cubicBezTo>
                    <a:pt x="898" y="1912"/>
                    <a:pt x="899" y="1923"/>
                    <a:pt x="900" y="1935"/>
                  </a:cubicBezTo>
                  <a:cubicBezTo>
                    <a:pt x="901" y="1949"/>
                    <a:pt x="902" y="1962"/>
                    <a:pt x="903" y="1975"/>
                  </a:cubicBezTo>
                  <a:cubicBezTo>
                    <a:pt x="904" y="1981"/>
                    <a:pt x="904" y="1989"/>
                    <a:pt x="911" y="1990"/>
                  </a:cubicBezTo>
                  <a:cubicBezTo>
                    <a:pt x="932" y="1991"/>
                    <a:pt x="929" y="2006"/>
                    <a:pt x="931" y="2020"/>
                  </a:cubicBezTo>
                  <a:cubicBezTo>
                    <a:pt x="931" y="2030"/>
                    <a:pt x="926" y="2045"/>
                    <a:pt x="936" y="2048"/>
                  </a:cubicBezTo>
                  <a:cubicBezTo>
                    <a:pt x="961" y="2054"/>
                    <a:pt x="955" y="2073"/>
                    <a:pt x="959" y="2089"/>
                  </a:cubicBezTo>
                  <a:cubicBezTo>
                    <a:pt x="960" y="2095"/>
                    <a:pt x="958" y="2104"/>
                    <a:pt x="965" y="2104"/>
                  </a:cubicBezTo>
                  <a:cubicBezTo>
                    <a:pt x="992" y="2106"/>
                    <a:pt x="986" y="2127"/>
                    <a:pt x="987" y="2143"/>
                  </a:cubicBezTo>
                  <a:cubicBezTo>
                    <a:pt x="988" y="2154"/>
                    <a:pt x="989" y="2163"/>
                    <a:pt x="1003" y="2163"/>
                  </a:cubicBezTo>
                  <a:cubicBezTo>
                    <a:pt x="1011" y="2163"/>
                    <a:pt x="1012" y="2170"/>
                    <a:pt x="1015" y="2176"/>
                  </a:cubicBezTo>
                  <a:cubicBezTo>
                    <a:pt x="1024" y="2194"/>
                    <a:pt x="1045" y="2201"/>
                    <a:pt x="1054" y="2219"/>
                  </a:cubicBezTo>
                  <a:cubicBezTo>
                    <a:pt x="1054" y="2220"/>
                    <a:pt x="1057" y="2219"/>
                    <a:pt x="1058" y="2219"/>
                  </a:cubicBezTo>
                  <a:cubicBezTo>
                    <a:pt x="1071" y="2234"/>
                    <a:pt x="1083" y="2248"/>
                    <a:pt x="1098" y="2260"/>
                  </a:cubicBezTo>
                  <a:cubicBezTo>
                    <a:pt x="1099" y="2261"/>
                    <a:pt x="1098" y="2263"/>
                    <a:pt x="1099" y="2264"/>
                  </a:cubicBezTo>
                  <a:cubicBezTo>
                    <a:pt x="1113" y="2276"/>
                    <a:pt x="1129" y="2286"/>
                    <a:pt x="1138" y="2302"/>
                  </a:cubicBezTo>
                  <a:cubicBezTo>
                    <a:pt x="1139" y="2303"/>
                    <a:pt x="1141" y="2302"/>
                    <a:pt x="1142" y="2303"/>
                  </a:cubicBezTo>
                  <a:cubicBezTo>
                    <a:pt x="1190" y="2304"/>
                    <a:pt x="1237" y="2304"/>
                    <a:pt x="1284" y="2303"/>
                  </a:cubicBezTo>
                  <a:cubicBezTo>
                    <a:pt x="1292" y="2303"/>
                    <a:pt x="1298" y="2301"/>
                    <a:pt x="1299" y="2292"/>
                  </a:cubicBezTo>
                  <a:cubicBezTo>
                    <a:pt x="1299" y="2276"/>
                    <a:pt x="1310" y="2276"/>
                    <a:pt x="1322" y="2276"/>
                  </a:cubicBezTo>
                  <a:cubicBezTo>
                    <a:pt x="1337" y="2275"/>
                    <a:pt x="1356" y="2279"/>
                    <a:pt x="1356" y="2254"/>
                  </a:cubicBezTo>
                  <a:cubicBezTo>
                    <a:pt x="1356" y="2250"/>
                    <a:pt x="1361" y="2248"/>
                    <a:pt x="1365" y="2248"/>
                  </a:cubicBezTo>
                  <a:cubicBezTo>
                    <a:pt x="1378" y="2248"/>
                    <a:pt x="1383" y="2241"/>
                    <a:pt x="1384" y="2229"/>
                  </a:cubicBezTo>
                  <a:cubicBezTo>
                    <a:pt x="1384" y="2226"/>
                    <a:pt x="1387" y="2221"/>
                    <a:pt x="1389" y="2221"/>
                  </a:cubicBezTo>
                  <a:cubicBezTo>
                    <a:pt x="1417" y="2220"/>
                    <a:pt x="1410" y="2198"/>
                    <a:pt x="1412" y="2182"/>
                  </a:cubicBezTo>
                  <a:cubicBezTo>
                    <a:pt x="1413" y="2175"/>
                    <a:pt x="1411" y="2166"/>
                    <a:pt x="1420" y="2165"/>
                  </a:cubicBezTo>
                  <a:cubicBezTo>
                    <a:pt x="1435" y="2164"/>
                    <a:pt x="1440" y="2156"/>
                    <a:pt x="1441" y="2142"/>
                  </a:cubicBezTo>
                  <a:cubicBezTo>
                    <a:pt x="1441" y="2140"/>
                    <a:pt x="1444" y="2137"/>
                    <a:pt x="1446" y="2137"/>
                  </a:cubicBezTo>
                  <a:cubicBezTo>
                    <a:pt x="1473" y="2136"/>
                    <a:pt x="1466" y="2114"/>
                    <a:pt x="1468" y="2099"/>
                  </a:cubicBezTo>
                  <a:cubicBezTo>
                    <a:pt x="1469" y="2092"/>
                    <a:pt x="1466" y="2081"/>
                    <a:pt x="1476" y="2081"/>
                  </a:cubicBezTo>
                  <a:cubicBezTo>
                    <a:pt x="1497" y="2079"/>
                    <a:pt x="1495" y="2065"/>
                    <a:pt x="1495" y="2051"/>
                  </a:cubicBezTo>
                  <a:cubicBezTo>
                    <a:pt x="1495" y="2037"/>
                    <a:pt x="1494" y="2022"/>
                    <a:pt x="1515" y="2021"/>
                  </a:cubicBezTo>
                  <a:cubicBezTo>
                    <a:pt x="1521" y="2021"/>
                    <a:pt x="1522" y="2014"/>
                    <a:pt x="1523" y="2009"/>
                  </a:cubicBezTo>
                  <a:cubicBezTo>
                    <a:pt x="1523" y="2001"/>
                    <a:pt x="1524" y="1993"/>
                    <a:pt x="1524" y="1985"/>
                  </a:cubicBezTo>
                  <a:cubicBezTo>
                    <a:pt x="1523" y="1973"/>
                    <a:pt x="1524" y="1963"/>
                    <a:pt x="1539" y="1963"/>
                  </a:cubicBezTo>
                  <a:cubicBezTo>
                    <a:pt x="1549" y="1962"/>
                    <a:pt x="1550" y="1954"/>
                    <a:pt x="1551" y="1946"/>
                  </a:cubicBezTo>
                  <a:cubicBezTo>
                    <a:pt x="1551" y="1930"/>
                    <a:pt x="1551" y="1913"/>
                    <a:pt x="1552" y="1897"/>
                  </a:cubicBezTo>
                  <a:cubicBezTo>
                    <a:pt x="1552" y="1890"/>
                    <a:pt x="1552" y="1881"/>
                    <a:pt x="1560" y="1880"/>
                  </a:cubicBezTo>
                  <a:cubicBezTo>
                    <a:pt x="1580" y="1879"/>
                    <a:pt x="1579" y="1866"/>
                    <a:pt x="1579" y="1852"/>
                  </a:cubicBezTo>
                  <a:cubicBezTo>
                    <a:pt x="1579" y="1841"/>
                    <a:pt x="1579" y="1831"/>
                    <a:pt x="1580" y="1820"/>
                  </a:cubicBezTo>
                  <a:cubicBezTo>
                    <a:pt x="1580" y="1797"/>
                    <a:pt x="1578" y="1794"/>
                    <a:pt x="1556" y="1794"/>
                  </a:cubicBezTo>
                  <a:cubicBezTo>
                    <a:pt x="1545" y="1794"/>
                    <a:pt x="1534" y="1795"/>
                    <a:pt x="1524" y="1795"/>
                  </a:cubicBezTo>
                  <a:cubicBezTo>
                    <a:pt x="1509" y="1795"/>
                    <a:pt x="1493" y="1792"/>
                    <a:pt x="1493" y="1815"/>
                  </a:cubicBezTo>
                  <a:cubicBezTo>
                    <a:pt x="1493" y="1817"/>
                    <a:pt x="1490" y="1821"/>
                    <a:pt x="1489" y="1821"/>
                  </a:cubicBezTo>
                  <a:cubicBezTo>
                    <a:pt x="1461" y="1822"/>
                    <a:pt x="1468" y="1843"/>
                    <a:pt x="1466" y="1859"/>
                  </a:cubicBezTo>
                  <a:cubicBezTo>
                    <a:pt x="1466" y="1866"/>
                    <a:pt x="1468" y="1877"/>
                    <a:pt x="1459" y="1878"/>
                  </a:cubicBezTo>
                  <a:cubicBezTo>
                    <a:pt x="1434" y="1880"/>
                    <a:pt x="1439" y="1898"/>
                    <a:pt x="1438" y="1913"/>
                  </a:cubicBezTo>
                  <a:cubicBezTo>
                    <a:pt x="1437" y="1925"/>
                    <a:pt x="1439" y="1938"/>
                    <a:pt x="1420" y="1936"/>
                  </a:cubicBezTo>
                  <a:cubicBezTo>
                    <a:pt x="1413" y="1936"/>
                    <a:pt x="1411" y="1943"/>
                    <a:pt x="1411" y="1949"/>
                  </a:cubicBezTo>
                  <a:cubicBezTo>
                    <a:pt x="1411" y="1959"/>
                    <a:pt x="1410" y="1968"/>
                    <a:pt x="1410" y="1977"/>
                  </a:cubicBezTo>
                  <a:cubicBezTo>
                    <a:pt x="1410" y="1985"/>
                    <a:pt x="1408" y="1993"/>
                    <a:pt x="1399" y="1994"/>
                  </a:cubicBezTo>
                  <a:cubicBezTo>
                    <a:pt x="1384" y="1995"/>
                    <a:pt x="1384" y="2005"/>
                    <a:pt x="1382" y="2016"/>
                  </a:cubicBezTo>
                  <a:cubicBezTo>
                    <a:pt x="1380" y="2027"/>
                    <a:pt x="1384" y="2044"/>
                    <a:pt x="1374" y="2047"/>
                  </a:cubicBezTo>
                  <a:cubicBezTo>
                    <a:pt x="1349" y="2054"/>
                    <a:pt x="1356" y="2073"/>
                    <a:pt x="1352" y="2088"/>
                  </a:cubicBezTo>
                  <a:cubicBezTo>
                    <a:pt x="1350" y="2096"/>
                    <a:pt x="1351" y="2105"/>
                    <a:pt x="1340" y="2106"/>
                  </a:cubicBezTo>
                  <a:cubicBezTo>
                    <a:pt x="1328" y="2108"/>
                    <a:pt x="1328" y="2116"/>
                    <a:pt x="1326" y="2125"/>
                  </a:cubicBezTo>
                  <a:cubicBezTo>
                    <a:pt x="1324" y="2136"/>
                    <a:pt x="1328" y="2155"/>
                    <a:pt x="1318" y="2158"/>
                  </a:cubicBezTo>
                  <a:cubicBezTo>
                    <a:pt x="1294" y="2167"/>
                    <a:pt x="1299" y="2187"/>
                    <a:pt x="1295" y="2203"/>
                  </a:cubicBezTo>
                  <a:cubicBezTo>
                    <a:pt x="1294" y="2209"/>
                    <a:pt x="1294" y="2215"/>
                    <a:pt x="1287" y="2218"/>
                  </a:cubicBezTo>
                  <a:cubicBezTo>
                    <a:pt x="1264" y="2226"/>
                    <a:pt x="1245" y="2215"/>
                    <a:pt x="1243" y="2192"/>
                  </a:cubicBezTo>
                  <a:cubicBezTo>
                    <a:pt x="1242" y="2187"/>
                    <a:pt x="1242" y="2183"/>
                    <a:pt x="1241" y="2178"/>
                  </a:cubicBezTo>
                  <a:cubicBezTo>
                    <a:pt x="1240" y="2172"/>
                    <a:pt x="1243" y="2162"/>
                    <a:pt x="1235" y="2161"/>
                  </a:cubicBezTo>
                  <a:cubicBezTo>
                    <a:pt x="1211" y="2159"/>
                    <a:pt x="1216" y="2142"/>
                    <a:pt x="1215" y="2127"/>
                  </a:cubicBezTo>
                  <a:cubicBezTo>
                    <a:pt x="1214" y="2119"/>
                    <a:pt x="1216" y="2107"/>
                    <a:pt x="1208" y="2106"/>
                  </a:cubicBezTo>
                  <a:cubicBezTo>
                    <a:pt x="1182" y="2102"/>
                    <a:pt x="1187" y="2082"/>
                    <a:pt x="1184" y="2066"/>
                  </a:cubicBezTo>
                  <a:cubicBezTo>
                    <a:pt x="1183" y="2061"/>
                    <a:pt x="1185" y="2052"/>
                    <a:pt x="1179" y="2050"/>
                  </a:cubicBezTo>
                  <a:cubicBezTo>
                    <a:pt x="1153" y="2045"/>
                    <a:pt x="1159" y="2024"/>
                    <a:pt x="1156" y="2008"/>
                  </a:cubicBezTo>
                  <a:cubicBezTo>
                    <a:pt x="1155" y="2003"/>
                    <a:pt x="1156" y="1995"/>
                    <a:pt x="1150" y="1994"/>
                  </a:cubicBezTo>
                  <a:cubicBezTo>
                    <a:pt x="1125" y="1989"/>
                    <a:pt x="1131" y="1968"/>
                    <a:pt x="1128" y="1951"/>
                  </a:cubicBezTo>
                  <a:cubicBezTo>
                    <a:pt x="1127" y="1946"/>
                    <a:pt x="1128" y="1939"/>
                    <a:pt x="1122" y="1938"/>
                  </a:cubicBezTo>
                  <a:cubicBezTo>
                    <a:pt x="1097" y="1933"/>
                    <a:pt x="1103" y="1913"/>
                    <a:pt x="1100" y="1897"/>
                  </a:cubicBezTo>
                  <a:cubicBezTo>
                    <a:pt x="1099" y="1891"/>
                    <a:pt x="1100" y="1882"/>
                    <a:pt x="1094" y="1881"/>
                  </a:cubicBezTo>
                  <a:cubicBezTo>
                    <a:pt x="1067" y="1879"/>
                    <a:pt x="1072" y="1860"/>
                    <a:pt x="1072" y="1843"/>
                  </a:cubicBezTo>
                  <a:cubicBezTo>
                    <a:pt x="1071" y="1831"/>
                    <a:pt x="1068" y="1822"/>
                    <a:pt x="1054" y="1822"/>
                  </a:cubicBezTo>
                  <a:cubicBezTo>
                    <a:pt x="1048" y="1822"/>
                    <a:pt x="1044" y="1818"/>
                    <a:pt x="1044" y="1812"/>
                  </a:cubicBezTo>
                  <a:cubicBezTo>
                    <a:pt x="1044" y="1797"/>
                    <a:pt x="1034" y="1795"/>
                    <a:pt x="1022" y="1795"/>
                  </a:cubicBezTo>
                  <a:cubicBezTo>
                    <a:pt x="997" y="1795"/>
                    <a:pt x="972" y="1795"/>
                    <a:pt x="946" y="1795"/>
                  </a:cubicBezTo>
                  <a:close/>
                  <a:moveTo>
                    <a:pt x="867" y="222"/>
                  </a:moveTo>
                  <a:cubicBezTo>
                    <a:pt x="861" y="224"/>
                    <a:pt x="848" y="218"/>
                    <a:pt x="845" y="230"/>
                  </a:cubicBezTo>
                  <a:cubicBezTo>
                    <a:pt x="841" y="246"/>
                    <a:pt x="830" y="246"/>
                    <a:pt x="818" y="247"/>
                  </a:cubicBezTo>
                  <a:cubicBezTo>
                    <a:pt x="805" y="248"/>
                    <a:pt x="792" y="250"/>
                    <a:pt x="778" y="251"/>
                  </a:cubicBezTo>
                  <a:cubicBezTo>
                    <a:pt x="771" y="252"/>
                    <a:pt x="765" y="253"/>
                    <a:pt x="764" y="262"/>
                  </a:cubicBezTo>
                  <a:cubicBezTo>
                    <a:pt x="762" y="274"/>
                    <a:pt x="753" y="274"/>
                    <a:pt x="743" y="276"/>
                  </a:cubicBezTo>
                  <a:cubicBezTo>
                    <a:pt x="727" y="278"/>
                    <a:pt x="707" y="275"/>
                    <a:pt x="704" y="300"/>
                  </a:cubicBezTo>
                  <a:cubicBezTo>
                    <a:pt x="703" y="306"/>
                    <a:pt x="695" y="306"/>
                    <a:pt x="689" y="307"/>
                  </a:cubicBezTo>
                  <a:cubicBezTo>
                    <a:pt x="681" y="308"/>
                    <a:pt x="676" y="311"/>
                    <a:pt x="676" y="319"/>
                  </a:cubicBezTo>
                  <a:cubicBezTo>
                    <a:pt x="676" y="328"/>
                    <a:pt x="679" y="334"/>
                    <a:pt x="688" y="334"/>
                  </a:cubicBezTo>
                  <a:cubicBezTo>
                    <a:pt x="699" y="335"/>
                    <a:pt x="705" y="339"/>
                    <a:pt x="708" y="350"/>
                  </a:cubicBezTo>
                  <a:cubicBezTo>
                    <a:pt x="709" y="356"/>
                    <a:pt x="714" y="359"/>
                    <a:pt x="719" y="359"/>
                  </a:cubicBezTo>
                  <a:cubicBezTo>
                    <a:pt x="729" y="360"/>
                    <a:pt x="734" y="365"/>
                    <a:pt x="735" y="374"/>
                  </a:cubicBezTo>
                  <a:cubicBezTo>
                    <a:pt x="736" y="381"/>
                    <a:pt x="739" y="386"/>
                    <a:pt x="746" y="387"/>
                  </a:cubicBezTo>
                  <a:cubicBezTo>
                    <a:pt x="757" y="388"/>
                    <a:pt x="759" y="395"/>
                    <a:pt x="760" y="405"/>
                  </a:cubicBezTo>
                  <a:cubicBezTo>
                    <a:pt x="760" y="414"/>
                    <a:pt x="765" y="418"/>
                    <a:pt x="774" y="418"/>
                  </a:cubicBezTo>
                  <a:cubicBezTo>
                    <a:pt x="783" y="419"/>
                    <a:pt x="790" y="417"/>
                    <a:pt x="791" y="406"/>
                  </a:cubicBezTo>
                  <a:cubicBezTo>
                    <a:pt x="792" y="401"/>
                    <a:pt x="792" y="394"/>
                    <a:pt x="798" y="393"/>
                  </a:cubicBezTo>
                  <a:cubicBezTo>
                    <a:pt x="823" y="393"/>
                    <a:pt x="818" y="374"/>
                    <a:pt x="820" y="359"/>
                  </a:cubicBezTo>
                  <a:cubicBezTo>
                    <a:pt x="821" y="351"/>
                    <a:pt x="817" y="339"/>
                    <a:pt x="828" y="337"/>
                  </a:cubicBezTo>
                  <a:cubicBezTo>
                    <a:pt x="847" y="334"/>
                    <a:pt x="846" y="322"/>
                    <a:pt x="847" y="308"/>
                  </a:cubicBezTo>
                  <a:cubicBezTo>
                    <a:pt x="848" y="295"/>
                    <a:pt x="844" y="280"/>
                    <a:pt x="866" y="278"/>
                  </a:cubicBezTo>
                  <a:cubicBezTo>
                    <a:pt x="883" y="277"/>
                    <a:pt x="867" y="249"/>
                    <a:pt x="887" y="247"/>
                  </a:cubicBezTo>
                  <a:cubicBezTo>
                    <a:pt x="895" y="246"/>
                    <a:pt x="899" y="241"/>
                    <a:pt x="898" y="233"/>
                  </a:cubicBezTo>
                  <a:cubicBezTo>
                    <a:pt x="897" y="225"/>
                    <a:pt x="890" y="224"/>
                    <a:pt x="883" y="223"/>
                  </a:cubicBezTo>
                  <a:cubicBezTo>
                    <a:pt x="879" y="223"/>
                    <a:pt x="874" y="223"/>
                    <a:pt x="867" y="222"/>
                  </a:cubicBezTo>
                  <a:close/>
                  <a:moveTo>
                    <a:pt x="307" y="854"/>
                  </a:moveTo>
                  <a:cubicBezTo>
                    <a:pt x="307" y="846"/>
                    <a:pt x="305" y="840"/>
                    <a:pt x="297" y="839"/>
                  </a:cubicBezTo>
                  <a:cubicBezTo>
                    <a:pt x="285" y="838"/>
                    <a:pt x="283" y="829"/>
                    <a:pt x="283" y="819"/>
                  </a:cubicBezTo>
                  <a:cubicBezTo>
                    <a:pt x="283" y="813"/>
                    <a:pt x="283" y="806"/>
                    <a:pt x="282" y="799"/>
                  </a:cubicBezTo>
                  <a:cubicBezTo>
                    <a:pt x="282" y="790"/>
                    <a:pt x="279" y="784"/>
                    <a:pt x="269" y="783"/>
                  </a:cubicBezTo>
                  <a:cubicBezTo>
                    <a:pt x="259" y="783"/>
                    <a:pt x="251" y="785"/>
                    <a:pt x="251" y="796"/>
                  </a:cubicBezTo>
                  <a:cubicBezTo>
                    <a:pt x="250" y="802"/>
                    <a:pt x="249" y="809"/>
                    <a:pt x="241" y="810"/>
                  </a:cubicBezTo>
                  <a:cubicBezTo>
                    <a:pt x="223" y="810"/>
                    <a:pt x="223" y="823"/>
                    <a:pt x="223" y="836"/>
                  </a:cubicBezTo>
                  <a:cubicBezTo>
                    <a:pt x="223" y="847"/>
                    <a:pt x="223" y="857"/>
                    <a:pt x="223" y="868"/>
                  </a:cubicBezTo>
                  <a:cubicBezTo>
                    <a:pt x="222" y="881"/>
                    <a:pt x="224" y="895"/>
                    <a:pt x="204" y="896"/>
                  </a:cubicBezTo>
                  <a:cubicBezTo>
                    <a:pt x="197" y="896"/>
                    <a:pt x="196" y="904"/>
                    <a:pt x="196" y="910"/>
                  </a:cubicBezTo>
                  <a:cubicBezTo>
                    <a:pt x="196" y="916"/>
                    <a:pt x="198" y="921"/>
                    <a:pt x="204" y="922"/>
                  </a:cubicBezTo>
                  <a:cubicBezTo>
                    <a:pt x="210" y="923"/>
                    <a:pt x="219" y="924"/>
                    <a:pt x="220" y="918"/>
                  </a:cubicBezTo>
                  <a:cubicBezTo>
                    <a:pt x="224" y="893"/>
                    <a:pt x="245" y="899"/>
                    <a:pt x="261" y="895"/>
                  </a:cubicBezTo>
                  <a:cubicBezTo>
                    <a:pt x="283" y="891"/>
                    <a:pt x="285" y="863"/>
                    <a:pt x="306" y="858"/>
                  </a:cubicBezTo>
                  <a:cubicBezTo>
                    <a:pt x="307" y="858"/>
                    <a:pt x="307" y="854"/>
                    <a:pt x="307" y="854"/>
                  </a:cubicBezTo>
                  <a:close/>
                  <a:moveTo>
                    <a:pt x="2230" y="876"/>
                  </a:moveTo>
                  <a:cubicBezTo>
                    <a:pt x="2225" y="866"/>
                    <a:pt x="2235" y="847"/>
                    <a:pt x="2217" y="840"/>
                  </a:cubicBezTo>
                  <a:cubicBezTo>
                    <a:pt x="2206" y="836"/>
                    <a:pt x="2203" y="831"/>
                    <a:pt x="2203" y="820"/>
                  </a:cubicBezTo>
                  <a:cubicBezTo>
                    <a:pt x="2202" y="812"/>
                    <a:pt x="2200" y="805"/>
                    <a:pt x="2199" y="797"/>
                  </a:cubicBezTo>
                  <a:cubicBezTo>
                    <a:pt x="2198" y="789"/>
                    <a:pt x="2195" y="784"/>
                    <a:pt x="2186" y="784"/>
                  </a:cubicBezTo>
                  <a:cubicBezTo>
                    <a:pt x="2179" y="785"/>
                    <a:pt x="2176" y="789"/>
                    <a:pt x="2175" y="796"/>
                  </a:cubicBezTo>
                  <a:cubicBezTo>
                    <a:pt x="2174" y="804"/>
                    <a:pt x="2171" y="813"/>
                    <a:pt x="2171" y="821"/>
                  </a:cubicBezTo>
                  <a:cubicBezTo>
                    <a:pt x="2170" y="831"/>
                    <a:pt x="2167" y="838"/>
                    <a:pt x="2156" y="839"/>
                  </a:cubicBezTo>
                  <a:cubicBezTo>
                    <a:pt x="2147" y="839"/>
                    <a:pt x="2144" y="845"/>
                    <a:pt x="2143" y="853"/>
                  </a:cubicBezTo>
                  <a:cubicBezTo>
                    <a:pt x="2143" y="862"/>
                    <a:pt x="2146" y="869"/>
                    <a:pt x="2156" y="870"/>
                  </a:cubicBezTo>
                  <a:cubicBezTo>
                    <a:pt x="2161" y="871"/>
                    <a:pt x="2168" y="871"/>
                    <a:pt x="2168" y="876"/>
                  </a:cubicBezTo>
                  <a:cubicBezTo>
                    <a:pt x="2172" y="903"/>
                    <a:pt x="2195" y="894"/>
                    <a:pt x="2211" y="898"/>
                  </a:cubicBezTo>
                  <a:cubicBezTo>
                    <a:pt x="2225" y="902"/>
                    <a:pt x="2232" y="894"/>
                    <a:pt x="2230" y="876"/>
                  </a:cubicBezTo>
                  <a:close/>
                  <a:moveTo>
                    <a:pt x="1579" y="223"/>
                  </a:moveTo>
                  <a:cubicBezTo>
                    <a:pt x="1565" y="222"/>
                    <a:pt x="1550" y="220"/>
                    <a:pt x="1550" y="242"/>
                  </a:cubicBezTo>
                  <a:cubicBezTo>
                    <a:pt x="1551" y="272"/>
                    <a:pt x="1556" y="278"/>
                    <a:pt x="1589" y="279"/>
                  </a:cubicBezTo>
                  <a:cubicBezTo>
                    <a:pt x="1603" y="280"/>
                    <a:pt x="1608" y="274"/>
                    <a:pt x="1608" y="260"/>
                  </a:cubicBezTo>
                  <a:cubicBezTo>
                    <a:pt x="1608" y="226"/>
                    <a:pt x="1607" y="223"/>
                    <a:pt x="1579"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26" name="Freeform 23">
              <a:extLst>
                <a:ext uri="{FF2B5EF4-FFF2-40B4-BE49-F238E27FC236}">
                  <a16:creationId xmlns:a16="http://schemas.microsoft.com/office/drawing/2014/main" id="{4995C81E-8F29-25EC-3AFC-216F39AC536E}"/>
                </a:ext>
              </a:extLst>
            </p:cNvPr>
            <p:cNvSpPr>
              <a:spLocks noEditPoints="1"/>
            </p:cNvSpPr>
            <p:nvPr/>
          </p:nvSpPr>
          <p:spPr bwMode="auto">
            <a:xfrm>
              <a:off x="6199188" y="3192463"/>
              <a:ext cx="61913" cy="61912"/>
            </a:xfrm>
            <a:custGeom>
              <a:avLst/>
              <a:gdLst>
                <a:gd name="T0" fmla="*/ 0 w 285"/>
                <a:gd name="T1" fmla="*/ 127 h 286"/>
                <a:gd name="T2" fmla="*/ 0 w 285"/>
                <a:gd name="T3" fmla="*/ 82 h 286"/>
                <a:gd name="T4" fmla="*/ 17 w 285"/>
                <a:gd name="T5" fmla="*/ 54 h 286"/>
                <a:gd name="T6" fmla="*/ 56 w 285"/>
                <a:gd name="T7" fmla="*/ 13 h 286"/>
                <a:gd name="T8" fmla="*/ 73 w 285"/>
                <a:gd name="T9" fmla="*/ 1 h 286"/>
                <a:gd name="T10" fmla="*/ 179 w 285"/>
                <a:gd name="T11" fmla="*/ 0 h 286"/>
                <a:gd name="T12" fmla="*/ 185 w 285"/>
                <a:gd name="T13" fmla="*/ 1 h 286"/>
                <a:gd name="T14" fmla="*/ 228 w 285"/>
                <a:gd name="T15" fmla="*/ 39 h 286"/>
                <a:gd name="T16" fmla="*/ 233 w 285"/>
                <a:gd name="T17" fmla="*/ 49 h 286"/>
                <a:gd name="T18" fmla="*/ 252 w 285"/>
                <a:gd name="T19" fmla="*/ 88 h 286"/>
                <a:gd name="T20" fmla="*/ 269 w 285"/>
                <a:gd name="T21" fmla="*/ 113 h 286"/>
                <a:gd name="T22" fmla="*/ 274 w 285"/>
                <a:gd name="T23" fmla="*/ 147 h 286"/>
                <a:gd name="T24" fmla="*/ 252 w 285"/>
                <a:gd name="T25" fmla="*/ 204 h 286"/>
                <a:gd name="T26" fmla="*/ 236 w 285"/>
                <a:gd name="T27" fmla="*/ 224 h 286"/>
                <a:gd name="T28" fmla="*/ 225 w 285"/>
                <a:gd name="T29" fmla="*/ 233 h 286"/>
                <a:gd name="T30" fmla="*/ 199 w 285"/>
                <a:gd name="T31" fmla="*/ 252 h 286"/>
                <a:gd name="T32" fmla="*/ 165 w 285"/>
                <a:gd name="T33" fmla="*/ 272 h 286"/>
                <a:gd name="T34" fmla="*/ 129 w 285"/>
                <a:gd name="T35" fmla="*/ 279 h 286"/>
                <a:gd name="T36" fmla="*/ 112 w 285"/>
                <a:gd name="T37" fmla="*/ 269 h 286"/>
                <a:gd name="T38" fmla="*/ 90 w 285"/>
                <a:gd name="T39" fmla="*/ 252 h 286"/>
                <a:gd name="T40" fmla="*/ 68 w 285"/>
                <a:gd name="T41" fmla="*/ 251 h 286"/>
                <a:gd name="T42" fmla="*/ 53 w 285"/>
                <a:gd name="T43" fmla="*/ 239 h 286"/>
                <a:gd name="T44" fmla="*/ 38 w 285"/>
                <a:gd name="T45" fmla="*/ 224 h 286"/>
                <a:gd name="T46" fmla="*/ 29 w 285"/>
                <a:gd name="T47" fmla="*/ 217 h 286"/>
                <a:gd name="T48" fmla="*/ 7 w 285"/>
                <a:gd name="T49" fmla="*/ 194 h 286"/>
                <a:gd name="T50" fmla="*/ 0 w 285"/>
                <a:gd name="T51" fmla="*/ 179 h 286"/>
                <a:gd name="T52" fmla="*/ 0 w 285"/>
                <a:gd name="T53" fmla="*/ 127 h 286"/>
                <a:gd name="T54" fmla="*/ 0 w 285"/>
                <a:gd name="T55" fmla="*/ 127 h 286"/>
                <a:gd name="T56" fmla="*/ 55 w 285"/>
                <a:gd name="T57" fmla="*/ 145 h 286"/>
                <a:gd name="T58" fmla="*/ 55 w 285"/>
                <a:gd name="T59" fmla="*/ 160 h 286"/>
                <a:gd name="T60" fmla="*/ 77 w 285"/>
                <a:gd name="T61" fmla="*/ 198 h 286"/>
                <a:gd name="T62" fmla="*/ 83 w 285"/>
                <a:gd name="T63" fmla="*/ 205 h 286"/>
                <a:gd name="T64" fmla="*/ 111 w 285"/>
                <a:gd name="T65" fmla="*/ 224 h 286"/>
                <a:gd name="T66" fmla="*/ 149 w 285"/>
                <a:gd name="T67" fmla="*/ 224 h 286"/>
                <a:gd name="T68" fmla="*/ 169 w 285"/>
                <a:gd name="T69" fmla="*/ 209 h 286"/>
                <a:gd name="T70" fmla="*/ 181 w 285"/>
                <a:gd name="T71" fmla="*/ 197 h 286"/>
                <a:gd name="T72" fmla="*/ 200 w 285"/>
                <a:gd name="T73" fmla="*/ 181 h 286"/>
                <a:gd name="T74" fmla="*/ 211 w 285"/>
                <a:gd name="T75" fmla="*/ 169 h 286"/>
                <a:gd name="T76" fmla="*/ 224 w 285"/>
                <a:gd name="T77" fmla="*/ 150 h 286"/>
                <a:gd name="T78" fmla="*/ 224 w 285"/>
                <a:gd name="T79" fmla="*/ 114 h 286"/>
                <a:gd name="T80" fmla="*/ 204 w 285"/>
                <a:gd name="T81" fmla="*/ 82 h 286"/>
                <a:gd name="T82" fmla="*/ 198 w 285"/>
                <a:gd name="T83" fmla="*/ 76 h 286"/>
                <a:gd name="T84" fmla="*/ 169 w 285"/>
                <a:gd name="T85" fmla="*/ 54 h 286"/>
                <a:gd name="T86" fmla="*/ 110 w 285"/>
                <a:gd name="T87" fmla="*/ 52 h 286"/>
                <a:gd name="T88" fmla="*/ 82 w 285"/>
                <a:gd name="T89" fmla="*/ 71 h 286"/>
                <a:gd name="T90" fmla="*/ 74 w 285"/>
                <a:gd name="T91" fmla="*/ 79 h 286"/>
                <a:gd name="T92" fmla="*/ 54 w 285"/>
                <a:gd name="T93" fmla="*/ 105 h 286"/>
                <a:gd name="T94" fmla="*/ 55 w 285"/>
                <a:gd name="T95" fmla="*/ 14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5" h="286">
                  <a:moveTo>
                    <a:pt x="0" y="127"/>
                  </a:moveTo>
                  <a:cubicBezTo>
                    <a:pt x="0" y="112"/>
                    <a:pt x="1" y="97"/>
                    <a:pt x="0" y="82"/>
                  </a:cubicBezTo>
                  <a:cubicBezTo>
                    <a:pt x="0" y="68"/>
                    <a:pt x="9" y="63"/>
                    <a:pt x="17" y="54"/>
                  </a:cubicBezTo>
                  <a:cubicBezTo>
                    <a:pt x="30" y="40"/>
                    <a:pt x="49" y="31"/>
                    <a:pt x="56" y="13"/>
                  </a:cubicBezTo>
                  <a:cubicBezTo>
                    <a:pt x="60" y="4"/>
                    <a:pt x="65" y="1"/>
                    <a:pt x="73" y="1"/>
                  </a:cubicBezTo>
                  <a:cubicBezTo>
                    <a:pt x="109" y="1"/>
                    <a:pt x="144" y="0"/>
                    <a:pt x="179" y="0"/>
                  </a:cubicBezTo>
                  <a:cubicBezTo>
                    <a:pt x="181" y="0"/>
                    <a:pt x="185" y="0"/>
                    <a:pt x="185" y="1"/>
                  </a:cubicBezTo>
                  <a:cubicBezTo>
                    <a:pt x="193" y="20"/>
                    <a:pt x="219" y="21"/>
                    <a:pt x="228" y="39"/>
                  </a:cubicBezTo>
                  <a:cubicBezTo>
                    <a:pt x="230" y="42"/>
                    <a:pt x="231" y="49"/>
                    <a:pt x="233" y="49"/>
                  </a:cubicBezTo>
                  <a:cubicBezTo>
                    <a:pt x="258" y="53"/>
                    <a:pt x="252" y="73"/>
                    <a:pt x="252" y="88"/>
                  </a:cubicBezTo>
                  <a:cubicBezTo>
                    <a:pt x="253" y="100"/>
                    <a:pt x="254" y="110"/>
                    <a:pt x="269" y="113"/>
                  </a:cubicBezTo>
                  <a:cubicBezTo>
                    <a:pt x="281" y="115"/>
                    <a:pt x="285" y="139"/>
                    <a:pt x="274" y="147"/>
                  </a:cubicBezTo>
                  <a:cubicBezTo>
                    <a:pt x="254" y="162"/>
                    <a:pt x="251" y="182"/>
                    <a:pt x="252" y="204"/>
                  </a:cubicBezTo>
                  <a:cubicBezTo>
                    <a:pt x="252" y="215"/>
                    <a:pt x="250" y="224"/>
                    <a:pt x="236" y="224"/>
                  </a:cubicBezTo>
                  <a:cubicBezTo>
                    <a:pt x="230" y="224"/>
                    <a:pt x="225" y="227"/>
                    <a:pt x="225" y="233"/>
                  </a:cubicBezTo>
                  <a:cubicBezTo>
                    <a:pt x="225" y="252"/>
                    <a:pt x="212" y="251"/>
                    <a:pt x="199" y="252"/>
                  </a:cubicBezTo>
                  <a:cubicBezTo>
                    <a:pt x="184" y="252"/>
                    <a:pt x="170" y="249"/>
                    <a:pt x="165" y="272"/>
                  </a:cubicBezTo>
                  <a:cubicBezTo>
                    <a:pt x="162" y="286"/>
                    <a:pt x="141" y="277"/>
                    <a:pt x="129" y="279"/>
                  </a:cubicBezTo>
                  <a:cubicBezTo>
                    <a:pt x="121" y="280"/>
                    <a:pt x="113" y="278"/>
                    <a:pt x="112" y="269"/>
                  </a:cubicBezTo>
                  <a:cubicBezTo>
                    <a:pt x="112" y="254"/>
                    <a:pt x="102" y="252"/>
                    <a:pt x="90" y="252"/>
                  </a:cubicBezTo>
                  <a:cubicBezTo>
                    <a:pt x="83" y="252"/>
                    <a:pt x="76" y="252"/>
                    <a:pt x="68" y="251"/>
                  </a:cubicBezTo>
                  <a:cubicBezTo>
                    <a:pt x="60" y="251"/>
                    <a:pt x="54" y="248"/>
                    <a:pt x="53" y="239"/>
                  </a:cubicBezTo>
                  <a:cubicBezTo>
                    <a:pt x="52" y="230"/>
                    <a:pt x="47" y="225"/>
                    <a:pt x="38" y="224"/>
                  </a:cubicBezTo>
                  <a:cubicBezTo>
                    <a:pt x="34" y="223"/>
                    <a:pt x="29" y="221"/>
                    <a:pt x="29" y="217"/>
                  </a:cubicBezTo>
                  <a:cubicBezTo>
                    <a:pt x="29" y="202"/>
                    <a:pt x="22" y="195"/>
                    <a:pt x="7" y="194"/>
                  </a:cubicBezTo>
                  <a:cubicBezTo>
                    <a:pt x="0" y="194"/>
                    <a:pt x="0" y="185"/>
                    <a:pt x="0" y="179"/>
                  </a:cubicBezTo>
                  <a:cubicBezTo>
                    <a:pt x="0" y="162"/>
                    <a:pt x="0" y="145"/>
                    <a:pt x="0" y="127"/>
                  </a:cubicBezTo>
                  <a:cubicBezTo>
                    <a:pt x="0" y="127"/>
                    <a:pt x="0" y="127"/>
                    <a:pt x="0" y="127"/>
                  </a:cubicBezTo>
                  <a:close/>
                  <a:moveTo>
                    <a:pt x="55" y="145"/>
                  </a:moveTo>
                  <a:cubicBezTo>
                    <a:pt x="55" y="150"/>
                    <a:pt x="54" y="155"/>
                    <a:pt x="55" y="160"/>
                  </a:cubicBezTo>
                  <a:cubicBezTo>
                    <a:pt x="57" y="176"/>
                    <a:pt x="50" y="197"/>
                    <a:pt x="77" y="198"/>
                  </a:cubicBezTo>
                  <a:cubicBezTo>
                    <a:pt x="81" y="198"/>
                    <a:pt x="83" y="202"/>
                    <a:pt x="83" y="205"/>
                  </a:cubicBezTo>
                  <a:cubicBezTo>
                    <a:pt x="83" y="225"/>
                    <a:pt x="98" y="224"/>
                    <a:pt x="111" y="224"/>
                  </a:cubicBezTo>
                  <a:cubicBezTo>
                    <a:pt x="124" y="224"/>
                    <a:pt x="137" y="224"/>
                    <a:pt x="149" y="224"/>
                  </a:cubicBezTo>
                  <a:cubicBezTo>
                    <a:pt x="159" y="224"/>
                    <a:pt x="168" y="222"/>
                    <a:pt x="169" y="209"/>
                  </a:cubicBezTo>
                  <a:cubicBezTo>
                    <a:pt x="169" y="201"/>
                    <a:pt x="173" y="197"/>
                    <a:pt x="181" y="197"/>
                  </a:cubicBezTo>
                  <a:cubicBezTo>
                    <a:pt x="192" y="197"/>
                    <a:pt x="199" y="193"/>
                    <a:pt x="200" y="181"/>
                  </a:cubicBezTo>
                  <a:cubicBezTo>
                    <a:pt x="201" y="175"/>
                    <a:pt x="204" y="170"/>
                    <a:pt x="211" y="169"/>
                  </a:cubicBezTo>
                  <a:cubicBezTo>
                    <a:pt x="222" y="167"/>
                    <a:pt x="224" y="159"/>
                    <a:pt x="224" y="150"/>
                  </a:cubicBezTo>
                  <a:cubicBezTo>
                    <a:pt x="224" y="138"/>
                    <a:pt x="224" y="126"/>
                    <a:pt x="224" y="114"/>
                  </a:cubicBezTo>
                  <a:cubicBezTo>
                    <a:pt x="224" y="99"/>
                    <a:pt x="227" y="83"/>
                    <a:pt x="204" y="82"/>
                  </a:cubicBezTo>
                  <a:cubicBezTo>
                    <a:pt x="202" y="82"/>
                    <a:pt x="198" y="78"/>
                    <a:pt x="198" y="76"/>
                  </a:cubicBezTo>
                  <a:cubicBezTo>
                    <a:pt x="198" y="55"/>
                    <a:pt x="184" y="56"/>
                    <a:pt x="169" y="54"/>
                  </a:cubicBezTo>
                  <a:cubicBezTo>
                    <a:pt x="150" y="51"/>
                    <a:pt x="130" y="52"/>
                    <a:pt x="110" y="52"/>
                  </a:cubicBezTo>
                  <a:cubicBezTo>
                    <a:pt x="96" y="52"/>
                    <a:pt x="82" y="51"/>
                    <a:pt x="82" y="71"/>
                  </a:cubicBezTo>
                  <a:cubicBezTo>
                    <a:pt x="82" y="76"/>
                    <a:pt x="78" y="79"/>
                    <a:pt x="74" y="79"/>
                  </a:cubicBezTo>
                  <a:cubicBezTo>
                    <a:pt x="56" y="79"/>
                    <a:pt x="56" y="91"/>
                    <a:pt x="54" y="105"/>
                  </a:cubicBezTo>
                  <a:cubicBezTo>
                    <a:pt x="53" y="118"/>
                    <a:pt x="54" y="131"/>
                    <a:pt x="55"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27" name="Freeform 24">
              <a:extLst>
                <a:ext uri="{FF2B5EF4-FFF2-40B4-BE49-F238E27FC236}">
                  <a16:creationId xmlns:a16="http://schemas.microsoft.com/office/drawing/2014/main" id="{0C9E039A-7765-0BCD-2456-FDC42E3F01FD}"/>
                </a:ext>
              </a:extLst>
            </p:cNvPr>
            <p:cNvSpPr>
              <a:spLocks noEditPoints="1"/>
            </p:cNvSpPr>
            <p:nvPr/>
          </p:nvSpPr>
          <p:spPr bwMode="auto">
            <a:xfrm>
              <a:off x="6054725" y="3444875"/>
              <a:ext cx="49213" cy="49212"/>
            </a:xfrm>
            <a:custGeom>
              <a:avLst/>
              <a:gdLst>
                <a:gd name="T0" fmla="*/ 126 w 230"/>
                <a:gd name="T1" fmla="*/ 224 h 228"/>
                <a:gd name="T2" fmla="*/ 78 w 230"/>
                <a:gd name="T3" fmla="*/ 224 h 228"/>
                <a:gd name="T4" fmla="*/ 66 w 230"/>
                <a:gd name="T5" fmla="*/ 223 h 228"/>
                <a:gd name="T6" fmla="*/ 28 w 230"/>
                <a:gd name="T7" fmla="*/ 183 h 228"/>
                <a:gd name="T8" fmla="*/ 19 w 230"/>
                <a:gd name="T9" fmla="*/ 169 h 228"/>
                <a:gd name="T10" fmla="*/ 0 w 230"/>
                <a:gd name="T11" fmla="*/ 143 h 228"/>
                <a:gd name="T12" fmla="*/ 1 w 230"/>
                <a:gd name="T13" fmla="*/ 85 h 228"/>
                <a:gd name="T14" fmla="*/ 20 w 230"/>
                <a:gd name="T15" fmla="*/ 54 h 228"/>
                <a:gd name="T16" fmla="*/ 27 w 230"/>
                <a:gd name="T17" fmla="*/ 43 h 228"/>
                <a:gd name="T18" fmla="*/ 42 w 230"/>
                <a:gd name="T19" fmla="*/ 28 h 228"/>
                <a:gd name="T20" fmla="*/ 54 w 230"/>
                <a:gd name="T21" fmla="*/ 17 h 228"/>
                <a:gd name="T22" fmla="*/ 78 w 230"/>
                <a:gd name="T23" fmla="*/ 0 h 228"/>
                <a:gd name="T24" fmla="*/ 150 w 230"/>
                <a:gd name="T25" fmla="*/ 0 h 228"/>
                <a:gd name="T26" fmla="*/ 161 w 230"/>
                <a:gd name="T27" fmla="*/ 1 h 228"/>
                <a:gd name="T28" fmla="*/ 199 w 230"/>
                <a:gd name="T29" fmla="*/ 42 h 228"/>
                <a:gd name="T30" fmla="*/ 213 w 230"/>
                <a:gd name="T31" fmla="*/ 56 h 228"/>
                <a:gd name="T32" fmla="*/ 226 w 230"/>
                <a:gd name="T33" fmla="*/ 72 h 228"/>
                <a:gd name="T34" fmla="*/ 223 w 230"/>
                <a:gd name="T35" fmla="*/ 177 h 228"/>
                <a:gd name="T36" fmla="*/ 222 w 230"/>
                <a:gd name="T37" fmla="*/ 181 h 228"/>
                <a:gd name="T38" fmla="*/ 218 w 230"/>
                <a:gd name="T39" fmla="*/ 192 h 228"/>
                <a:gd name="T40" fmla="*/ 173 w 230"/>
                <a:gd name="T41" fmla="*/ 224 h 228"/>
                <a:gd name="T42" fmla="*/ 126 w 230"/>
                <a:gd name="T43" fmla="*/ 223 h 228"/>
                <a:gd name="T44" fmla="*/ 126 w 230"/>
                <a:gd name="T45" fmla="*/ 224 h 228"/>
                <a:gd name="T46" fmla="*/ 55 w 230"/>
                <a:gd name="T47" fmla="*/ 111 h 228"/>
                <a:gd name="T48" fmla="*/ 55 w 230"/>
                <a:gd name="T49" fmla="*/ 149 h 228"/>
                <a:gd name="T50" fmla="*/ 74 w 230"/>
                <a:gd name="T51" fmla="*/ 169 h 228"/>
                <a:gd name="T52" fmla="*/ 144 w 230"/>
                <a:gd name="T53" fmla="*/ 169 h 228"/>
                <a:gd name="T54" fmla="*/ 172 w 230"/>
                <a:gd name="T55" fmla="*/ 149 h 228"/>
                <a:gd name="T56" fmla="*/ 178 w 230"/>
                <a:gd name="T57" fmla="*/ 141 h 228"/>
                <a:gd name="T58" fmla="*/ 178 w 230"/>
                <a:gd name="T59" fmla="*/ 83 h 228"/>
                <a:gd name="T60" fmla="*/ 172 w 230"/>
                <a:gd name="T61" fmla="*/ 74 h 228"/>
                <a:gd name="T62" fmla="*/ 148 w 230"/>
                <a:gd name="T63" fmla="*/ 55 h 228"/>
                <a:gd name="T64" fmla="*/ 110 w 230"/>
                <a:gd name="T65" fmla="*/ 55 h 228"/>
                <a:gd name="T66" fmla="*/ 55 w 230"/>
                <a:gd name="T6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0" h="228">
                  <a:moveTo>
                    <a:pt x="126" y="224"/>
                  </a:moveTo>
                  <a:cubicBezTo>
                    <a:pt x="110" y="224"/>
                    <a:pt x="94" y="224"/>
                    <a:pt x="78" y="224"/>
                  </a:cubicBezTo>
                  <a:cubicBezTo>
                    <a:pt x="74" y="224"/>
                    <a:pt x="67" y="225"/>
                    <a:pt x="66" y="223"/>
                  </a:cubicBezTo>
                  <a:cubicBezTo>
                    <a:pt x="57" y="205"/>
                    <a:pt x="38" y="199"/>
                    <a:pt x="28" y="183"/>
                  </a:cubicBezTo>
                  <a:cubicBezTo>
                    <a:pt x="25" y="179"/>
                    <a:pt x="26" y="170"/>
                    <a:pt x="19" y="169"/>
                  </a:cubicBezTo>
                  <a:cubicBezTo>
                    <a:pt x="2" y="167"/>
                    <a:pt x="1" y="156"/>
                    <a:pt x="0" y="143"/>
                  </a:cubicBezTo>
                  <a:cubicBezTo>
                    <a:pt x="0" y="124"/>
                    <a:pt x="0" y="105"/>
                    <a:pt x="1" y="85"/>
                  </a:cubicBezTo>
                  <a:cubicBezTo>
                    <a:pt x="2" y="72"/>
                    <a:pt x="0" y="56"/>
                    <a:pt x="20" y="54"/>
                  </a:cubicBezTo>
                  <a:cubicBezTo>
                    <a:pt x="26" y="53"/>
                    <a:pt x="26" y="47"/>
                    <a:pt x="27" y="43"/>
                  </a:cubicBezTo>
                  <a:cubicBezTo>
                    <a:pt x="27" y="33"/>
                    <a:pt x="32" y="28"/>
                    <a:pt x="42" y="28"/>
                  </a:cubicBezTo>
                  <a:cubicBezTo>
                    <a:pt x="48" y="27"/>
                    <a:pt x="54" y="25"/>
                    <a:pt x="54" y="17"/>
                  </a:cubicBezTo>
                  <a:cubicBezTo>
                    <a:pt x="55" y="1"/>
                    <a:pt x="65" y="0"/>
                    <a:pt x="78" y="0"/>
                  </a:cubicBezTo>
                  <a:cubicBezTo>
                    <a:pt x="102" y="1"/>
                    <a:pt x="126" y="0"/>
                    <a:pt x="150" y="0"/>
                  </a:cubicBezTo>
                  <a:cubicBezTo>
                    <a:pt x="154" y="0"/>
                    <a:pt x="161" y="0"/>
                    <a:pt x="161" y="1"/>
                  </a:cubicBezTo>
                  <a:cubicBezTo>
                    <a:pt x="168" y="20"/>
                    <a:pt x="191" y="25"/>
                    <a:pt x="199" y="42"/>
                  </a:cubicBezTo>
                  <a:cubicBezTo>
                    <a:pt x="202" y="49"/>
                    <a:pt x="204" y="55"/>
                    <a:pt x="213" y="56"/>
                  </a:cubicBezTo>
                  <a:cubicBezTo>
                    <a:pt x="223" y="56"/>
                    <a:pt x="226" y="63"/>
                    <a:pt x="226" y="72"/>
                  </a:cubicBezTo>
                  <a:cubicBezTo>
                    <a:pt x="226" y="107"/>
                    <a:pt x="230" y="142"/>
                    <a:pt x="223" y="177"/>
                  </a:cubicBezTo>
                  <a:cubicBezTo>
                    <a:pt x="223" y="179"/>
                    <a:pt x="223" y="180"/>
                    <a:pt x="222" y="181"/>
                  </a:cubicBezTo>
                  <a:cubicBezTo>
                    <a:pt x="221" y="185"/>
                    <a:pt x="219" y="192"/>
                    <a:pt x="218" y="192"/>
                  </a:cubicBezTo>
                  <a:cubicBezTo>
                    <a:pt x="192" y="186"/>
                    <a:pt x="200" y="228"/>
                    <a:pt x="173" y="224"/>
                  </a:cubicBezTo>
                  <a:cubicBezTo>
                    <a:pt x="158" y="221"/>
                    <a:pt x="142" y="223"/>
                    <a:pt x="126" y="223"/>
                  </a:cubicBezTo>
                  <a:cubicBezTo>
                    <a:pt x="126" y="223"/>
                    <a:pt x="126" y="224"/>
                    <a:pt x="126" y="224"/>
                  </a:cubicBezTo>
                  <a:close/>
                  <a:moveTo>
                    <a:pt x="55" y="111"/>
                  </a:moveTo>
                  <a:cubicBezTo>
                    <a:pt x="55" y="124"/>
                    <a:pt x="56" y="136"/>
                    <a:pt x="55" y="149"/>
                  </a:cubicBezTo>
                  <a:cubicBezTo>
                    <a:pt x="55" y="162"/>
                    <a:pt x="61" y="167"/>
                    <a:pt x="74" y="169"/>
                  </a:cubicBezTo>
                  <a:cubicBezTo>
                    <a:pt x="97" y="173"/>
                    <a:pt x="120" y="168"/>
                    <a:pt x="144" y="169"/>
                  </a:cubicBezTo>
                  <a:cubicBezTo>
                    <a:pt x="158" y="169"/>
                    <a:pt x="172" y="169"/>
                    <a:pt x="172" y="149"/>
                  </a:cubicBezTo>
                  <a:cubicBezTo>
                    <a:pt x="172" y="146"/>
                    <a:pt x="175" y="143"/>
                    <a:pt x="178" y="141"/>
                  </a:cubicBezTo>
                  <a:cubicBezTo>
                    <a:pt x="202" y="126"/>
                    <a:pt x="202" y="98"/>
                    <a:pt x="178" y="83"/>
                  </a:cubicBezTo>
                  <a:cubicBezTo>
                    <a:pt x="174" y="81"/>
                    <a:pt x="171" y="78"/>
                    <a:pt x="172" y="74"/>
                  </a:cubicBezTo>
                  <a:cubicBezTo>
                    <a:pt x="172" y="57"/>
                    <a:pt x="161" y="55"/>
                    <a:pt x="148" y="55"/>
                  </a:cubicBezTo>
                  <a:cubicBezTo>
                    <a:pt x="135" y="56"/>
                    <a:pt x="122" y="55"/>
                    <a:pt x="110" y="55"/>
                  </a:cubicBezTo>
                  <a:cubicBezTo>
                    <a:pt x="47" y="57"/>
                    <a:pt x="56" y="46"/>
                    <a:pt x="55"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28" name="Freeform 25">
              <a:extLst>
                <a:ext uri="{FF2B5EF4-FFF2-40B4-BE49-F238E27FC236}">
                  <a16:creationId xmlns:a16="http://schemas.microsoft.com/office/drawing/2014/main" id="{BA54F56B-3176-71ED-7FC5-F0D48FB7EFA3}"/>
                </a:ext>
              </a:extLst>
            </p:cNvPr>
            <p:cNvSpPr>
              <a:spLocks noEditPoints="1"/>
            </p:cNvSpPr>
            <p:nvPr/>
          </p:nvSpPr>
          <p:spPr bwMode="auto">
            <a:xfrm>
              <a:off x="5891213" y="3240088"/>
              <a:ext cx="47625" cy="47625"/>
            </a:xfrm>
            <a:custGeom>
              <a:avLst/>
              <a:gdLst>
                <a:gd name="T0" fmla="*/ 125 w 224"/>
                <a:gd name="T1" fmla="*/ 1 h 224"/>
                <a:gd name="T2" fmla="*/ 175 w 224"/>
                <a:gd name="T3" fmla="*/ 1 h 224"/>
                <a:gd name="T4" fmla="*/ 196 w 224"/>
                <a:gd name="T5" fmla="*/ 18 h 224"/>
                <a:gd name="T6" fmla="*/ 218 w 224"/>
                <a:gd name="T7" fmla="*/ 57 h 224"/>
                <a:gd name="T8" fmla="*/ 224 w 224"/>
                <a:gd name="T9" fmla="*/ 71 h 224"/>
                <a:gd name="T10" fmla="*/ 223 w 224"/>
                <a:gd name="T11" fmla="*/ 153 h 224"/>
                <a:gd name="T12" fmla="*/ 223 w 224"/>
                <a:gd name="T13" fmla="*/ 159 h 224"/>
                <a:gd name="T14" fmla="*/ 182 w 224"/>
                <a:gd name="T15" fmla="*/ 196 h 224"/>
                <a:gd name="T16" fmla="*/ 168 w 224"/>
                <a:gd name="T17" fmla="*/ 209 h 224"/>
                <a:gd name="T18" fmla="*/ 151 w 224"/>
                <a:gd name="T19" fmla="*/ 223 h 224"/>
                <a:gd name="T20" fmla="*/ 73 w 224"/>
                <a:gd name="T21" fmla="*/ 223 h 224"/>
                <a:gd name="T22" fmla="*/ 65 w 224"/>
                <a:gd name="T23" fmla="*/ 222 h 224"/>
                <a:gd name="T24" fmla="*/ 28 w 224"/>
                <a:gd name="T25" fmla="*/ 180 h 224"/>
                <a:gd name="T26" fmla="*/ 15 w 224"/>
                <a:gd name="T27" fmla="*/ 168 h 224"/>
                <a:gd name="T28" fmla="*/ 0 w 224"/>
                <a:gd name="T29" fmla="*/ 151 h 224"/>
                <a:gd name="T30" fmla="*/ 0 w 224"/>
                <a:gd name="T31" fmla="*/ 73 h 224"/>
                <a:gd name="T32" fmla="*/ 1 w 224"/>
                <a:gd name="T33" fmla="*/ 65 h 224"/>
                <a:gd name="T34" fmla="*/ 42 w 224"/>
                <a:gd name="T35" fmla="*/ 28 h 224"/>
                <a:gd name="T36" fmla="*/ 55 w 224"/>
                <a:gd name="T37" fmla="*/ 16 h 224"/>
                <a:gd name="T38" fmla="*/ 75 w 224"/>
                <a:gd name="T39" fmla="*/ 0 h 224"/>
                <a:gd name="T40" fmla="*/ 125 w 224"/>
                <a:gd name="T41" fmla="*/ 0 h 224"/>
                <a:gd name="T42" fmla="*/ 125 w 224"/>
                <a:gd name="T43" fmla="*/ 1 h 224"/>
                <a:gd name="T44" fmla="*/ 169 w 224"/>
                <a:gd name="T45" fmla="*/ 112 h 224"/>
                <a:gd name="T46" fmla="*/ 169 w 224"/>
                <a:gd name="T47" fmla="*/ 112 h 224"/>
                <a:gd name="T48" fmla="*/ 169 w 224"/>
                <a:gd name="T49" fmla="*/ 98 h 224"/>
                <a:gd name="T50" fmla="*/ 145 w 224"/>
                <a:gd name="T51" fmla="*/ 53 h 224"/>
                <a:gd name="T52" fmla="*/ 139 w 224"/>
                <a:gd name="T53" fmla="*/ 40 h 224"/>
                <a:gd name="T54" fmla="*/ 130 w 224"/>
                <a:gd name="T55" fmla="*/ 29 h 224"/>
                <a:gd name="T56" fmla="*/ 114 w 224"/>
                <a:gd name="T57" fmla="*/ 34 h 224"/>
                <a:gd name="T58" fmla="*/ 77 w 224"/>
                <a:gd name="T59" fmla="*/ 55 h 224"/>
                <a:gd name="T60" fmla="*/ 55 w 224"/>
                <a:gd name="T61" fmla="*/ 78 h 224"/>
                <a:gd name="T62" fmla="*/ 53 w 224"/>
                <a:gd name="T63" fmla="*/ 92 h 224"/>
                <a:gd name="T64" fmla="*/ 75 w 224"/>
                <a:gd name="T65" fmla="*/ 143 h 224"/>
                <a:gd name="T66" fmla="*/ 80 w 224"/>
                <a:gd name="T67" fmla="*/ 154 h 224"/>
                <a:gd name="T68" fmla="*/ 99 w 224"/>
                <a:gd name="T69" fmla="*/ 169 h 224"/>
                <a:gd name="T70" fmla="*/ 133 w 224"/>
                <a:gd name="T71" fmla="*/ 169 h 224"/>
                <a:gd name="T72" fmla="*/ 169 w 224"/>
                <a:gd name="T73" fmla="*/ 132 h 224"/>
                <a:gd name="T74" fmla="*/ 169 w 224"/>
                <a:gd name="T75" fmla="*/ 11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4" h="224">
                  <a:moveTo>
                    <a:pt x="125" y="1"/>
                  </a:moveTo>
                  <a:cubicBezTo>
                    <a:pt x="142" y="1"/>
                    <a:pt x="159" y="1"/>
                    <a:pt x="175" y="1"/>
                  </a:cubicBezTo>
                  <a:cubicBezTo>
                    <a:pt x="188" y="0"/>
                    <a:pt x="195" y="4"/>
                    <a:pt x="196" y="18"/>
                  </a:cubicBezTo>
                  <a:cubicBezTo>
                    <a:pt x="197" y="34"/>
                    <a:pt x="199" y="51"/>
                    <a:pt x="218" y="57"/>
                  </a:cubicBezTo>
                  <a:cubicBezTo>
                    <a:pt x="224" y="59"/>
                    <a:pt x="224" y="66"/>
                    <a:pt x="224" y="71"/>
                  </a:cubicBezTo>
                  <a:cubicBezTo>
                    <a:pt x="224" y="98"/>
                    <a:pt x="223" y="126"/>
                    <a:pt x="223" y="153"/>
                  </a:cubicBezTo>
                  <a:cubicBezTo>
                    <a:pt x="223" y="155"/>
                    <a:pt x="223" y="159"/>
                    <a:pt x="223" y="159"/>
                  </a:cubicBezTo>
                  <a:cubicBezTo>
                    <a:pt x="203" y="165"/>
                    <a:pt x="199" y="188"/>
                    <a:pt x="182" y="196"/>
                  </a:cubicBezTo>
                  <a:cubicBezTo>
                    <a:pt x="175" y="199"/>
                    <a:pt x="168" y="200"/>
                    <a:pt x="168" y="209"/>
                  </a:cubicBezTo>
                  <a:cubicBezTo>
                    <a:pt x="168" y="221"/>
                    <a:pt x="161" y="224"/>
                    <a:pt x="151" y="223"/>
                  </a:cubicBezTo>
                  <a:cubicBezTo>
                    <a:pt x="125" y="223"/>
                    <a:pt x="99" y="223"/>
                    <a:pt x="73" y="223"/>
                  </a:cubicBezTo>
                  <a:cubicBezTo>
                    <a:pt x="70" y="223"/>
                    <a:pt x="65" y="223"/>
                    <a:pt x="65" y="222"/>
                  </a:cubicBezTo>
                  <a:cubicBezTo>
                    <a:pt x="62" y="200"/>
                    <a:pt x="33" y="200"/>
                    <a:pt x="28" y="180"/>
                  </a:cubicBezTo>
                  <a:cubicBezTo>
                    <a:pt x="26" y="172"/>
                    <a:pt x="23" y="168"/>
                    <a:pt x="15" y="168"/>
                  </a:cubicBezTo>
                  <a:cubicBezTo>
                    <a:pt x="4" y="167"/>
                    <a:pt x="0" y="161"/>
                    <a:pt x="0" y="151"/>
                  </a:cubicBezTo>
                  <a:cubicBezTo>
                    <a:pt x="1" y="125"/>
                    <a:pt x="0" y="99"/>
                    <a:pt x="0" y="73"/>
                  </a:cubicBezTo>
                  <a:cubicBezTo>
                    <a:pt x="0" y="70"/>
                    <a:pt x="0" y="65"/>
                    <a:pt x="1" y="65"/>
                  </a:cubicBezTo>
                  <a:cubicBezTo>
                    <a:pt x="21" y="59"/>
                    <a:pt x="25" y="35"/>
                    <a:pt x="42" y="28"/>
                  </a:cubicBezTo>
                  <a:cubicBezTo>
                    <a:pt x="49" y="25"/>
                    <a:pt x="55" y="24"/>
                    <a:pt x="55" y="16"/>
                  </a:cubicBezTo>
                  <a:cubicBezTo>
                    <a:pt x="56" y="2"/>
                    <a:pt x="64" y="0"/>
                    <a:pt x="75" y="0"/>
                  </a:cubicBezTo>
                  <a:cubicBezTo>
                    <a:pt x="92" y="0"/>
                    <a:pt x="109" y="0"/>
                    <a:pt x="125" y="0"/>
                  </a:cubicBezTo>
                  <a:cubicBezTo>
                    <a:pt x="125" y="0"/>
                    <a:pt x="125" y="1"/>
                    <a:pt x="125" y="1"/>
                  </a:cubicBezTo>
                  <a:close/>
                  <a:moveTo>
                    <a:pt x="169" y="112"/>
                  </a:moveTo>
                  <a:cubicBezTo>
                    <a:pt x="169" y="112"/>
                    <a:pt x="169" y="112"/>
                    <a:pt x="169" y="112"/>
                  </a:cubicBezTo>
                  <a:cubicBezTo>
                    <a:pt x="169" y="107"/>
                    <a:pt x="170" y="102"/>
                    <a:pt x="169" y="98"/>
                  </a:cubicBezTo>
                  <a:cubicBezTo>
                    <a:pt x="166" y="80"/>
                    <a:pt x="178" y="55"/>
                    <a:pt x="145" y="53"/>
                  </a:cubicBezTo>
                  <a:cubicBezTo>
                    <a:pt x="140" y="53"/>
                    <a:pt x="140" y="45"/>
                    <a:pt x="139" y="40"/>
                  </a:cubicBezTo>
                  <a:cubicBezTo>
                    <a:pt x="139" y="34"/>
                    <a:pt x="136" y="29"/>
                    <a:pt x="130" y="29"/>
                  </a:cubicBezTo>
                  <a:cubicBezTo>
                    <a:pt x="123" y="28"/>
                    <a:pt x="116" y="27"/>
                    <a:pt x="114" y="34"/>
                  </a:cubicBezTo>
                  <a:cubicBezTo>
                    <a:pt x="108" y="54"/>
                    <a:pt x="91" y="54"/>
                    <a:pt x="77" y="55"/>
                  </a:cubicBezTo>
                  <a:cubicBezTo>
                    <a:pt x="61" y="56"/>
                    <a:pt x="55" y="63"/>
                    <a:pt x="55" y="78"/>
                  </a:cubicBezTo>
                  <a:cubicBezTo>
                    <a:pt x="55" y="83"/>
                    <a:pt x="52" y="88"/>
                    <a:pt x="53" y="92"/>
                  </a:cubicBezTo>
                  <a:cubicBezTo>
                    <a:pt x="57" y="110"/>
                    <a:pt x="43" y="136"/>
                    <a:pt x="75" y="143"/>
                  </a:cubicBezTo>
                  <a:cubicBezTo>
                    <a:pt x="79" y="144"/>
                    <a:pt x="79" y="150"/>
                    <a:pt x="80" y="154"/>
                  </a:cubicBezTo>
                  <a:cubicBezTo>
                    <a:pt x="80" y="166"/>
                    <a:pt x="88" y="169"/>
                    <a:pt x="99" y="169"/>
                  </a:cubicBezTo>
                  <a:cubicBezTo>
                    <a:pt x="110" y="168"/>
                    <a:pt x="121" y="169"/>
                    <a:pt x="133" y="169"/>
                  </a:cubicBezTo>
                  <a:cubicBezTo>
                    <a:pt x="168" y="168"/>
                    <a:pt x="168" y="168"/>
                    <a:pt x="169" y="132"/>
                  </a:cubicBezTo>
                  <a:cubicBezTo>
                    <a:pt x="169" y="125"/>
                    <a:pt x="169" y="118"/>
                    <a:pt x="169"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sp>
        <p:nvSpPr>
          <p:cNvPr id="529" name="TextBox 96">
            <a:extLst>
              <a:ext uri="{FF2B5EF4-FFF2-40B4-BE49-F238E27FC236}">
                <a16:creationId xmlns:a16="http://schemas.microsoft.com/office/drawing/2014/main" id="{2B641CF3-FD51-DC67-2131-9425907988A3}"/>
              </a:ext>
            </a:extLst>
          </p:cNvPr>
          <p:cNvSpPr txBox="1"/>
          <p:nvPr/>
        </p:nvSpPr>
        <p:spPr>
          <a:xfrm>
            <a:off x="9933031" y="2307679"/>
            <a:ext cx="1657505" cy="502958"/>
          </a:xfrm>
          <a:prstGeom prst="rect">
            <a:avLst/>
          </a:prstGeom>
          <a:noFill/>
        </p:spPr>
        <p:txBody>
          <a:bodyPr wrap="none" lIns="0" tIns="0" rIns="0" bIns="0" rtlCol="0" anchor="t">
            <a:spAutoFit/>
          </a:bodyPr>
          <a:lstStyle>
            <a:defPPr>
              <a:defRPr lang="es-ES"/>
            </a:defPPr>
            <a:lvl1pPr>
              <a:defRPr sz="2800" b="1">
                <a:solidFill>
                  <a:srgbClr val="01426A"/>
                </a:solidFill>
                <a:latin typeface="Calibri" panose="020F0502020204030204" pitchFamily="34" charset="0"/>
              </a:defRPr>
            </a:lvl1pPr>
          </a:lstStyle>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lang="pt" kern="0" dirty="0">
                <a:solidFill>
                  <a:srgbClr val="00A3E0"/>
                </a:solidFill>
                <a:latin typeface="+mn-lt"/>
                <a:cs typeface="Calibri"/>
                <a:sym typeface="Arial"/>
              </a:rPr>
              <a:t>95</a:t>
            </a:r>
          </a:p>
          <a:p>
            <a:pPr algn="ctr">
              <a:lnSpc>
                <a:spcPts val="2000"/>
              </a:lnSpc>
              <a:defRPr/>
            </a:pPr>
            <a:r>
              <a:rPr lang="pt" sz="1600" b="0">
                <a:solidFill>
                  <a:srgbClr val="000000"/>
                </a:solidFill>
                <a:latin typeface="+mn-lt"/>
                <a:cs typeface="Calibri"/>
              </a:rPr>
              <a:t>Centrais de serviços</a:t>
            </a:r>
          </a:p>
        </p:txBody>
      </p:sp>
      <p:sp>
        <p:nvSpPr>
          <p:cNvPr id="530" name="Retângulo: Cantos Diagonais Arredondados 320">
            <a:extLst>
              <a:ext uri="{FF2B5EF4-FFF2-40B4-BE49-F238E27FC236}">
                <a16:creationId xmlns:a16="http://schemas.microsoft.com/office/drawing/2014/main" id="{4B564B3D-F20C-F710-F337-6757D47212A5}"/>
              </a:ext>
            </a:extLst>
          </p:cNvPr>
          <p:cNvSpPr/>
          <p:nvPr/>
        </p:nvSpPr>
        <p:spPr>
          <a:xfrm rot="16200000">
            <a:off x="9606471" y="770203"/>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sp>
        <p:nvSpPr>
          <p:cNvPr id="533" name="TextBox 127">
            <a:extLst>
              <a:ext uri="{FF2B5EF4-FFF2-40B4-BE49-F238E27FC236}">
                <a16:creationId xmlns:a16="http://schemas.microsoft.com/office/drawing/2014/main" id="{C3C788E3-4DE3-E245-8BF8-340249D1A25F}"/>
              </a:ext>
            </a:extLst>
          </p:cNvPr>
          <p:cNvSpPr txBox="1"/>
          <p:nvPr/>
        </p:nvSpPr>
        <p:spPr>
          <a:xfrm>
            <a:off x="7581210" y="2401139"/>
            <a:ext cx="512961" cy="502958"/>
          </a:xfrm>
          <a:prstGeom prst="rect">
            <a:avLst/>
          </a:prstGeom>
          <a:noFill/>
        </p:spPr>
        <p:txBody>
          <a:bodyPr wrap="none" lIns="0" tIns="0" rIns="0" bIns="0" rtlCol="0">
            <a:spAutoFit/>
          </a:bodyPr>
          <a:lstStyle>
            <a:defPPr>
              <a:defRPr lang="es-ES"/>
            </a:defPPr>
            <a:lvl1pPr>
              <a:defRPr sz="2800" b="1">
                <a:solidFill>
                  <a:srgbClr val="01426A"/>
                </a:solidFill>
                <a:latin typeface="Calibri" panose="020F0502020204030204" pitchFamily="34" charset="0"/>
              </a:defRPr>
            </a:lvl1pPr>
          </a:lstStyle>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kumimoji="0" lang="pt" sz="2800" b="1" i="0" u="none" strike="noStrike" kern="0" cap="none" spc="0" normalizeH="0" baseline="0" noProof="0" dirty="0">
                <a:ln>
                  <a:noFill/>
                </a:ln>
                <a:solidFill>
                  <a:srgbClr val="FF7900"/>
                </a:solidFill>
                <a:effectLst/>
                <a:uLnTx/>
                <a:uFillTx/>
                <a:latin typeface="+mn-lt"/>
                <a:cs typeface="Calibri" panose="020F0502020204030204" pitchFamily="34" charset="0"/>
                <a:sym typeface="Arial"/>
              </a:rPr>
              <a:t>17</a:t>
            </a:r>
          </a:p>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kumimoji="0" lang="pt" sz="1600" b="0" i="0" u="none" strike="noStrike" kern="0" cap="none" spc="0" normalizeH="0" baseline="0" noProof="0" dirty="0">
                <a:ln>
                  <a:noFill/>
                </a:ln>
                <a:solidFill>
                  <a:srgbClr val="000000">
                    <a:lumMod val="50000"/>
                    <a:lumOff val="50000"/>
                  </a:srgbClr>
                </a:solidFill>
                <a:effectLst/>
                <a:uLnTx/>
                <a:uFillTx/>
                <a:latin typeface="+mn-lt"/>
                <a:cs typeface="Calibri" panose="020F0502020204030204" pitchFamily="34" charset="0"/>
                <a:sym typeface="Arial"/>
              </a:rPr>
              <a:t>Países</a:t>
            </a:r>
          </a:p>
        </p:txBody>
      </p:sp>
      <p:grpSp>
        <p:nvGrpSpPr>
          <p:cNvPr id="534" name="Group 136">
            <a:extLst>
              <a:ext uri="{FF2B5EF4-FFF2-40B4-BE49-F238E27FC236}">
                <a16:creationId xmlns:a16="http://schemas.microsoft.com/office/drawing/2014/main" id="{A861BE80-E840-B3B1-E520-B6A05FC8CBE2}"/>
              </a:ext>
            </a:extLst>
          </p:cNvPr>
          <p:cNvGrpSpPr>
            <a:grpSpLocks noChangeAspect="1"/>
          </p:cNvGrpSpPr>
          <p:nvPr/>
        </p:nvGrpSpPr>
        <p:grpSpPr>
          <a:xfrm>
            <a:off x="7037123" y="1126025"/>
            <a:ext cx="1594663" cy="1019935"/>
            <a:chOff x="1715671" y="1811338"/>
            <a:chExt cx="7505701" cy="4800600"/>
          </a:xfrm>
          <a:solidFill>
            <a:srgbClr val="FF7900"/>
          </a:solidFill>
        </p:grpSpPr>
        <p:sp>
          <p:nvSpPr>
            <p:cNvPr id="535" name="Freeform 7">
              <a:extLst>
                <a:ext uri="{FF2B5EF4-FFF2-40B4-BE49-F238E27FC236}">
                  <a16:creationId xmlns:a16="http://schemas.microsoft.com/office/drawing/2014/main" id="{6844598A-0091-6574-F89B-AF461A17B616}"/>
                </a:ext>
              </a:extLst>
            </p:cNvPr>
            <p:cNvSpPr>
              <a:spLocks noEditPoints="1"/>
            </p:cNvSpPr>
            <p:nvPr/>
          </p:nvSpPr>
          <p:spPr bwMode="auto">
            <a:xfrm>
              <a:off x="2358609" y="1884363"/>
              <a:ext cx="1831975" cy="2400300"/>
            </a:xfrm>
            <a:custGeom>
              <a:avLst/>
              <a:gdLst/>
              <a:ahLst/>
              <a:cxnLst>
                <a:cxn ang="0">
                  <a:pos x="561" y="821"/>
                </a:cxn>
                <a:cxn ang="0">
                  <a:pos x="843" y="1471"/>
                </a:cxn>
                <a:cxn ang="0">
                  <a:pos x="691" y="1392"/>
                </a:cxn>
                <a:cxn ang="0">
                  <a:pos x="431" y="1375"/>
                </a:cxn>
                <a:cxn ang="0">
                  <a:pos x="176" y="1311"/>
                </a:cxn>
                <a:cxn ang="0">
                  <a:pos x="28" y="1124"/>
                </a:cxn>
                <a:cxn ang="0">
                  <a:pos x="130" y="807"/>
                </a:cxn>
                <a:cxn ang="0">
                  <a:pos x="208" y="820"/>
                </a:cxn>
                <a:cxn ang="0">
                  <a:pos x="430" y="908"/>
                </a:cxn>
                <a:cxn ang="0">
                  <a:pos x="565" y="872"/>
                </a:cxn>
                <a:cxn ang="0">
                  <a:pos x="587" y="815"/>
                </a:cxn>
                <a:cxn ang="0">
                  <a:pos x="663" y="875"/>
                </a:cxn>
                <a:cxn ang="0">
                  <a:pos x="780" y="860"/>
                </a:cxn>
                <a:cxn ang="0">
                  <a:pos x="670" y="954"/>
                </a:cxn>
                <a:cxn ang="0">
                  <a:pos x="616" y="1091"/>
                </a:cxn>
                <a:cxn ang="0">
                  <a:pos x="769" y="1271"/>
                </a:cxn>
                <a:cxn ang="0">
                  <a:pos x="830" y="1238"/>
                </a:cxn>
                <a:cxn ang="0">
                  <a:pos x="873" y="1066"/>
                </a:cxn>
                <a:cxn ang="0">
                  <a:pos x="977" y="1159"/>
                </a:cxn>
                <a:cxn ang="0">
                  <a:pos x="1040" y="1222"/>
                </a:cxn>
                <a:cxn ang="0">
                  <a:pos x="1112" y="1297"/>
                </a:cxn>
                <a:cxn ang="0">
                  <a:pos x="925" y="1409"/>
                </a:cxn>
                <a:cxn ang="0">
                  <a:pos x="1000" y="1428"/>
                </a:cxn>
                <a:cxn ang="0">
                  <a:pos x="1027" y="1455"/>
                </a:cxn>
                <a:cxn ang="0">
                  <a:pos x="983" y="1478"/>
                </a:cxn>
                <a:cxn ang="0">
                  <a:pos x="995" y="1441"/>
                </a:cxn>
                <a:cxn ang="0">
                  <a:pos x="471" y="731"/>
                </a:cxn>
                <a:cxn ang="0">
                  <a:pos x="416" y="857"/>
                </a:cxn>
                <a:cxn ang="0">
                  <a:pos x="315" y="766"/>
                </a:cxn>
                <a:cxn ang="0">
                  <a:pos x="855" y="999"/>
                </a:cxn>
                <a:cxn ang="0">
                  <a:pos x="869" y="855"/>
                </a:cxn>
                <a:cxn ang="0">
                  <a:pos x="772" y="816"/>
                </a:cxn>
                <a:cxn ang="0">
                  <a:pos x="696" y="656"/>
                </a:cxn>
                <a:cxn ang="0">
                  <a:pos x="746" y="663"/>
                </a:cxn>
                <a:cxn ang="0">
                  <a:pos x="874" y="746"/>
                </a:cxn>
                <a:cxn ang="0">
                  <a:pos x="970" y="844"/>
                </a:cxn>
                <a:cxn ang="0">
                  <a:pos x="1029" y="939"/>
                </a:cxn>
                <a:cxn ang="0">
                  <a:pos x="973" y="992"/>
                </a:cxn>
                <a:cxn ang="0">
                  <a:pos x="970" y="1074"/>
                </a:cxn>
                <a:cxn ang="0">
                  <a:pos x="560" y="676"/>
                </a:cxn>
                <a:cxn ang="0">
                  <a:pos x="661" y="647"/>
                </a:cxn>
                <a:cxn ang="0">
                  <a:pos x="262" y="618"/>
                </a:cxn>
                <a:cxn ang="0">
                  <a:pos x="707" y="566"/>
                </a:cxn>
                <a:cxn ang="0">
                  <a:pos x="681" y="598"/>
                </a:cxn>
                <a:cxn ang="0">
                  <a:pos x="513" y="512"/>
                </a:cxn>
                <a:cxn ang="0">
                  <a:pos x="387" y="560"/>
                </a:cxn>
                <a:cxn ang="0">
                  <a:pos x="351" y="602"/>
                </a:cxn>
                <a:cxn ang="0">
                  <a:pos x="256" y="527"/>
                </a:cxn>
                <a:cxn ang="0">
                  <a:pos x="366" y="450"/>
                </a:cxn>
                <a:cxn ang="0">
                  <a:pos x="465" y="331"/>
                </a:cxn>
                <a:cxn ang="0">
                  <a:pos x="678" y="403"/>
                </a:cxn>
                <a:cxn ang="0">
                  <a:pos x="640" y="186"/>
                </a:cxn>
                <a:cxn ang="0">
                  <a:pos x="853" y="8"/>
                </a:cxn>
                <a:cxn ang="0">
                  <a:pos x="974" y="182"/>
                </a:cxn>
                <a:cxn ang="0">
                  <a:pos x="804" y="461"/>
                </a:cxn>
                <a:cxn ang="0">
                  <a:pos x="695" y="473"/>
                </a:cxn>
                <a:cxn ang="0">
                  <a:pos x="760" y="285"/>
                </a:cxn>
                <a:cxn ang="0">
                  <a:pos x="724" y="1022"/>
                </a:cxn>
                <a:cxn ang="0">
                  <a:pos x="744" y="1025"/>
                </a:cxn>
                <a:cxn ang="0">
                  <a:pos x="1119" y="1327"/>
                </a:cxn>
                <a:cxn ang="0">
                  <a:pos x="1149" y="1405"/>
                </a:cxn>
                <a:cxn ang="0">
                  <a:pos x="1069" y="1400"/>
                </a:cxn>
                <a:cxn ang="0">
                  <a:pos x="224" y="1387"/>
                </a:cxn>
              </a:cxnLst>
              <a:rect l="0" t="0" r="r" b="b"/>
              <a:pathLst>
                <a:path w="1154" h="1512">
                  <a:moveTo>
                    <a:pt x="111" y="1287"/>
                  </a:moveTo>
                  <a:lnTo>
                    <a:pt x="105" y="1279"/>
                  </a:lnTo>
                  <a:lnTo>
                    <a:pt x="104" y="1275"/>
                  </a:lnTo>
                  <a:lnTo>
                    <a:pt x="104" y="1270"/>
                  </a:lnTo>
                  <a:lnTo>
                    <a:pt x="104" y="1270"/>
                  </a:lnTo>
                  <a:lnTo>
                    <a:pt x="107" y="1270"/>
                  </a:lnTo>
                  <a:lnTo>
                    <a:pt x="109" y="1270"/>
                  </a:lnTo>
                  <a:lnTo>
                    <a:pt x="113" y="1271"/>
                  </a:lnTo>
                  <a:lnTo>
                    <a:pt x="117" y="1270"/>
                  </a:lnTo>
                  <a:lnTo>
                    <a:pt x="119" y="1272"/>
                  </a:lnTo>
                  <a:lnTo>
                    <a:pt x="120" y="1273"/>
                  </a:lnTo>
                  <a:lnTo>
                    <a:pt x="118" y="1276"/>
                  </a:lnTo>
                  <a:lnTo>
                    <a:pt x="117" y="1281"/>
                  </a:lnTo>
                  <a:lnTo>
                    <a:pt x="117" y="1284"/>
                  </a:lnTo>
                  <a:lnTo>
                    <a:pt x="114" y="1285"/>
                  </a:lnTo>
                  <a:lnTo>
                    <a:pt x="111" y="1287"/>
                  </a:lnTo>
                  <a:close/>
                  <a:moveTo>
                    <a:pt x="846" y="912"/>
                  </a:moveTo>
                  <a:lnTo>
                    <a:pt x="838" y="911"/>
                  </a:lnTo>
                  <a:lnTo>
                    <a:pt x="836" y="909"/>
                  </a:lnTo>
                  <a:lnTo>
                    <a:pt x="835" y="905"/>
                  </a:lnTo>
                  <a:lnTo>
                    <a:pt x="834" y="898"/>
                  </a:lnTo>
                  <a:lnTo>
                    <a:pt x="835" y="891"/>
                  </a:lnTo>
                  <a:lnTo>
                    <a:pt x="840" y="881"/>
                  </a:lnTo>
                  <a:lnTo>
                    <a:pt x="843" y="877"/>
                  </a:lnTo>
                  <a:lnTo>
                    <a:pt x="851" y="874"/>
                  </a:lnTo>
                  <a:lnTo>
                    <a:pt x="857" y="877"/>
                  </a:lnTo>
                  <a:lnTo>
                    <a:pt x="861" y="882"/>
                  </a:lnTo>
                  <a:lnTo>
                    <a:pt x="861" y="889"/>
                  </a:lnTo>
                  <a:lnTo>
                    <a:pt x="861" y="901"/>
                  </a:lnTo>
                  <a:lnTo>
                    <a:pt x="859" y="905"/>
                  </a:lnTo>
                  <a:lnTo>
                    <a:pt x="853" y="910"/>
                  </a:lnTo>
                  <a:lnTo>
                    <a:pt x="846" y="912"/>
                  </a:lnTo>
                  <a:close/>
                  <a:moveTo>
                    <a:pt x="582" y="868"/>
                  </a:moveTo>
                  <a:lnTo>
                    <a:pt x="578" y="868"/>
                  </a:lnTo>
                  <a:lnTo>
                    <a:pt x="573" y="865"/>
                  </a:lnTo>
                  <a:lnTo>
                    <a:pt x="567" y="863"/>
                  </a:lnTo>
                  <a:lnTo>
                    <a:pt x="560" y="858"/>
                  </a:lnTo>
                  <a:lnTo>
                    <a:pt x="555" y="855"/>
                  </a:lnTo>
                  <a:lnTo>
                    <a:pt x="551" y="854"/>
                  </a:lnTo>
                  <a:lnTo>
                    <a:pt x="544" y="851"/>
                  </a:lnTo>
                  <a:lnTo>
                    <a:pt x="547" y="846"/>
                  </a:lnTo>
                  <a:lnTo>
                    <a:pt x="556" y="839"/>
                  </a:lnTo>
                  <a:lnTo>
                    <a:pt x="558" y="836"/>
                  </a:lnTo>
                  <a:lnTo>
                    <a:pt x="559" y="825"/>
                  </a:lnTo>
                  <a:lnTo>
                    <a:pt x="561" y="821"/>
                  </a:lnTo>
                  <a:lnTo>
                    <a:pt x="566" y="820"/>
                  </a:lnTo>
                  <a:lnTo>
                    <a:pt x="570" y="823"/>
                  </a:lnTo>
                  <a:lnTo>
                    <a:pt x="579" y="833"/>
                  </a:lnTo>
                  <a:lnTo>
                    <a:pt x="586" y="839"/>
                  </a:lnTo>
                  <a:lnTo>
                    <a:pt x="586" y="844"/>
                  </a:lnTo>
                  <a:lnTo>
                    <a:pt x="588" y="849"/>
                  </a:lnTo>
                  <a:lnTo>
                    <a:pt x="595" y="857"/>
                  </a:lnTo>
                  <a:lnTo>
                    <a:pt x="593" y="859"/>
                  </a:lnTo>
                  <a:lnTo>
                    <a:pt x="586" y="867"/>
                  </a:lnTo>
                  <a:lnTo>
                    <a:pt x="582" y="868"/>
                  </a:lnTo>
                  <a:close/>
                  <a:moveTo>
                    <a:pt x="965" y="1448"/>
                  </a:moveTo>
                  <a:lnTo>
                    <a:pt x="964" y="1449"/>
                  </a:lnTo>
                  <a:lnTo>
                    <a:pt x="963" y="1447"/>
                  </a:lnTo>
                  <a:lnTo>
                    <a:pt x="964" y="1446"/>
                  </a:lnTo>
                  <a:lnTo>
                    <a:pt x="964" y="1444"/>
                  </a:lnTo>
                  <a:lnTo>
                    <a:pt x="965" y="1444"/>
                  </a:lnTo>
                  <a:lnTo>
                    <a:pt x="964" y="1442"/>
                  </a:lnTo>
                  <a:lnTo>
                    <a:pt x="963" y="1442"/>
                  </a:lnTo>
                  <a:lnTo>
                    <a:pt x="960" y="1440"/>
                  </a:lnTo>
                  <a:lnTo>
                    <a:pt x="960" y="1438"/>
                  </a:lnTo>
                  <a:lnTo>
                    <a:pt x="958" y="1414"/>
                  </a:lnTo>
                  <a:lnTo>
                    <a:pt x="957" y="1412"/>
                  </a:lnTo>
                  <a:lnTo>
                    <a:pt x="954" y="1409"/>
                  </a:lnTo>
                  <a:lnTo>
                    <a:pt x="950" y="1409"/>
                  </a:lnTo>
                  <a:lnTo>
                    <a:pt x="948" y="1411"/>
                  </a:lnTo>
                  <a:lnTo>
                    <a:pt x="945" y="1410"/>
                  </a:lnTo>
                  <a:lnTo>
                    <a:pt x="942" y="1407"/>
                  </a:lnTo>
                  <a:lnTo>
                    <a:pt x="940" y="1406"/>
                  </a:lnTo>
                  <a:lnTo>
                    <a:pt x="937" y="1411"/>
                  </a:lnTo>
                  <a:lnTo>
                    <a:pt x="934" y="1416"/>
                  </a:lnTo>
                  <a:lnTo>
                    <a:pt x="927" y="1435"/>
                  </a:lnTo>
                  <a:lnTo>
                    <a:pt x="921" y="1447"/>
                  </a:lnTo>
                  <a:lnTo>
                    <a:pt x="914" y="1446"/>
                  </a:lnTo>
                  <a:lnTo>
                    <a:pt x="911" y="1447"/>
                  </a:lnTo>
                  <a:lnTo>
                    <a:pt x="909" y="1450"/>
                  </a:lnTo>
                  <a:lnTo>
                    <a:pt x="908" y="1454"/>
                  </a:lnTo>
                  <a:lnTo>
                    <a:pt x="902" y="1453"/>
                  </a:lnTo>
                  <a:lnTo>
                    <a:pt x="891" y="1453"/>
                  </a:lnTo>
                  <a:lnTo>
                    <a:pt x="876" y="1453"/>
                  </a:lnTo>
                  <a:lnTo>
                    <a:pt x="866" y="1453"/>
                  </a:lnTo>
                  <a:lnTo>
                    <a:pt x="860" y="1457"/>
                  </a:lnTo>
                  <a:lnTo>
                    <a:pt x="857" y="1459"/>
                  </a:lnTo>
                  <a:lnTo>
                    <a:pt x="847" y="1466"/>
                  </a:lnTo>
                  <a:lnTo>
                    <a:pt x="843" y="1468"/>
                  </a:lnTo>
                  <a:lnTo>
                    <a:pt x="843" y="1471"/>
                  </a:lnTo>
                  <a:lnTo>
                    <a:pt x="841" y="1475"/>
                  </a:lnTo>
                  <a:lnTo>
                    <a:pt x="839" y="1477"/>
                  </a:lnTo>
                  <a:lnTo>
                    <a:pt x="832" y="1479"/>
                  </a:lnTo>
                  <a:lnTo>
                    <a:pt x="825" y="1478"/>
                  </a:lnTo>
                  <a:lnTo>
                    <a:pt x="818" y="1478"/>
                  </a:lnTo>
                  <a:lnTo>
                    <a:pt x="813" y="1478"/>
                  </a:lnTo>
                  <a:lnTo>
                    <a:pt x="810" y="1480"/>
                  </a:lnTo>
                  <a:lnTo>
                    <a:pt x="809" y="1483"/>
                  </a:lnTo>
                  <a:lnTo>
                    <a:pt x="809" y="1486"/>
                  </a:lnTo>
                  <a:lnTo>
                    <a:pt x="810" y="1490"/>
                  </a:lnTo>
                  <a:lnTo>
                    <a:pt x="810" y="1493"/>
                  </a:lnTo>
                  <a:lnTo>
                    <a:pt x="805" y="1496"/>
                  </a:lnTo>
                  <a:lnTo>
                    <a:pt x="796" y="1499"/>
                  </a:lnTo>
                  <a:lnTo>
                    <a:pt x="791" y="1501"/>
                  </a:lnTo>
                  <a:lnTo>
                    <a:pt x="785" y="1501"/>
                  </a:lnTo>
                  <a:lnTo>
                    <a:pt x="780" y="1504"/>
                  </a:lnTo>
                  <a:lnTo>
                    <a:pt x="775" y="1507"/>
                  </a:lnTo>
                  <a:lnTo>
                    <a:pt x="769" y="1511"/>
                  </a:lnTo>
                  <a:lnTo>
                    <a:pt x="766" y="1512"/>
                  </a:lnTo>
                  <a:lnTo>
                    <a:pt x="763" y="1511"/>
                  </a:lnTo>
                  <a:lnTo>
                    <a:pt x="760" y="1510"/>
                  </a:lnTo>
                  <a:lnTo>
                    <a:pt x="757" y="1507"/>
                  </a:lnTo>
                  <a:lnTo>
                    <a:pt x="757" y="1504"/>
                  </a:lnTo>
                  <a:lnTo>
                    <a:pt x="758" y="1502"/>
                  </a:lnTo>
                  <a:lnTo>
                    <a:pt x="762" y="1498"/>
                  </a:lnTo>
                  <a:lnTo>
                    <a:pt x="765" y="1496"/>
                  </a:lnTo>
                  <a:lnTo>
                    <a:pt x="766" y="1493"/>
                  </a:lnTo>
                  <a:lnTo>
                    <a:pt x="768" y="1488"/>
                  </a:lnTo>
                  <a:lnTo>
                    <a:pt x="770" y="1484"/>
                  </a:lnTo>
                  <a:lnTo>
                    <a:pt x="770" y="1477"/>
                  </a:lnTo>
                  <a:lnTo>
                    <a:pt x="770" y="1473"/>
                  </a:lnTo>
                  <a:lnTo>
                    <a:pt x="765" y="1447"/>
                  </a:lnTo>
                  <a:lnTo>
                    <a:pt x="750" y="1438"/>
                  </a:lnTo>
                  <a:lnTo>
                    <a:pt x="748" y="1435"/>
                  </a:lnTo>
                  <a:lnTo>
                    <a:pt x="749" y="1433"/>
                  </a:lnTo>
                  <a:lnTo>
                    <a:pt x="747" y="1431"/>
                  </a:lnTo>
                  <a:lnTo>
                    <a:pt x="742" y="1429"/>
                  </a:lnTo>
                  <a:lnTo>
                    <a:pt x="741" y="1427"/>
                  </a:lnTo>
                  <a:lnTo>
                    <a:pt x="739" y="1426"/>
                  </a:lnTo>
                  <a:lnTo>
                    <a:pt x="736" y="1426"/>
                  </a:lnTo>
                  <a:lnTo>
                    <a:pt x="733" y="1422"/>
                  </a:lnTo>
                  <a:lnTo>
                    <a:pt x="733" y="1418"/>
                  </a:lnTo>
                  <a:lnTo>
                    <a:pt x="720" y="1409"/>
                  </a:lnTo>
                  <a:lnTo>
                    <a:pt x="697" y="1395"/>
                  </a:lnTo>
                  <a:lnTo>
                    <a:pt x="691" y="1392"/>
                  </a:lnTo>
                  <a:lnTo>
                    <a:pt x="686" y="1390"/>
                  </a:lnTo>
                  <a:lnTo>
                    <a:pt x="681" y="1391"/>
                  </a:lnTo>
                  <a:lnTo>
                    <a:pt x="673" y="1397"/>
                  </a:lnTo>
                  <a:lnTo>
                    <a:pt x="669" y="1396"/>
                  </a:lnTo>
                  <a:lnTo>
                    <a:pt x="665" y="1396"/>
                  </a:lnTo>
                  <a:lnTo>
                    <a:pt x="664" y="1395"/>
                  </a:lnTo>
                  <a:lnTo>
                    <a:pt x="663" y="1394"/>
                  </a:lnTo>
                  <a:lnTo>
                    <a:pt x="661" y="1394"/>
                  </a:lnTo>
                  <a:lnTo>
                    <a:pt x="655" y="1394"/>
                  </a:lnTo>
                  <a:lnTo>
                    <a:pt x="654" y="1393"/>
                  </a:lnTo>
                  <a:lnTo>
                    <a:pt x="654" y="1391"/>
                  </a:lnTo>
                  <a:lnTo>
                    <a:pt x="652" y="1391"/>
                  </a:lnTo>
                  <a:lnTo>
                    <a:pt x="649" y="1393"/>
                  </a:lnTo>
                  <a:lnTo>
                    <a:pt x="648" y="1394"/>
                  </a:lnTo>
                  <a:lnTo>
                    <a:pt x="645" y="1395"/>
                  </a:lnTo>
                  <a:lnTo>
                    <a:pt x="642" y="1394"/>
                  </a:lnTo>
                  <a:lnTo>
                    <a:pt x="642" y="1393"/>
                  </a:lnTo>
                  <a:lnTo>
                    <a:pt x="639" y="1392"/>
                  </a:lnTo>
                  <a:lnTo>
                    <a:pt x="637" y="1389"/>
                  </a:lnTo>
                  <a:lnTo>
                    <a:pt x="634" y="1389"/>
                  </a:lnTo>
                  <a:lnTo>
                    <a:pt x="633" y="1391"/>
                  </a:lnTo>
                  <a:lnTo>
                    <a:pt x="631" y="1387"/>
                  </a:lnTo>
                  <a:lnTo>
                    <a:pt x="630" y="1387"/>
                  </a:lnTo>
                  <a:lnTo>
                    <a:pt x="630" y="1386"/>
                  </a:lnTo>
                  <a:lnTo>
                    <a:pt x="621" y="1384"/>
                  </a:lnTo>
                  <a:lnTo>
                    <a:pt x="618" y="1384"/>
                  </a:lnTo>
                  <a:lnTo>
                    <a:pt x="613" y="1381"/>
                  </a:lnTo>
                  <a:lnTo>
                    <a:pt x="611" y="1376"/>
                  </a:lnTo>
                  <a:lnTo>
                    <a:pt x="609" y="1373"/>
                  </a:lnTo>
                  <a:lnTo>
                    <a:pt x="604" y="1366"/>
                  </a:lnTo>
                  <a:lnTo>
                    <a:pt x="601" y="1367"/>
                  </a:lnTo>
                  <a:lnTo>
                    <a:pt x="601" y="1370"/>
                  </a:lnTo>
                  <a:lnTo>
                    <a:pt x="604" y="1375"/>
                  </a:lnTo>
                  <a:lnTo>
                    <a:pt x="600" y="1375"/>
                  </a:lnTo>
                  <a:lnTo>
                    <a:pt x="584" y="1375"/>
                  </a:lnTo>
                  <a:lnTo>
                    <a:pt x="568" y="1375"/>
                  </a:lnTo>
                  <a:lnTo>
                    <a:pt x="560" y="1375"/>
                  </a:lnTo>
                  <a:lnTo>
                    <a:pt x="547" y="1375"/>
                  </a:lnTo>
                  <a:lnTo>
                    <a:pt x="530" y="1375"/>
                  </a:lnTo>
                  <a:lnTo>
                    <a:pt x="514" y="1375"/>
                  </a:lnTo>
                  <a:lnTo>
                    <a:pt x="501" y="1375"/>
                  </a:lnTo>
                  <a:lnTo>
                    <a:pt x="484" y="1375"/>
                  </a:lnTo>
                  <a:lnTo>
                    <a:pt x="481" y="1375"/>
                  </a:lnTo>
                  <a:lnTo>
                    <a:pt x="452" y="1375"/>
                  </a:lnTo>
                  <a:lnTo>
                    <a:pt x="431" y="1375"/>
                  </a:lnTo>
                  <a:lnTo>
                    <a:pt x="426" y="1375"/>
                  </a:lnTo>
                  <a:lnTo>
                    <a:pt x="403" y="1375"/>
                  </a:lnTo>
                  <a:lnTo>
                    <a:pt x="397" y="1375"/>
                  </a:lnTo>
                  <a:lnTo>
                    <a:pt x="372" y="1375"/>
                  </a:lnTo>
                  <a:lnTo>
                    <a:pt x="368" y="1375"/>
                  </a:lnTo>
                  <a:lnTo>
                    <a:pt x="338" y="1375"/>
                  </a:lnTo>
                  <a:lnTo>
                    <a:pt x="328" y="1375"/>
                  </a:lnTo>
                  <a:lnTo>
                    <a:pt x="311" y="1375"/>
                  </a:lnTo>
                  <a:lnTo>
                    <a:pt x="288" y="1375"/>
                  </a:lnTo>
                  <a:lnTo>
                    <a:pt x="261" y="1375"/>
                  </a:lnTo>
                  <a:lnTo>
                    <a:pt x="253" y="1375"/>
                  </a:lnTo>
                  <a:lnTo>
                    <a:pt x="238" y="1375"/>
                  </a:lnTo>
                  <a:lnTo>
                    <a:pt x="237" y="1375"/>
                  </a:lnTo>
                  <a:lnTo>
                    <a:pt x="236" y="1373"/>
                  </a:lnTo>
                  <a:lnTo>
                    <a:pt x="233" y="1370"/>
                  </a:lnTo>
                  <a:lnTo>
                    <a:pt x="232" y="1367"/>
                  </a:lnTo>
                  <a:lnTo>
                    <a:pt x="233" y="1364"/>
                  </a:lnTo>
                  <a:lnTo>
                    <a:pt x="229" y="1366"/>
                  </a:lnTo>
                  <a:lnTo>
                    <a:pt x="226" y="1366"/>
                  </a:lnTo>
                  <a:lnTo>
                    <a:pt x="225" y="1363"/>
                  </a:lnTo>
                  <a:lnTo>
                    <a:pt x="224" y="1358"/>
                  </a:lnTo>
                  <a:lnTo>
                    <a:pt x="223" y="1357"/>
                  </a:lnTo>
                  <a:lnTo>
                    <a:pt x="221" y="1357"/>
                  </a:lnTo>
                  <a:lnTo>
                    <a:pt x="219" y="1359"/>
                  </a:lnTo>
                  <a:lnTo>
                    <a:pt x="216" y="1360"/>
                  </a:lnTo>
                  <a:lnTo>
                    <a:pt x="212" y="1355"/>
                  </a:lnTo>
                  <a:lnTo>
                    <a:pt x="211" y="1351"/>
                  </a:lnTo>
                  <a:lnTo>
                    <a:pt x="210" y="1344"/>
                  </a:lnTo>
                  <a:lnTo>
                    <a:pt x="204" y="1345"/>
                  </a:lnTo>
                  <a:lnTo>
                    <a:pt x="198" y="1342"/>
                  </a:lnTo>
                  <a:lnTo>
                    <a:pt x="195" y="1341"/>
                  </a:lnTo>
                  <a:lnTo>
                    <a:pt x="194" y="1340"/>
                  </a:lnTo>
                  <a:lnTo>
                    <a:pt x="193" y="1337"/>
                  </a:lnTo>
                  <a:lnTo>
                    <a:pt x="191" y="1334"/>
                  </a:lnTo>
                  <a:lnTo>
                    <a:pt x="187" y="1336"/>
                  </a:lnTo>
                  <a:lnTo>
                    <a:pt x="180" y="1336"/>
                  </a:lnTo>
                  <a:lnTo>
                    <a:pt x="177" y="1335"/>
                  </a:lnTo>
                  <a:lnTo>
                    <a:pt x="175" y="1333"/>
                  </a:lnTo>
                  <a:lnTo>
                    <a:pt x="175" y="1330"/>
                  </a:lnTo>
                  <a:lnTo>
                    <a:pt x="176" y="1324"/>
                  </a:lnTo>
                  <a:lnTo>
                    <a:pt x="179" y="1322"/>
                  </a:lnTo>
                  <a:lnTo>
                    <a:pt x="177" y="1319"/>
                  </a:lnTo>
                  <a:lnTo>
                    <a:pt x="170" y="1318"/>
                  </a:lnTo>
                  <a:lnTo>
                    <a:pt x="174" y="1313"/>
                  </a:lnTo>
                  <a:lnTo>
                    <a:pt x="176" y="1311"/>
                  </a:lnTo>
                  <a:lnTo>
                    <a:pt x="179" y="1309"/>
                  </a:lnTo>
                  <a:lnTo>
                    <a:pt x="183" y="1304"/>
                  </a:lnTo>
                  <a:lnTo>
                    <a:pt x="178" y="1304"/>
                  </a:lnTo>
                  <a:lnTo>
                    <a:pt x="174" y="1306"/>
                  </a:lnTo>
                  <a:lnTo>
                    <a:pt x="172" y="1306"/>
                  </a:lnTo>
                  <a:lnTo>
                    <a:pt x="169" y="1304"/>
                  </a:lnTo>
                  <a:lnTo>
                    <a:pt x="169" y="1294"/>
                  </a:lnTo>
                  <a:lnTo>
                    <a:pt x="165" y="1294"/>
                  </a:lnTo>
                  <a:lnTo>
                    <a:pt x="159" y="1284"/>
                  </a:lnTo>
                  <a:lnTo>
                    <a:pt x="160" y="1282"/>
                  </a:lnTo>
                  <a:lnTo>
                    <a:pt x="160" y="1276"/>
                  </a:lnTo>
                  <a:lnTo>
                    <a:pt x="156" y="1277"/>
                  </a:lnTo>
                  <a:lnTo>
                    <a:pt x="151" y="1282"/>
                  </a:lnTo>
                  <a:lnTo>
                    <a:pt x="144" y="1272"/>
                  </a:lnTo>
                  <a:lnTo>
                    <a:pt x="142" y="1267"/>
                  </a:lnTo>
                  <a:lnTo>
                    <a:pt x="141" y="1263"/>
                  </a:lnTo>
                  <a:lnTo>
                    <a:pt x="140" y="1259"/>
                  </a:lnTo>
                  <a:lnTo>
                    <a:pt x="143" y="1255"/>
                  </a:lnTo>
                  <a:lnTo>
                    <a:pt x="144" y="1252"/>
                  </a:lnTo>
                  <a:lnTo>
                    <a:pt x="146" y="1249"/>
                  </a:lnTo>
                  <a:lnTo>
                    <a:pt x="144" y="1242"/>
                  </a:lnTo>
                  <a:lnTo>
                    <a:pt x="142" y="1234"/>
                  </a:lnTo>
                  <a:lnTo>
                    <a:pt x="143" y="1225"/>
                  </a:lnTo>
                  <a:lnTo>
                    <a:pt x="141" y="1223"/>
                  </a:lnTo>
                  <a:lnTo>
                    <a:pt x="129" y="1215"/>
                  </a:lnTo>
                  <a:lnTo>
                    <a:pt x="123" y="1211"/>
                  </a:lnTo>
                  <a:lnTo>
                    <a:pt x="122" y="1211"/>
                  </a:lnTo>
                  <a:lnTo>
                    <a:pt x="119" y="1207"/>
                  </a:lnTo>
                  <a:lnTo>
                    <a:pt x="109" y="1186"/>
                  </a:lnTo>
                  <a:lnTo>
                    <a:pt x="99" y="1167"/>
                  </a:lnTo>
                  <a:lnTo>
                    <a:pt x="94" y="1160"/>
                  </a:lnTo>
                  <a:lnTo>
                    <a:pt x="82" y="1147"/>
                  </a:lnTo>
                  <a:lnTo>
                    <a:pt x="79" y="1143"/>
                  </a:lnTo>
                  <a:lnTo>
                    <a:pt x="78" y="1138"/>
                  </a:lnTo>
                  <a:lnTo>
                    <a:pt x="76" y="1135"/>
                  </a:lnTo>
                  <a:lnTo>
                    <a:pt x="70" y="1134"/>
                  </a:lnTo>
                  <a:lnTo>
                    <a:pt x="68" y="1136"/>
                  </a:lnTo>
                  <a:lnTo>
                    <a:pt x="63" y="1142"/>
                  </a:lnTo>
                  <a:lnTo>
                    <a:pt x="56" y="1149"/>
                  </a:lnTo>
                  <a:lnTo>
                    <a:pt x="51" y="1151"/>
                  </a:lnTo>
                  <a:lnTo>
                    <a:pt x="50" y="1155"/>
                  </a:lnTo>
                  <a:lnTo>
                    <a:pt x="44" y="1148"/>
                  </a:lnTo>
                  <a:lnTo>
                    <a:pt x="31" y="1132"/>
                  </a:lnTo>
                  <a:lnTo>
                    <a:pt x="30" y="1129"/>
                  </a:lnTo>
                  <a:lnTo>
                    <a:pt x="28" y="1124"/>
                  </a:lnTo>
                  <a:lnTo>
                    <a:pt x="27" y="1120"/>
                  </a:lnTo>
                  <a:lnTo>
                    <a:pt x="22" y="1119"/>
                  </a:lnTo>
                  <a:lnTo>
                    <a:pt x="8" y="1120"/>
                  </a:lnTo>
                  <a:lnTo>
                    <a:pt x="3" y="1120"/>
                  </a:lnTo>
                  <a:lnTo>
                    <a:pt x="2" y="1116"/>
                  </a:lnTo>
                  <a:lnTo>
                    <a:pt x="1" y="1104"/>
                  </a:lnTo>
                  <a:lnTo>
                    <a:pt x="1" y="1077"/>
                  </a:lnTo>
                  <a:lnTo>
                    <a:pt x="1" y="1021"/>
                  </a:lnTo>
                  <a:lnTo>
                    <a:pt x="1" y="992"/>
                  </a:lnTo>
                  <a:lnTo>
                    <a:pt x="1" y="952"/>
                  </a:lnTo>
                  <a:lnTo>
                    <a:pt x="1" y="918"/>
                  </a:lnTo>
                  <a:lnTo>
                    <a:pt x="0" y="883"/>
                  </a:lnTo>
                  <a:lnTo>
                    <a:pt x="0" y="836"/>
                  </a:lnTo>
                  <a:lnTo>
                    <a:pt x="0" y="828"/>
                  </a:lnTo>
                  <a:lnTo>
                    <a:pt x="4" y="829"/>
                  </a:lnTo>
                  <a:lnTo>
                    <a:pt x="9" y="827"/>
                  </a:lnTo>
                  <a:lnTo>
                    <a:pt x="15" y="829"/>
                  </a:lnTo>
                  <a:lnTo>
                    <a:pt x="27" y="837"/>
                  </a:lnTo>
                  <a:lnTo>
                    <a:pt x="36" y="845"/>
                  </a:lnTo>
                  <a:lnTo>
                    <a:pt x="43" y="850"/>
                  </a:lnTo>
                  <a:lnTo>
                    <a:pt x="49" y="852"/>
                  </a:lnTo>
                  <a:lnTo>
                    <a:pt x="54" y="852"/>
                  </a:lnTo>
                  <a:lnTo>
                    <a:pt x="63" y="855"/>
                  </a:lnTo>
                  <a:lnTo>
                    <a:pt x="69" y="859"/>
                  </a:lnTo>
                  <a:lnTo>
                    <a:pt x="71" y="861"/>
                  </a:lnTo>
                  <a:lnTo>
                    <a:pt x="72" y="860"/>
                  </a:lnTo>
                  <a:lnTo>
                    <a:pt x="70" y="851"/>
                  </a:lnTo>
                  <a:lnTo>
                    <a:pt x="68" y="847"/>
                  </a:lnTo>
                  <a:lnTo>
                    <a:pt x="66" y="845"/>
                  </a:lnTo>
                  <a:lnTo>
                    <a:pt x="65" y="838"/>
                  </a:lnTo>
                  <a:lnTo>
                    <a:pt x="73" y="831"/>
                  </a:lnTo>
                  <a:lnTo>
                    <a:pt x="78" y="832"/>
                  </a:lnTo>
                  <a:lnTo>
                    <a:pt x="81" y="831"/>
                  </a:lnTo>
                  <a:lnTo>
                    <a:pt x="82" y="829"/>
                  </a:lnTo>
                  <a:lnTo>
                    <a:pt x="92" y="832"/>
                  </a:lnTo>
                  <a:lnTo>
                    <a:pt x="97" y="832"/>
                  </a:lnTo>
                  <a:lnTo>
                    <a:pt x="103" y="826"/>
                  </a:lnTo>
                  <a:lnTo>
                    <a:pt x="105" y="822"/>
                  </a:lnTo>
                  <a:lnTo>
                    <a:pt x="108" y="822"/>
                  </a:lnTo>
                  <a:lnTo>
                    <a:pt x="111" y="818"/>
                  </a:lnTo>
                  <a:lnTo>
                    <a:pt x="116" y="817"/>
                  </a:lnTo>
                  <a:lnTo>
                    <a:pt x="121" y="816"/>
                  </a:lnTo>
                  <a:lnTo>
                    <a:pt x="125" y="814"/>
                  </a:lnTo>
                  <a:lnTo>
                    <a:pt x="128" y="810"/>
                  </a:lnTo>
                  <a:lnTo>
                    <a:pt x="130" y="807"/>
                  </a:lnTo>
                  <a:lnTo>
                    <a:pt x="135" y="805"/>
                  </a:lnTo>
                  <a:lnTo>
                    <a:pt x="141" y="805"/>
                  </a:lnTo>
                  <a:lnTo>
                    <a:pt x="146" y="807"/>
                  </a:lnTo>
                  <a:lnTo>
                    <a:pt x="144" y="814"/>
                  </a:lnTo>
                  <a:lnTo>
                    <a:pt x="141" y="816"/>
                  </a:lnTo>
                  <a:lnTo>
                    <a:pt x="135" y="818"/>
                  </a:lnTo>
                  <a:lnTo>
                    <a:pt x="129" y="825"/>
                  </a:lnTo>
                  <a:lnTo>
                    <a:pt x="121" y="828"/>
                  </a:lnTo>
                  <a:lnTo>
                    <a:pt x="114" y="832"/>
                  </a:lnTo>
                  <a:lnTo>
                    <a:pt x="110" y="841"/>
                  </a:lnTo>
                  <a:lnTo>
                    <a:pt x="100" y="845"/>
                  </a:lnTo>
                  <a:lnTo>
                    <a:pt x="96" y="853"/>
                  </a:lnTo>
                  <a:lnTo>
                    <a:pt x="100" y="858"/>
                  </a:lnTo>
                  <a:lnTo>
                    <a:pt x="109" y="870"/>
                  </a:lnTo>
                  <a:lnTo>
                    <a:pt x="108" y="861"/>
                  </a:lnTo>
                  <a:lnTo>
                    <a:pt x="109" y="855"/>
                  </a:lnTo>
                  <a:lnTo>
                    <a:pt x="116" y="851"/>
                  </a:lnTo>
                  <a:lnTo>
                    <a:pt x="118" y="847"/>
                  </a:lnTo>
                  <a:lnTo>
                    <a:pt x="122" y="840"/>
                  </a:lnTo>
                  <a:lnTo>
                    <a:pt x="133" y="839"/>
                  </a:lnTo>
                  <a:lnTo>
                    <a:pt x="138" y="833"/>
                  </a:lnTo>
                  <a:lnTo>
                    <a:pt x="145" y="827"/>
                  </a:lnTo>
                  <a:lnTo>
                    <a:pt x="157" y="824"/>
                  </a:lnTo>
                  <a:lnTo>
                    <a:pt x="161" y="818"/>
                  </a:lnTo>
                  <a:lnTo>
                    <a:pt x="166" y="813"/>
                  </a:lnTo>
                  <a:lnTo>
                    <a:pt x="171" y="810"/>
                  </a:lnTo>
                  <a:lnTo>
                    <a:pt x="174" y="806"/>
                  </a:lnTo>
                  <a:lnTo>
                    <a:pt x="173" y="801"/>
                  </a:lnTo>
                  <a:lnTo>
                    <a:pt x="169" y="794"/>
                  </a:lnTo>
                  <a:lnTo>
                    <a:pt x="165" y="786"/>
                  </a:lnTo>
                  <a:lnTo>
                    <a:pt x="170" y="788"/>
                  </a:lnTo>
                  <a:lnTo>
                    <a:pt x="175" y="793"/>
                  </a:lnTo>
                  <a:lnTo>
                    <a:pt x="179" y="798"/>
                  </a:lnTo>
                  <a:lnTo>
                    <a:pt x="181" y="804"/>
                  </a:lnTo>
                  <a:lnTo>
                    <a:pt x="183" y="812"/>
                  </a:lnTo>
                  <a:lnTo>
                    <a:pt x="186" y="821"/>
                  </a:lnTo>
                  <a:lnTo>
                    <a:pt x="189" y="825"/>
                  </a:lnTo>
                  <a:lnTo>
                    <a:pt x="196" y="833"/>
                  </a:lnTo>
                  <a:lnTo>
                    <a:pt x="197" y="835"/>
                  </a:lnTo>
                  <a:lnTo>
                    <a:pt x="204" y="838"/>
                  </a:lnTo>
                  <a:lnTo>
                    <a:pt x="206" y="838"/>
                  </a:lnTo>
                  <a:lnTo>
                    <a:pt x="207" y="835"/>
                  </a:lnTo>
                  <a:lnTo>
                    <a:pt x="204" y="824"/>
                  </a:lnTo>
                  <a:lnTo>
                    <a:pt x="205" y="820"/>
                  </a:lnTo>
                  <a:lnTo>
                    <a:pt x="208" y="820"/>
                  </a:lnTo>
                  <a:lnTo>
                    <a:pt x="210" y="817"/>
                  </a:lnTo>
                  <a:lnTo>
                    <a:pt x="213" y="815"/>
                  </a:lnTo>
                  <a:lnTo>
                    <a:pt x="216" y="821"/>
                  </a:lnTo>
                  <a:lnTo>
                    <a:pt x="216" y="829"/>
                  </a:lnTo>
                  <a:lnTo>
                    <a:pt x="215" y="833"/>
                  </a:lnTo>
                  <a:lnTo>
                    <a:pt x="220" y="836"/>
                  </a:lnTo>
                  <a:lnTo>
                    <a:pt x="225" y="835"/>
                  </a:lnTo>
                  <a:lnTo>
                    <a:pt x="232" y="827"/>
                  </a:lnTo>
                  <a:lnTo>
                    <a:pt x="235" y="818"/>
                  </a:lnTo>
                  <a:lnTo>
                    <a:pt x="238" y="817"/>
                  </a:lnTo>
                  <a:lnTo>
                    <a:pt x="244" y="817"/>
                  </a:lnTo>
                  <a:lnTo>
                    <a:pt x="253" y="822"/>
                  </a:lnTo>
                  <a:lnTo>
                    <a:pt x="264" y="829"/>
                  </a:lnTo>
                  <a:lnTo>
                    <a:pt x="272" y="835"/>
                  </a:lnTo>
                  <a:lnTo>
                    <a:pt x="284" y="841"/>
                  </a:lnTo>
                  <a:lnTo>
                    <a:pt x="290" y="844"/>
                  </a:lnTo>
                  <a:lnTo>
                    <a:pt x="294" y="845"/>
                  </a:lnTo>
                  <a:lnTo>
                    <a:pt x="303" y="850"/>
                  </a:lnTo>
                  <a:lnTo>
                    <a:pt x="310" y="851"/>
                  </a:lnTo>
                  <a:lnTo>
                    <a:pt x="316" y="854"/>
                  </a:lnTo>
                  <a:lnTo>
                    <a:pt x="323" y="854"/>
                  </a:lnTo>
                  <a:lnTo>
                    <a:pt x="331" y="853"/>
                  </a:lnTo>
                  <a:lnTo>
                    <a:pt x="336" y="854"/>
                  </a:lnTo>
                  <a:lnTo>
                    <a:pt x="342" y="859"/>
                  </a:lnTo>
                  <a:lnTo>
                    <a:pt x="348" y="865"/>
                  </a:lnTo>
                  <a:lnTo>
                    <a:pt x="351" y="869"/>
                  </a:lnTo>
                  <a:lnTo>
                    <a:pt x="352" y="874"/>
                  </a:lnTo>
                  <a:lnTo>
                    <a:pt x="349" y="876"/>
                  </a:lnTo>
                  <a:lnTo>
                    <a:pt x="343" y="875"/>
                  </a:lnTo>
                  <a:lnTo>
                    <a:pt x="340" y="876"/>
                  </a:lnTo>
                  <a:lnTo>
                    <a:pt x="335" y="878"/>
                  </a:lnTo>
                  <a:lnTo>
                    <a:pt x="333" y="890"/>
                  </a:lnTo>
                  <a:lnTo>
                    <a:pt x="352" y="895"/>
                  </a:lnTo>
                  <a:lnTo>
                    <a:pt x="363" y="896"/>
                  </a:lnTo>
                  <a:lnTo>
                    <a:pt x="373" y="897"/>
                  </a:lnTo>
                  <a:lnTo>
                    <a:pt x="378" y="896"/>
                  </a:lnTo>
                  <a:lnTo>
                    <a:pt x="382" y="895"/>
                  </a:lnTo>
                  <a:lnTo>
                    <a:pt x="388" y="892"/>
                  </a:lnTo>
                  <a:lnTo>
                    <a:pt x="393" y="890"/>
                  </a:lnTo>
                  <a:lnTo>
                    <a:pt x="399" y="889"/>
                  </a:lnTo>
                  <a:lnTo>
                    <a:pt x="404" y="889"/>
                  </a:lnTo>
                  <a:lnTo>
                    <a:pt x="412" y="897"/>
                  </a:lnTo>
                  <a:lnTo>
                    <a:pt x="421" y="899"/>
                  </a:lnTo>
                  <a:lnTo>
                    <a:pt x="423" y="901"/>
                  </a:lnTo>
                  <a:lnTo>
                    <a:pt x="430" y="908"/>
                  </a:lnTo>
                  <a:lnTo>
                    <a:pt x="430" y="913"/>
                  </a:lnTo>
                  <a:lnTo>
                    <a:pt x="427" y="914"/>
                  </a:lnTo>
                  <a:lnTo>
                    <a:pt x="425" y="918"/>
                  </a:lnTo>
                  <a:lnTo>
                    <a:pt x="427" y="920"/>
                  </a:lnTo>
                  <a:lnTo>
                    <a:pt x="438" y="935"/>
                  </a:lnTo>
                  <a:lnTo>
                    <a:pt x="437" y="929"/>
                  </a:lnTo>
                  <a:lnTo>
                    <a:pt x="437" y="924"/>
                  </a:lnTo>
                  <a:lnTo>
                    <a:pt x="439" y="923"/>
                  </a:lnTo>
                  <a:lnTo>
                    <a:pt x="443" y="922"/>
                  </a:lnTo>
                  <a:lnTo>
                    <a:pt x="443" y="919"/>
                  </a:lnTo>
                  <a:lnTo>
                    <a:pt x="437" y="909"/>
                  </a:lnTo>
                  <a:lnTo>
                    <a:pt x="436" y="906"/>
                  </a:lnTo>
                  <a:lnTo>
                    <a:pt x="435" y="899"/>
                  </a:lnTo>
                  <a:lnTo>
                    <a:pt x="436" y="887"/>
                  </a:lnTo>
                  <a:lnTo>
                    <a:pt x="438" y="887"/>
                  </a:lnTo>
                  <a:lnTo>
                    <a:pt x="450" y="885"/>
                  </a:lnTo>
                  <a:lnTo>
                    <a:pt x="455" y="882"/>
                  </a:lnTo>
                  <a:lnTo>
                    <a:pt x="456" y="878"/>
                  </a:lnTo>
                  <a:lnTo>
                    <a:pt x="459" y="874"/>
                  </a:lnTo>
                  <a:lnTo>
                    <a:pt x="463" y="874"/>
                  </a:lnTo>
                  <a:lnTo>
                    <a:pt x="469" y="878"/>
                  </a:lnTo>
                  <a:lnTo>
                    <a:pt x="478" y="883"/>
                  </a:lnTo>
                  <a:lnTo>
                    <a:pt x="484" y="883"/>
                  </a:lnTo>
                  <a:lnTo>
                    <a:pt x="489" y="882"/>
                  </a:lnTo>
                  <a:lnTo>
                    <a:pt x="493" y="889"/>
                  </a:lnTo>
                  <a:lnTo>
                    <a:pt x="495" y="890"/>
                  </a:lnTo>
                  <a:lnTo>
                    <a:pt x="500" y="893"/>
                  </a:lnTo>
                  <a:lnTo>
                    <a:pt x="507" y="895"/>
                  </a:lnTo>
                  <a:lnTo>
                    <a:pt x="511" y="896"/>
                  </a:lnTo>
                  <a:lnTo>
                    <a:pt x="518" y="896"/>
                  </a:lnTo>
                  <a:lnTo>
                    <a:pt x="523" y="893"/>
                  </a:lnTo>
                  <a:lnTo>
                    <a:pt x="534" y="893"/>
                  </a:lnTo>
                  <a:lnTo>
                    <a:pt x="544" y="893"/>
                  </a:lnTo>
                  <a:lnTo>
                    <a:pt x="551" y="893"/>
                  </a:lnTo>
                  <a:lnTo>
                    <a:pt x="558" y="888"/>
                  </a:lnTo>
                  <a:lnTo>
                    <a:pt x="563" y="896"/>
                  </a:lnTo>
                  <a:lnTo>
                    <a:pt x="569" y="900"/>
                  </a:lnTo>
                  <a:lnTo>
                    <a:pt x="572" y="900"/>
                  </a:lnTo>
                  <a:lnTo>
                    <a:pt x="573" y="895"/>
                  </a:lnTo>
                  <a:lnTo>
                    <a:pt x="573" y="887"/>
                  </a:lnTo>
                  <a:lnTo>
                    <a:pt x="570" y="884"/>
                  </a:lnTo>
                  <a:lnTo>
                    <a:pt x="565" y="881"/>
                  </a:lnTo>
                  <a:lnTo>
                    <a:pt x="557" y="881"/>
                  </a:lnTo>
                  <a:lnTo>
                    <a:pt x="558" y="873"/>
                  </a:lnTo>
                  <a:lnTo>
                    <a:pt x="565" y="872"/>
                  </a:lnTo>
                  <a:lnTo>
                    <a:pt x="568" y="873"/>
                  </a:lnTo>
                  <a:lnTo>
                    <a:pt x="573" y="877"/>
                  </a:lnTo>
                  <a:lnTo>
                    <a:pt x="578" y="880"/>
                  </a:lnTo>
                  <a:lnTo>
                    <a:pt x="583" y="880"/>
                  </a:lnTo>
                  <a:lnTo>
                    <a:pt x="586" y="884"/>
                  </a:lnTo>
                  <a:lnTo>
                    <a:pt x="586" y="886"/>
                  </a:lnTo>
                  <a:lnTo>
                    <a:pt x="586" y="889"/>
                  </a:lnTo>
                  <a:lnTo>
                    <a:pt x="584" y="902"/>
                  </a:lnTo>
                  <a:lnTo>
                    <a:pt x="585" y="910"/>
                  </a:lnTo>
                  <a:lnTo>
                    <a:pt x="587" y="912"/>
                  </a:lnTo>
                  <a:lnTo>
                    <a:pt x="588" y="913"/>
                  </a:lnTo>
                  <a:lnTo>
                    <a:pt x="592" y="914"/>
                  </a:lnTo>
                  <a:lnTo>
                    <a:pt x="598" y="919"/>
                  </a:lnTo>
                  <a:lnTo>
                    <a:pt x="598" y="911"/>
                  </a:lnTo>
                  <a:lnTo>
                    <a:pt x="595" y="896"/>
                  </a:lnTo>
                  <a:lnTo>
                    <a:pt x="596" y="888"/>
                  </a:lnTo>
                  <a:lnTo>
                    <a:pt x="597" y="884"/>
                  </a:lnTo>
                  <a:lnTo>
                    <a:pt x="601" y="884"/>
                  </a:lnTo>
                  <a:lnTo>
                    <a:pt x="606" y="884"/>
                  </a:lnTo>
                  <a:lnTo>
                    <a:pt x="613" y="870"/>
                  </a:lnTo>
                  <a:lnTo>
                    <a:pt x="616" y="869"/>
                  </a:lnTo>
                  <a:lnTo>
                    <a:pt x="619" y="869"/>
                  </a:lnTo>
                  <a:lnTo>
                    <a:pt x="622" y="867"/>
                  </a:lnTo>
                  <a:lnTo>
                    <a:pt x="622" y="865"/>
                  </a:lnTo>
                  <a:lnTo>
                    <a:pt x="622" y="859"/>
                  </a:lnTo>
                  <a:lnTo>
                    <a:pt x="619" y="853"/>
                  </a:lnTo>
                  <a:lnTo>
                    <a:pt x="618" y="853"/>
                  </a:lnTo>
                  <a:lnTo>
                    <a:pt x="613" y="856"/>
                  </a:lnTo>
                  <a:lnTo>
                    <a:pt x="607" y="855"/>
                  </a:lnTo>
                  <a:lnTo>
                    <a:pt x="610" y="846"/>
                  </a:lnTo>
                  <a:lnTo>
                    <a:pt x="615" y="845"/>
                  </a:lnTo>
                  <a:lnTo>
                    <a:pt x="618" y="842"/>
                  </a:lnTo>
                  <a:lnTo>
                    <a:pt x="621" y="842"/>
                  </a:lnTo>
                  <a:lnTo>
                    <a:pt x="625" y="849"/>
                  </a:lnTo>
                  <a:lnTo>
                    <a:pt x="628" y="852"/>
                  </a:lnTo>
                  <a:lnTo>
                    <a:pt x="628" y="847"/>
                  </a:lnTo>
                  <a:lnTo>
                    <a:pt x="628" y="832"/>
                  </a:lnTo>
                  <a:lnTo>
                    <a:pt x="624" y="833"/>
                  </a:lnTo>
                  <a:lnTo>
                    <a:pt x="618" y="832"/>
                  </a:lnTo>
                  <a:lnTo>
                    <a:pt x="614" y="830"/>
                  </a:lnTo>
                  <a:lnTo>
                    <a:pt x="609" y="825"/>
                  </a:lnTo>
                  <a:lnTo>
                    <a:pt x="605" y="826"/>
                  </a:lnTo>
                  <a:lnTo>
                    <a:pt x="597" y="823"/>
                  </a:lnTo>
                  <a:lnTo>
                    <a:pt x="592" y="819"/>
                  </a:lnTo>
                  <a:lnTo>
                    <a:pt x="587" y="815"/>
                  </a:lnTo>
                  <a:lnTo>
                    <a:pt x="583" y="809"/>
                  </a:lnTo>
                  <a:lnTo>
                    <a:pt x="582" y="807"/>
                  </a:lnTo>
                  <a:lnTo>
                    <a:pt x="582" y="802"/>
                  </a:lnTo>
                  <a:lnTo>
                    <a:pt x="584" y="799"/>
                  </a:lnTo>
                  <a:lnTo>
                    <a:pt x="589" y="791"/>
                  </a:lnTo>
                  <a:lnTo>
                    <a:pt x="586" y="787"/>
                  </a:lnTo>
                  <a:lnTo>
                    <a:pt x="579" y="780"/>
                  </a:lnTo>
                  <a:lnTo>
                    <a:pt x="580" y="776"/>
                  </a:lnTo>
                  <a:lnTo>
                    <a:pt x="583" y="766"/>
                  </a:lnTo>
                  <a:lnTo>
                    <a:pt x="587" y="760"/>
                  </a:lnTo>
                  <a:lnTo>
                    <a:pt x="589" y="760"/>
                  </a:lnTo>
                  <a:lnTo>
                    <a:pt x="595" y="764"/>
                  </a:lnTo>
                  <a:lnTo>
                    <a:pt x="596" y="764"/>
                  </a:lnTo>
                  <a:lnTo>
                    <a:pt x="597" y="757"/>
                  </a:lnTo>
                  <a:lnTo>
                    <a:pt x="593" y="751"/>
                  </a:lnTo>
                  <a:lnTo>
                    <a:pt x="592" y="745"/>
                  </a:lnTo>
                  <a:lnTo>
                    <a:pt x="593" y="745"/>
                  </a:lnTo>
                  <a:lnTo>
                    <a:pt x="596" y="739"/>
                  </a:lnTo>
                  <a:lnTo>
                    <a:pt x="598" y="738"/>
                  </a:lnTo>
                  <a:lnTo>
                    <a:pt x="609" y="737"/>
                  </a:lnTo>
                  <a:lnTo>
                    <a:pt x="612" y="739"/>
                  </a:lnTo>
                  <a:lnTo>
                    <a:pt x="617" y="743"/>
                  </a:lnTo>
                  <a:lnTo>
                    <a:pt x="624" y="751"/>
                  </a:lnTo>
                  <a:lnTo>
                    <a:pt x="627" y="757"/>
                  </a:lnTo>
                  <a:lnTo>
                    <a:pt x="628" y="764"/>
                  </a:lnTo>
                  <a:lnTo>
                    <a:pt x="626" y="775"/>
                  </a:lnTo>
                  <a:lnTo>
                    <a:pt x="634" y="785"/>
                  </a:lnTo>
                  <a:lnTo>
                    <a:pt x="639" y="793"/>
                  </a:lnTo>
                  <a:lnTo>
                    <a:pt x="645" y="802"/>
                  </a:lnTo>
                  <a:lnTo>
                    <a:pt x="643" y="808"/>
                  </a:lnTo>
                  <a:lnTo>
                    <a:pt x="637" y="809"/>
                  </a:lnTo>
                  <a:lnTo>
                    <a:pt x="634" y="813"/>
                  </a:lnTo>
                  <a:lnTo>
                    <a:pt x="632" y="823"/>
                  </a:lnTo>
                  <a:lnTo>
                    <a:pt x="635" y="824"/>
                  </a:lnTo>
                  <a:lnTo>
                    <a:pt x="641" y="828"/>
                  </a:lnTo>
                  <a:lnTo>
                    <a:pt x="646" y="829"/>
                  </a:lnTo>
                  <a:lnTo>
                    <a:pt x="648" y="826"/>
                  </a:lnTo>
                  <a:lnTo>
                    <a:pt x="652" y="826"/>
                  </a:lnTo>
                  <a:lnTo>
                    <a:pt x="660" y="832"/>
                  </a:lnTo>
                  <a:lnTo>
                    <a:pt x="658" y="838"/>
                  </a:lnTo>
                  <a:lnTo>
                    <a:pt x="655" y="842"/>
                  </a:lnTo>
                  <a:lnTo>
                    <a:pt x="655" y="844"/>
                  </a:lnTo>
                  <a:lnTo>
                    <a:pt x="660" y="852"/>
                  </a:lnTo>
                  <a:lnTo>
                    <a:pt x="662" y="862"/>
                  </a:lnTo>
                  <a:lnTo>
                    <a:pt x="663" y="875"/>
                  </a:lnTo>
                  <a:lnTo>
                    <a:pt x="664" y="874"/>
                  </a:lnTo>
                  <a:lnTo>
                    <a:pt x="664" y="874"/>
                  </a:lnTo>
                  <a:lnTo>
                    <a:pt x="667" y="873"/>
                  </a:lnTo>
                  <a:lnTo>
                    <a:pt x="670" y="867"/>
                  </a:lnTo>
                  <a:lnTo>
                    <a:pt x="674" y="849"/>
                  </a:lnTo>
                  <a:lnTo>
                    <a:pt x="678" y="842"/>
                  </a:lnTo>
                  <a:lnTo>
                    <a:pt x="681" y="842"/>
                  </a:lnTo>
                  <a:lnTo>
                    <a:pt x="685" y="847"/>
                  </a:lnTo>
                  <a:lnTo>
                    <a:pt x="692" y="856"/>
                  </a:lnTo>
                  <a:lnTo>
                    <a:pt x="694" y="862"/>
                  </a:lnTo>
                  <a:lnTo>
                    <a:pt x="696" y="869"/>
                  </a:lnTo>
                  <a:lnTo>
                    <a:pt x="695" y="876"/>
                  </a:lnTo>
                  <a:lnTo>
                    <a:pt x="693" y="877"/>
                  </a:lnTo>
                  <a:lnTo>
                    <a:pt x="688" y="875"/>
                  </a:lnTo>
                  <a:lnTo>
                    <a:pt x="687" y="880"/>
                  </a:lnTo>
                  <a:lnTo>
                    <a:pt x="687" y="886"/>
                  </a:lnTo>
                  <a:lnTo>
                    <a:pt x="689" y="893"/>
                  </a:lnTo>
                  <a:lnTo>
                    <a:pt x="696" y="903"/>
                  </a:lnTo>
                  <a:lnTo>
                    <a:pt x="699" y="910"/>
                  </a:lnTo>
                  <a:lnTo>
                    <a:pt x="702" y="914"/>
                  </a:lnTo>
                  <a:lnTo>
                    <a:pt x="705" y="912"/>
                  </a:lnTo>
                  <a:lnTo>
                    <a:pt x="711" y="910"/>
                  </a:lnTo>
                  <a:lnTo>
                    <a:pt x="713" y="908"/>
                  </a:lnTo>
                  <a:lnTo>
                    <a:pt x="714" y="897"/>
                  </a:lnTo>
                  <a:lnTo>
                    <a:pt x="718" y="891"/>
                  </a:lnTo>
                  <a:lnTo>
                    <a:pt x="722" y="885"/>
                  </a:lnTo>
                  <a:lnTo>
                    <a:pt x="723" y="874"/>
                  </a:lnTo>
                  <a:lnTo>
                    <a:pt x="726" y="862"/>
                  </a:lnTo>
                  <a:lnTo>
                    <a:pt x="727" y="859"/>
                  </a:lnTo>
                  <a:lnTo>
                    <a:pt x="735" y="860"/>
                  </a:lnTo>
                  <a:lnTo>
                    <a:pt x="737" y="859"/>
                  </a:lnTo>
                  <a:lnTo>
                    <a:pt x="738" y="851"/>
                  </a:lnTo>
                  <a:lnTo>
                    <a:pt x="732" y="845"/>
                  </a:lnTo>
                  <a:lnTo>
                    <a:pt x="727" y="839"/>
                  </a:lnTo>
                  <a:lnTo>
                    <a:pt x="727" y="824"/>
                  </a:lnTo>
                  <a:lnTo>
                    <a:pt x="731" y="820"/>
                  </a:lnTo>
                  <a:lnTo>
                    <a:pt x="735" y="821"/>
                  </a:lnTo>
                  <a:lnTo>
                    <a:pt x="738" y="820"/>
                  </a:lnTo>
                  <a:lnTo>
                    <a:pt x="741" y="820"/>
                  </a:lnTo>
                  <a:lnTo>
                    <a:pt x="762" y="830"/>
                  </a:lnTo>
                  <a:lnTo>
                    <a:pt x="769" y="841"/>
                  </a:lnTo>
                  <a:lnTo>
                    <a:pt x="772" y="841"/>
                  </a:lnTo>
                  <a:lnTo>
                    <a:pt x="775" y="840"/>
                  </a:lnTo>
                  <a:lnTo>
                    <a:pt x="778" y="844"/>
                  </a:lnTo>
                  <a:lnTo>
                    <a:pt x="780" y="860"/>
                  </a:lnTo>
                  <a:lnTo>
                    <a:pt x="777" y="865"/>
                  </a:lnTo>
                  <a:lnTo>
                    <a:pt x="774" y="866"/>
                  </a:lnTo>
                  <a:lnTo>
                    <a:pt x="773" y="866"/>
                  </a:lnTo>
                  <a:lnTo>
                    <a:pt x="769" y="857"/>
                  </a:lnTo>
                  <a:lnTo>
                    <a:pt x="767" y="857"/>
                  </a:lnTo>
                  <a:lnTo>
                    <a:pt x="762" y="861"/>
                  </a:lnTo>
                  <a:lnTo>
                    <a:pt x="763" y="866"/>
                  </a:lnTo>
                  <a:lnTo>
                    <a:pt x="765" y="875"/>
                  </a:lnTo>
                  <a:lnTo>
                    <a:pt x="769" y="886"/>
                  </a:lnTo>
                  <a:lnTo>
                    <a:pt x="774" y="895"/>
                  </a:lnTo>
                  <a:lnTo>
                    <a:pt x="781" y="904"/>
                  </a:lnTo>
                  <a:lnTo>
                    <a:pt x="781" y="908"/>
                  </a:lnTo>
                  <a:lnTo>
                    <a:pt x="778" y="918"/>
                  </a:lnTo>
                  <a:lnTo>
                    <a:pt x="775" y="921"/>
                  </a:lnTo>
                  <a:lnTo>
                    <a:pt x="767" y="932"/>
                  </a:lnTo>
                  <a:lnTo>
                    <a:pt x="763" y="934"/>
                  </a:lnTo>
                  <a:lnTo>
                    <a:pt x="757" y="941"/>
                  </a:lnTo>
                  <a:lnTo>
                    <a:pt x="752" y="937"/>
                  </a:lnTo>
                  <a:lnTo>
                    <a:pt x="742" y="923"/>
                  </a:lnTo>
                  <a:lnTo>
                    <a:pt x="739" y="919"/>
                  </a:lnTo>
                  <a:lnTo>
                    <a:pt x="736" y="918"/>
                  </a:lnTo>
                  <a:lnTo>
                    <a:pt x="732" y="922"/>
                  </a:lnTo>
                  <a:lnTo>
                    <a:pt x="740" y="930"/>
                  </a:lnTo>
                  <a:lnTo>
                    <a:pt x="749" y="943"/>
                  </a:lnTo>
                  <a:lnTo>
                    <a:pt x="745" y="944"/>
                  </a:lnTo>
                  <a:lnTo>
                    <a:pt x="741" y="943"/>
                  </a:lnTo>
                  <a:lnTo>
                    <a:pt x="733" y="944"/>
                  </a:lnTo>
                  <a:lnTo>
                    <a:pt x="731" y="942"/>
                  </a:lnTo>
                  <a:lnTo>
                    <a:pt x="727" y="933"/>
                  </a:lnTo>
                  <a:lnTo>
                    <a:pt x="720" y="933"/>
                  </a:lnTo>
                  <a:lnTo>
                    <a:pt x="709" y="935"/>
                  </a:lnTo>
                  <a:lnTo>
                    <a:pt x="708" y="938"/>
                  </a:lnTo>
                  <a:lnTo>
                    <a:pt x="712" y="942"/>
                  </a:lnTo>
                  <a:lnTo>
                    <a:pt x="719" y="948"/>
                  </a:lnTo>
                  <a:lnTo>
                    <a:pt x="718" y="951"/>
                  </a:lnTo>
                  <a:lnTo>
                    <a:pt x="715" y="955"/>
                  </a:lnTo>
                  <a:lnTo>
                    <a:pt x="703" y="971"/>
                  </a:lnTo>
                  <a:lnTo>
                    <a:pt x="699" y="974"/>
                  </a:lnTo>
                  <a:lnTo>
                    <a:pt x="696" y="974"/>
                  </a:lnTo>
                  <a:lnTo>
                    <a:pt x="691" y="970"/>
                  </a:lnTo>
                  <a:lnTo>
                    <a:pt x="686" y="964"/>
                  </a:lnTo>
                  <a:lnTo>
                    <a:pt x="685" y="962"/>
                  </a:lnTo>
                  <a:lnTo>
                    <a:pt x="678" y="959"/>
                  </a:lnTo>
                  <a:lnTo>
                    <a:pt x="673" y="955"/>
                  </a:lnTo>
                  <a:lnTo>
                    <a:pt x="670" y="954"/>
                  </a:lnTo>
                  <a:lnTo>
                    <a:pt x="664" y="954"/>
                  </a:lnTo>
                  <a:lnTo>
                    <a:pt x="663" y="954"/>
                  </a:lnTo>
                  <a:lnTo>
                    <a:pt x="655" y="956"/>
                  </a:lnTo>
                  <a:lnTo>
                    <a:pt x="664" y="961"/>
                  </a:lnTo>
                  <a:lnTo>
                    <a:pt x="671" y="964"/>
                  </a:lnTo>
                  <a:lnTo>
                    <a:pt x="681" y="974"/>
                  </a:lnTo>
                  <a:lnTo>
                    <a:pt x="691" y="980"/>
                  </a:lnTo>
                  <a:lnTo>
                    <a:pt x="698" y="982"/>
                  </a:lnTo>
                  <a:lnTo>
                    <a:pt x="704" y="983"/>
                  </a:lnTo>
                  <a:lnTo>
                    <a:pt x="700" y="998"/>
                  </a:lnTo>
                  <a:lnTo>
                    <a:pt x="693" y="1007"/>
                  </a:lnTo>
                  <a:lnTo>
                    <a:pt x="688" y="1013"/>
                  </a:lnTo>
                  <a:lnTo>
                    <a:pt x="684" y="1015"/>
                  </a:lnTo>
                  <a:lnTo>
                    <a:pt x="679" y="1016"/>
                  </a:lnTo>
                  <a:lnTo>
                    <a:pt x="673" y="1014"/>
                  </a:lnTo>
                  <a:lnTo>
                    <a:pt x="667" y="1009"/>
                  </a:lnTo>
                  <a:lnTo>
                    <a:pt x="667" y="1014"/>
                  </a:lnTo>
                  <a:lnTo>
                    <a:pt x="667" y="1018"/>
                  </a:lnTo>
                  <a:lnTo>
                    <a:pt x="669" y="1025"/>
                  </a:lnTo>
                  <a:lnTo>
                    <a:pt x="669" y="1028"/>
                  </a:lnTo>
                  <a:lnTo>
                    <a:pt x="664" y="1028"/>
                  </a:lnTo>
                  <a:lnTo>
                    <a:pt x="664" y="1028"/>
                  </a:lnTo>
                  <a:lnTo>
                    <a:pt x="656" y="1027"/>
                  </a:lnTo>
                  <a:lnTo>
                    <a:pt x="646" y="1021"/>
                  </a:lnTo>
                  <a:lnTo>
                    <a:pt x="641" y="1020"/>
                  </a:lnTo>
                  <a:lnTo>
                    <a:pt x="624" y="1016"/>
                  </a:lnTo>
                  <a:lnTo>
                    <a:pt x="636" y="1027"/>
                  </a:lnTo>
                  <a:lnTo>
                    <a:pt x="645" y="1029"/>
                  </a:lnTo>
                  <a:lnTo>
                    <a:pt x="654" y="1033"/>
                  </a:lnTo>
                  <a:lnTo>
                    <a:pt x="657" y="1036"/>
                  </a:lnTo>
                  <a:lnTo>
                    <a:pt x="659" y="1039"/>
                  </a:lnTo>
                  <a:lnTo>
                    <a:pt x="659" y="1042"/>
                  </a:lnTo>
                  <a:lnTo>
                    <a:pt x="655" y="1046"/>
                  </a:lnTo>
                  <a:lnTo>
                    <a:pt x="648" y="1048"/>
                  </a:lnTo>
                  <a:lnTo>
                    <a:pt x="640" y="1048"/>
                  </a:lnTo>
                  <a:lnTo>
                    <a:pt x="637" y="1047"/>
                  </a:lnTo>
                  <a:lnTo>
                    <a:pt x="635" y="1050"/>
                  </a:lnTo>
                  <a:lnTo>
                    <a:pt x="642" y="1055"/>
                  </a:lnTo>
                  <a:lnTo>
                    <a:pt x="639" y="1061"/>
                  </a:lnTo>
                  <a:lnTo>
                    <a:pt x="633" y="1065"/>
                  </a:lnTo>
                  <a:lnTo>
                    <a:pt x="625" y="1073"/>
                  </a:lnTo>
                  <a:lnTo>
                    <a:pt x="622" y="1076"/>
                  </a:lnTo>
                  <a:lnTo>
                    <a:pt x="624" y="1085"/>
                  </a:lnTo>
                  <a:lnTo>
                    <a:pt x="622" y="1088"/>
                  </a:lnTo>
                  <a:lnTo>
                    <a:pt x="616" y="1091"/>
                  </a:lnTo>
                  <a:lnTo>
                    <a:pt x="615" y="1094"/>
                  </a:lnTo>
                  <a:lnTo>
                    <a:pt x="611" y="1102"/>
                  </a:lnTo>
                  <a:lnTo>
                    <a:pt x="610" y="1105"/>
                  </a:lnTo>
                  <a:lnTo>
                    <a:pt x="608" y="1114"/>
                  </a:lnTo>
                  <a:lnTo>
                    <a:pt x="607" y="1120"/>
                  </a:lnTo>
                  <a:lnTo>
                    <a:pt x="605" y="1128"/>
                  </a:lnTo>
                  <a:lnTo>
                    <a:pt x="605" y="1133"/>
                  </a:lnTo>
                  <a:lnTo>
                    <a:pt x="604" y="1139"/>
                  </a:lnTo>
                  <a:lnTo>
                    <a:pt x="605" y="1149"/>
                  </a:lnTo>
                  <a:lnTo>
                    <a:pt x="606" y="1155"/>
                  </a:lnTo>
                  <a:lnTo>
                    <a:pt x="609" y="1160"/>
                  </a:lnTo>
                  <a:lnTo>
                    <a:pt x="611" y="1160"/>
                  </a:lnTo>
                  <a:lnTo>
                    <a:pt x="612" y="1161"/>
                  </a:lnTo>
                  <a:lnTo>
                    <a:pt x="616" y="1161"/>
                  </a:lnTo>
                  <a:lnTo>
                    <a:pt x="623" y="1160"/>
                  </a:lnTo>
                  <a:lnTo>
                    <a:pt x="625" y="1160"/>
                  </a:lnTo>
                  <a:lnTo>
                    <a:pt x="627" y="1163"/>
                  </a:lnTo>
                  <a:lnTo>
                    <a:pt x="629" y="1172"/>
                  </a:lnTo>
                  <a:lnTo>
                    <a:pt x="634" y="1185"/>
                  </a:lnTo>
                  <a:lnTo>
                    <a:pt x="635" y="1192"/>
                  </a:lnTo>
                  <a:lnTo>
                    <a:pt x="634" y="1202"/>
                  </a:lnTo>
                  <a:lnTo>
                    <a:pt x="639" y="1202"/>
                  </a:lnTo>
                  <a:lnTo>
                    <a:pt x="649" y="1198"/>
                  </a:lnTo>
                  <a:lnTo>
                    <a:pt x="657" y="1197"/>
                  </a:lnTo>
                  <a:lnTo>
                    <a:pt x="661" y="1198"/>
                  </a:lnTo>
                  <a:lnTo>
                    <a:pt x="664" y="1200"/>
                  </a:lnTo>
                  <a:lnTo>
                    <a:pt x="670" y="1203"/>
                  </a:lnTo>
                  <a:lnTo>
                    <a:pt x="683" y="1208"/>
                  </a:lnTo>
                  <a:lnTo>
                    <a:pt x="694" y="1217"/>
                  </a:lnTo>
                  <a:lnTo>
                    <a:pt x="700" y="1228"/>
                  </a:lnTo>
                  <a:lnTo>
                    <a:pt x="721" y="1234"/>
                  </a:lnTo>
                  <a:lnTo>
                    <a:pt x="724" y="1237"/>
                  </a:lnTo>
                  <a:lnTo>
                    <a:pt x="730" y="1241"/>
                  </a:lnTo>
                  <a:lnTo>
                    <a:pt x="736" y="1244"/>
                  </a:lnTo>
                  <a:lnTo>
                    <a:pt x="739" y="1244"/>
                  </a:lnTo>
                  <a:lnTo>
                    <a:pt x="743" y="1244"/>
                  </a:lnTo>
                  <a:lnTo>
                    <a:pt x="746" y="1244"/>
                  </a:lnTo>
                  <a:lnTo>
                    <a:pt x="751" y="1243"/>
                  </a:lnTo>
                  <a:lnTo>
                    <a:pt x="758" y="1245"/>
                  </a:lnTo>
                  <a:lnTo>
                    <a:pt x="766" y="1247"/>
                  </a:lnTo>
                  <a:lnTo>
                    <a:pt x="769" y="1249"/>
                  </a:lnTo>
                  <a:lnTo>
                    <a:pt x="767" y="1256"/>
                  </a:lnTo>
                  <a:lnTo>
                    <a:pt x="766" y="1265"/>
                  </a:lnTo>
                  <a:lnTo>
                    <a:pt x="767" y="1268"/>
                  </a:lnTo>
                  <a:lnTo>
                    <a:pt x="769" y="1271"/>
                  </a:lnTo>
                  <a:lnTo>
                    <a:pt x="769" y="1275"/>
                  </a:lnTo>
                  <a:lnTo>
                    <a:pt x="769" y="1285"/>
                  </a:lnTo>
                  <a:lnTo>
                    <a:pt x="767" y="1291"/>
                  </a:lnTo>
                  <a:lnTo>
                    <a:pt x="767" y="1293"/>
                  </a:lnTo>
                  <a:lnTo>
                    <a:pt x="771" y="1296"/>
                  </a:lnTo>
                  <a:lnTo>
                    <a:pt x="773" y="1299"/>
                  </a:lnTo>
                  <a:lnTo>
                    <a:pt x="775" y="1303"/>
                  </a:lnTo>
                  <a:lnTo>
                    <a:pt x="775" y="1307"/>
                  </a:lnTo>
                  <a:lnTo>
                    <a:pt x="775" y="1311"/>
                  </a:lnTo>
                  <a:lnTo>
                    <a:pt x="780" y="1312"/>
                  </a:lnTo>
                  <a:lnTo>
                    <a:pt x="786" y="1316"/>
                  </a:lnTo>
                  <a:lnTo>
                    <a:pt x="790" y="1322"/>
                  </a:lnTo>
                  <a:lnTo>
                    <a:pt x="792" y="1328"/>
                  </a:lnTo>
                  <a:lnTo>
                    <a:pt x="793" y="1329"/>
                  </a:lnTo>
                  <a:lnTo>
                    <a:pt x="796" y="1329"/>
                  </a:lnTo>
                  <a:lnTo>
                    <a:pt x="801" y="1333"/>
                  </a:lnTo>
                  <a:lnTo>
                    <a:pt x="806" y="1339"/>
                  </a:lnTo>
                  <a:lnTo>
                    <a:pt x="804" y="1333"/>
                  </a:lnTo>
                  <a:lnTo>
                    <a:pt x="803" y="1330"/>
                  </a:lnTo>
                  <a:lnTo>
                    <a:pt x="804" y="1327"/>
                  </a:lnTo>
                  <a:lnTo>
                    <a:pt x="807" y="1323"/>
                  </a:lnTo>
                  <a:lnTo>
                    <a:pt x="809" y="1324"/>
                  </a:lnTo>
                  <a:lnTo>
                    <a:pt x="811" y="1329"/>
                  </a:lnTo>
                  <a:lnTo>
                    <a:pt x="813" y="1332"/>
                  </a:lnTo>
                  <a:lnTo>
                    <a:pt x="814" y="1329"/>
                  </a:lnTo>
                  <a:lnTo>
                    <a:pt x="814" y="1324"/>
                  </a:lnTo>
                  <a:lnTo>
                    <a:pt x="813" y="1319"/>
                  </a:lnTo>
                  <a:lnTo>
                    <a:pt x="816" y="1314"/>
                  </a:lnTo>
                  <a:lnTo>
                    <a:pt x="817" y="1309"/>
                  </a:lnTo>
                  <a:lnTo>
                    <a:pt x="816" y="1304"/>
                  </a:lnTo>
                  <a:lnTo>
                    <a:pt x="814" y="1300"/>
                  </a:lnTo>
                  <a:lnTo>
                    <a:pt x="813" y="1292"/>
                  </a:lnTo>
                  <a:lnTo>
                    <a:pt x="813" y="1287"/>
                  </a:lnTo>
                  <a:lnTo>
                    <a:pt x="811" y="1281"/>
                  </a:lnTo>
                  <a:lnTo>
                    <a:pt x="810" y="1277"/>
                  </a:lnTo>
                  <a:lnTo>
                    <a:pt x="814" y="1276"/>
                  </a:lnTo>
                  <a:lnTo>
                    <a:pt x="813" y="1272"/>
                  </a:lnTo>
                  <a:lnTo>
                    <a:pt x="811" y="1269"/>
                  </a:lnTo>
                  <a:lnTo>
                    <a:pt x="808" y="1268"/>
                  </a:lnTo>
                  <a:lnTo>
                    <a:pt x="805" y="1265"/>
                  </a:lnTo>
                  <a:lnTo>
                    <a:pt x="804" y="1255"/>
                  </a:lnTo>
                  <a:lnTo>
                    <a:pt x="811" y="1253"/>
                  </a:lnTo>
                  <a:lnTo>
                    <a:pt x="816" y="1250"/>
                  </a:lnTo>
                  <a:lnTo>
                    <a:pt x="820" y="1247"/>
                  </a:lnTo>
                  <a:lnTo>
                    <a:pt x="830" y="1238"/>
                  </a:lnTo>
                  <a:lnTo>
                    <a:pt x="834" y="1234"/>
                  </a:lnTo>
                  <a:lnTo>
                    <a:pt x="840" y="1225"/>
                  </a:lnTo>
                  <a:lnTo>
                    <a:pt x="842" y="1219"/>
                  </a:lnTo>
                  <a:lnTo>
                    <a:pt x="844" y="1212"/>
                  </a:lnTo>
                  <a:lnTo>
                    <a:pt x="844" y="1206"/>
                  </a:lnTo>
                  <a:lnTo>
                    <a:pt x="843" y="1195"/>
                  </a:lnTo>
                  <a:lnTo>
                    <a:pt x="841" y="1189"/>
                  </a:lnTo>
                  <a:lnTo>
                    <a:pt x="840" y="1186"/>
                  </a:lnTo>
                  <a:lnTo>
                    <a:pt x="834" y="1178"/>
                  </a:lnTo>
                  <a:lnTo>
                    <a:pt x="831" y="1174"/>
                  </a:lnTo>
                  <a:lnTo>
                    <a:pt x="825" y="1169"/>
                  </a:lnTo>
                  <a:lnTo>
                    <a:pt x="823" y="1167"/>
                  </a:lnTo>
                  <a:lnTo>
                    <a:pt x="820" y="1164"/>
                  </a:lnTo>
                  <a:lnTo>
                    <a:pt x="819" y="1163"/>
                  </a:lnTo>
                  <a:lnTo>
                    <a:pt x="817" y="1160"/>
                  </a:lnTo>
                  <a:lnTo>
                    <a:pt x="818" y="1159"/>
                  </a:lnTo>
                  <a:lnTo>
                    <a:pt x="823" y="1153"/>
                  </a:lnTo>
                  <a:lnTo>
                    <a:pt x="826" y="1142"/>
                  </a:lnTo>
                  <a:lnTo>
                    <a:pt x="828" y="1138"/>
                  </a:lnTo>
                  <a:lnTo>
                    <a:pt x="829" y="1136"/>
                  </a:lnTo>
                  <a:lnTo>
                    <a:pt x="832" y="1136"/>
                  </a:lnTo>
                  <a:lnTo>
                    <a:pt x="834" y="1133"/>
                  </a:lnTo>
                  <a:lnTo>
                    <a:pt x="833" y="1127"/>
                  </a:lnTo>
                  <a:lnTo>
                    <a:pt x="832" y="1123"/>
                  </a:lnTo>
                  <a:lnTo>
                    <a:pt x="831" y="1118"/>
                  </a:lnTo>
                  <a:lnTo>
                    <a:pt x="830" y="1115"/>
                  </a:lnTo>
                  <a:lnTo>
                    <a:pt x="832" y="1111"/>
                  </a:lnTo>
                  <a:lnTo>
                    <a:pt x="832" y="1108"/>
                  </a:lnTo>
                  <a:lnTo>
                    <a:pt x="821" y="1107"/>
                  </a:lnTo>
                  <a:lnTo>
                    <a:pt x="828" y="1096"/>
                  </a:lnTo>
                  <a:lnTo>
                    <a:pt x="831" y="1087"/>
                  </a:lnTo>
                  <a:lnTo>
                    <a:pt x="831" y="1085"/>
                  </a:lnTo>
                  <a:lnTo>
                    <a:pt x="829" y="1083"/>
                  </a:lnTo>
                  <a:lnTo>
                    <a:pt x="825" y="1080"/>
                  </a:lnTo>
                  <a:lnTo>
                    <a:pt x="824" y="1076"/>
                  </a:lnTo>
                  <a:lnTo>
                    <a:pt x="823" y="1070"/>
                  </a:lnTo>
                  <a:lnTo>
                    <a:pt x="825" y="1064"/>
                  </a:lnTo>
                  <a:lnTo>
                    <a:pt x="829" y="1060"/>
                  </a:lnTo>
                  <a:lnTo>
                    <a:pt x="832" y="1058"/>
                  </a:lnTo>
                  <a:lnTo>
                    <a:pt x="837" y="1059"/>
                  </a:lnTo>
                  <a:lnTo>
                    <a:pt x="847" y="1064"/>
                  </a:lnTo>
                  <a:lnTo>
                    <a:pt x="854" y="1067"/>
                  </a:lnTo>
                  <a:lnTo>
                    <a:pt x="858" y="1067"/>
                  </a:lnTo>
                  <a:lnTo>
                    <a:pt x="867" y="1068"/>
                  </a:lnTo>
                  <a:lnTo>
                    <a:pt x="873" y="1066"/>
                  </a:lnTo>
                  <a:lnTo>
                    <a:pt x="878" y="1063"/>
                  </a:lnTo>
                  <a:lnTo>
                    <a:pt x="879" y="1063"/>
                  </a:lnTo>
                  <a:lnTo>
                    <a:pt x="880" y="1062"/>
                  </a:lnTo>
                  <a:lnTo>
                    <a:pt x="884" y="1063"/>
                  </a:lnTo>
                  <a:lnTo>
                    <a:pt x="890" y="1068"/>
                  </a:lnTo>
                  <a:lnTo>
                    <a:pt x="891" y="1069"/>
                  </a:lnTo>
                  <a:lnTo>
                    <a:pt x="895" y="1075"/>
                  </a:lnTo>
                  <a:lnTo>
                    <a:pt x="901" y="1080"/>
                  </a:lnTo>
                  <a:lnTo>
                    <a:pt x="906" y="1085"/>
                  </a:lnTo>
                  <a:lnTo>
                    <a:pt x="904" y="1090"/>
                  </a:lnTo>
                  <a:lnTo>
                    <a:pt x="906" y="1093"/>
                  </a:lnTo>
                  <a:lnTo>
                    <a:pt x="916" y="1099"/>
                  </a:lnTo>
                  <a:lnTo>
                    <a:pt x="928" y="1103"/>
                  </a:lnTo>
                  <a:lnTo>
                    <a:pt x="932" y="1103"/>
                  </a:lnTo>
                  <a:lnTo>
                    <a:pt x="934" y="1100"/>
                  </a:lnTo>
                  <a:lnTo>
                    <a:pt x="936" y="1104"/>
                  </a:lnTo>
                  <a:lnTo>
                    <a:pt x="936" y="1109"/>
                  </a:lnTo>
                  <a:lnTo>
                    <a:pt x="933" y="1113"/>
                  </a:lnTo>
                  <a:lnTo>
                    <a:pt x="932" y="1118"/>
                  </a:lnTo>
                  <a:lnTo>
                    <a:pt x="935" y="1134"/>
                  </a:lnTo>
                  <a:lnTo>
                    <a:pt x="936" y="1142"/>
                  </a:lnTo>
                  <a:lnTo>
                    <a:pt x="937" y="1147"/>
                  </a:lnTo>
                  <a:lnTo>
                    <a:pt x="936" y="1151"/>
                  </a:lnTo>
                  <a:lnTo>
                    <a:pt x="935" y="1153"/>
                  </a:lnTo>
                  <a:lnTo>
                    <a:pt x="933" y="1153"/>
                  </a:lnTo>
                  <a:lnTo>
                    <a:pt x="930" y="1153"/>
                  </a:lnTo>
                  <a:lnTo>
                    <a:pt x="930" y="1160"/>
                  </a:lnTo>
                  <a:lnTo>
                    <a:pt x="932" y="1163"/>
                  </a:lnTo>
                  <a:lnTo>
                    <a:pt x="939" y="1159"/>
                  </a:lnTo>
                  <a:lnTo>
                    <a:pt x="940" y="1158"/>
                  </a:lnTo>
                  <a:lnTo>
                    <a:pt x="945" y="1157"/>
                  </a:lnTo>
                  <a:lnTo>
                    <a:pt x="947" y="1158"/>
                  </a:lnTo>
                  <a:lnTo>
                    <a:pt x="951" y="1162"/>
                  </a:lnTo>
                  <a:lnTo>
                    <a:pt x="953" y="1165"/>
                  </a:lnTo>
                  <a:lnTo>
                    <a:pt x="953" y="1168"/>
                  </a:lnTo>
                  <a:lnTo>
                    <a:pt x="953" y="1170"/>
                  </a:lnTo>
                  <a:lnTo>
                    <a:pt x="954" y="1173"/>
                  </a:lnTo>
                  <a:lnTo>
                    <a:pt x="957" y="1171"/>
                  </a:lnTo>
                  <a:lnTo>
                    <a:pt x="959" y="1171"/>
                  </a:lnTo>
                  <a:lnTo>
                    <a:pt x="966" y="1170"/>
                  </a:lnTo>
                  <a:lnTo>
                    <a:pt x="970" y="1168"/>
                  </a:lnTo>
                  <a:lnTo>
                    <a:pt x="972" y="1163"/>
                  </a:lnTo>
                  <a:lnTo>
                    <a:pt x="974" y="1157"/>
                  </a:lnTo>
                  <a:lnTo>
                    <a:pt x="976" y="1157"/>
                  </a:lnTo>
                  <a:lnTo>
                    <a:pt x="977" y="1159"/>
                  </a:lnTo>
                  <a:lnTo>
                    <a:pt x="981" y="1167"/>
                  </a:lnTo>
                  <a:lnTo>
                    <a:pt x="982" y="1166"/>
                  </a:lnTo>
                  <a:lnTo>
                    <a:pt x="982" y="1157"/>
                  </a:lnTo>
                  <a:lnTo>
                    <a:pt x="984" y="1151"/>
                  </a:lnTo>
                  <a:lnTo>
                    <a:pt x="987" y="1148"/>
                  </a:lnTo>
                  <a:lnTo>
                    <a:pt x="990" y="1144"/>
                  </a:lnTo>
                  <a:lnTo>
                    <a:pt x="986" y="1138"/>
                  </a:lnTo>
                  <a:lnTo>
                    <a:pt x="986" y="1134"/>
                  </a:lnTo>
                  <a:lnTo>
                    <a:pt x="988" y="1132"/>
                  </a:lnTo>
                  <a:lnTo>
                    <a:pt x="994" y="1131"/>
                  </a:lnTo>
                  <a:lnTo>
                    <a:pt x="995" y="1130"/>
                  </a:lnTo>
                  <a:lnTo>
                    <a:pt x="998" y="1122"/>
                  </a:lnTo>
                  <a:lnTo>
                    <a:pt x="1002" y="1126"/>
                  </a:lnTo>
                  <a:lnTo>
                    <a:pt x="1005" y="1133"/>
                  </a:lnTo>
                  <a:lnTo>
                    <a:pt x="1010" y="1139"/>
                  </a:lnTo>
                  <a:lnTo>
                    <a:pt x="1014" y="1148"/>
                  </a:lnTo>
                  <a:lnTo>
                    <a:pt x="1020" y="1157"/>
                  </a:lnTo>
                  <a:lnTo>
                    <a:pt x="1021" y="1161"/>
                  </a:lnTo>
                  <a:lnTo>
                    <a:pt x="1019" y="1164"/>
                  </a:lnTo>
                  <a:lnTo>
                    <a:pt x="1020" y="1168"/>
                  </a:lnTo>
                  <a:lnTo>
                    <a:pt x="1023" y="1168"/>
                  </a:lnTo>
                  <a:lnTo>
                    <a:pt x="1025" y="1176"/>
                  </a:lnTo>
                  <a:lnTo>
                    <a:pt x="1026" y="1178"/>
                  </a:lnTo>
                  <a:lnTo>
                    <a:pt x="1028" y="1180"/>
                  </a:lnTo>
                  <a:lnTo>
                    <a:pt x="1033" y="1181"/>
                  </a:lnTo>
                  <a:lnTo>
                    <a:pt x="1034" y="1184"/>
                  </a:lnTo>
                  <a:lnTo>
                    <a:pt x="1035" y="1188"/>
                  </a:lnTo>
                  <a:lnTo>
                    <a:pt x="1033" y="1189"/>
                  </a:lnTo>
                  <a:lnTo>
                    <a:pt x="1030" y="1191"/>
                  </a:lnTo>
                  <a:lnTo>
                    <a:pt x="1033" y="1195"/>
                  </a:lnTo>
                  <a:lnTo>
                    <a:pt x="1035" y="1197"/>
                  </a:lnTo>
                  <a:lnTo>
                    <a:pt x="1039" y="1199"/>
                  </a:lnTo>
                  <a:lnTo>
                    <a:pt x="1041" y="1202"/>
                  </a:lnTo>
                  <a:lnTo>
                    <a:pt x="1041" y="1206"/>
                  </a:lnTo>
                  <a:lnTo>
                    <a:pt x="1041" y="1207"/>
                  </a:lnTo>
                  <a:lnTo>
                    <a:pt x="1039" y="1208"/>
                  </a:lnTo>
                  <a:lnTo>
                    <a:pt x="1035" y="1208"/>
                  </a:lnTo>
                  <a:lnTo>
                    <a:pt x="1030" y="1207"/>
                  </a:lnTo>
                  <a:lnTo>
                    <a:pt x="1029" y="1207"/>
                  </a:lnTo>
                  <a:lnTo>
                    <a:pt x="1029" y="1209"/>
                  </a:lnTo>
                  <a:lnTo>
                    <a:pt x="1030" y="1211"/>
                  </a:lnTo>
                  <a:lnTo>
                    <a:pt x="1032" y="1213"/>
                  </a:lnTo>
                  <a:lnTo>
                    <a:pt x="1034" y="1219"/>
                  </a:lnTo>
                  <a:lnTo>
                    <a:pt x="1036" y="1221"/>
                  </a:lnTo>
                  <a:lnTo>
                    <a:pt x="1040" y="1222"/>
                  </a:lnTo>
                  <a:lnTo>
                    <a:pt x="1042" y="1223"/>
                  </a:lnTo>
                  <a:lnTo>
                    <a:pt x="1047" y="1229"/>
                  </a:lnTo>
                  <a:lnTo>
                    <a:pt x="1053" y="1233"/>
                  </a:lnTo>
                  <a:lnTo>
                    <a:pt x="1054" y="1237"/>
                  </a:lnTo>
                  <a:lnTo>
                    <a:pt x="1054" y="1239"/>
                  </a:lnTo>
                  <a:lnTo>
                    <a:pt x="1051" y="1247"/>
                  </a:lnTo>
                  <a:lnTo>
                    <a:pt x="1054" y="1247"/>
                  </a:lnTo>
                  <a:lnTo>
                    <a:pt x="1058" y="1246"/>
                  </a:lnTo>
                  <a:lnTo>
                    <a:pt x="1063" y="1245"/>
                  </a:lnTo>
                  <a:lnTo>
                    <a:pt x="1068" y="1247"/>
                  </a:lnTo>
                  <a:lnTo>
                    <a:pt x="1071" y="1249"/>
                  </a:lnTo>
                  <a:lnTo>
                    <a:pt x="1078" y="1253"/>
                  </a:lnTo>
                  <a:lnTo>
                    <a:pt x="1083" y="1255"/>
                  </a:lnTo>
                  <a:lnTo>
                    <a:pt x="1092" y="1258"/>
                  </a:lnTo>
                  <a:lnTo>
                    <a:pt x="1091" y="1261"/>
                  </a:lnTo>
                  <a:lnTo>
                    <a:pt x="1087" y="1262"/>
                  </a:lnTo>
                  <a:lnTo>
                    <a:pt x="1083" y="1265"/>
                  </a:lnTo>
                  <a:lnTo>
                    <a:pt x="1079" y="1265"/>
                  </a:lnTo>
                  <a:lnTo>
                    <a:pt x="1074" y="1268"/>
                  </a:lnTo>
                  <a:lnTo>
                    <a:pt x="1071" y="1272"/>
                  </a:lnTo>
                  <a:lnTo>
                    <a:pt x="1067" y="1274"/>
                  </a:lnTo>
                  <a:lnTo>
                    <a:pt x="1061" y="1274"/>
                  </a:lnTo>
                  <a:lnTo>
                    <a:pt x="1059" y="1275"/>
                  </a:lnTo>
                  <a:lnTo>
                    <a:pt x="1057" y="1278"/>
                  </a:lnTo>
                  <a:lnTo>
                    <a:pt x="1057" y="1282"/>
                  </a:lnTo>
                  <a:lnTo>
                    <a:pt x="1056" y="1287"/>
                  </a:lnTo>
                  <a:lnTo>
                    <a:pt x="1063" y="1283"/>
                  </a:lnTo>
                  <a:lnTo>
                    <a:pt x="1066" y="1283"/>
                  </a:lnTo>
                  <a:lnTo>
                    <a:pt x="1069" y="1282"/>
                  </a:lnTo>
                  <a:lnTo>
                    <a:pt x="1077" y="1274"/>
                  </a:lnTo>
                  <a:lnTo>
                    <a:pt x="1084" y="1269"/>
                  </a:lnTo>
                  <a:lnTo>
                    <a:pt x="1091" y="1268"/>
                  </a:lnTo>
                  <a:lnTo>
                    <a:pt x="1095" y="1270"/>
                  </a:lnTo>
                  <a:lnTo>
                    <a:pt x="1097" y="1274"/>
                  </a:lnTo>
                  <a:lnTo>
                    <a:pt x="1094" y="1278"/>
                  </a:lnTo>
                  <a:lnTo>
                    <a:pt x="1095" y="1279"/>
                  </a:lnTo>
                  <a:lnTo>
                    <a:pt x="1096" y="1282"/>
                  </a:lnTo>
                  <a:lnTo>
                    <a:pt x="1100" y="1280"/>
                  </a:lnTo>
                  <a:lnTo>
                    <a:pt x="1103" y="1279"/>
                  </a:lnTo>
                  <a:lnTo>
                    <a:pt x="1107" y="1280"/>
                  </a:lnTo>
                  <a:lnTo>
                    <a:pt x="1113" y="1285"/>
                  </a:lnTo>
                  <a:lnTo>
                    <a:pt x="1114" y="1288"/>
                  </a:lnTo>
                  <a:lnTo>
                    <a:pt x="1114" y="1289"/>
                  </a:lnTo>
                  <a:lnTo>
                    <a:pt x="1113" y="1294"/>
                  </a:lnTo>
                  <a:lnTo>
                    <a:pt x="1112" y="1297"/>
                  </a:lnTo>
                  <a:lnTo>
                    <a:pt x="1110" y="1301"/>
                  </a:lnTo>
                  <a:lnTo>
                    <a:pt x="1116" y="1310"/>
                  </a:lnTo>
                  <a:lnTo>
                    <a:pt x="1113" y="1314"/>
                  </a:lnTo>
                  <a:lnTo>
                    <a:pt x="1109" y="1316"/>
                  </a:lnTo>
                  <a:lnTo>
                    <a:pt x="1102" y="1322"/>
                  </a:lnTo>
                  <a:lnTo>
                    <a:pt x="1099" y="1325"/>
                  </a:lnTo>
                  <a:lnTo>
                    <a:pt x="1092" y="1325"/>
                  </a:lnTo>
                  <a:lnTo>
                    <a:pt x="1087" y="1327"/>
                  </a:lnTo>
                  <a:lnTo>
                    <a:pt x="1078" y="1327"/>
                  </a:lnTo>
                  <a:lnTo>
                    <a:pt x="1075" y="1331"/>
                  </a:lnTo>
                  <a:lnTo>
                    <a:pt x="1070" y="1339"/>
                  </a:lnTo>
                  <a:lnTo>
                    <a:pt x="1066" y="1343"/>
                  </a:lnTo>
                  <a:lnTo>
                    <a:pt x="1063" y="1345"/>
                  </a:lnTo>
                  <a:lnTo>
                    <a:pt x="1057" y="1348"/>
                  </a:lnTo>
                  <a:lnTo>
                    <a:pt x="1048" y="1349"/>
                  </a:lnTo>
                  <a:lnTo>
                    <a:pt x="1038" y="1350"/>
                  </a:lnTo>
                  <a:lnTo>
                    <a:pt x="1029" y="1349"/>
                  </a:lnTo>
                  <a:lnTo>
                    <a:pt x="1017" y="1349"/>
                  </a:lnTo>
                  <a:lnTo>
                    <a:pt x="1015" y="1349"/>
                  </a:lnTo>
                  <a:lnTo>
                    <a:pt x="1009" y="1350"/>
                  </a:lnTo>
                  <a:lnTo>
                    <a:pt x="1002" y="1350"/>
                  </a:lnTo>
                  <a:lnTo>
                    <a:pt x="991" y="1349"/>
                  </a:lnTo>
                  <a:lnTo>
                    <a:pt x="986" y="1349"/>
                  </a:lnTo>
                  <a:lnTo>
                    <a:pt x="976" y="1349"/>
                  </a:lnTo>
                  <a:lnTo>
                    <a:pt x="972" y="1351"/>
                  </a:lnTo>
                  <a:lnTo>
                    <a:pt x="969" y="1354"/>
                  </a:lnTo>
                  <a:lnTo>
                    <a:pt x="966" y="1360"/>
                  </a:lnTo>
                  <a:lnTo>
                    <a:pt x="965" y="1364"/>
                  </a:lnTo>
                  <a:lnTo>
                    <a:pt x="963" y="1367"/>
                  </a:lnTo>
                  <a:lnTo>
                    <a:pt x="960" y="1369"/>
                  </a:lnTo>
                  <a:lnTo>
                    <a:pt x="954" y="1370"/>
                  </a:lnTo>
                  <a:lnTo>
                    <a:pt x="950" y="1372"/>
                  </a:lnTo>
                  <a:lnTo>
                    <a:pt x="944" y="1376"/>
                  </a:lnTo>
                  <a:lnTo>
                    <a:pt x="939" y="1381"/>
                  </a:lnTo>
                  <a:lnTo>
                    <a:pt x="935" y="1387"/>
                  </a:lnTo>
                  <a:lnTo>
                    <a:pt x="933" y="1390"/>
                  </a:lnTo>
                  <a:lnTo>
                    <a:pt x="931" y="1392"/>
                  </a:lnTo>
                  <a:lnTo>
                    <a:pt x="926" y="1399"/>
                  </a:lnTo>
                  <a:lnTo>
                    <a:pt x="923" y="1405"/>
                  </a:lnTo>
                  <a:lnTo>
                    <a:pt x="920" y="1407"/>
                  </a:lnTo>
                  <a:lnTo>
                    <a:pt x="918" y="1412"/>
                  </a:lnTo>
                  <a:lnTo>
                    <a:pt x="915" y="1420"/>
                  </a:lnTo>
                  <a:lnTo>
                    <a:pt x="919" y="1414"/>
                  </a:lnTo>
                  <a:lnTo>
                    <a:pt x="921" y="1413"/>
                  </a:lnTo>
                  <a:lnTo>
                    <a:pt x="925" y="1409"/>
                  </a:lnTo>
                  <a:lnTo>
                    <a:pt x="931" y="1400"/>
                  </a:lnTo>
                  <a:lnTo>
                    <a:pt x="938" y="1393"/>
                  </a:lnTo>
                  <a:lnTo>
                    <a:pt x="950" y="1385"/>
                  </a:lnTo>
                  <a:lnTo>
                    <a:pt x="957" y="1382"/>
                  </a:lnTo>
                  <a:lnTo>
                    <a:pt x="968" y="1377"/>
                  </a:lnTo>
                  <a:lnTo>
                    <a:pt x="974" y="1375"/>
                  </a:lnTo>
                  <a:lnTo>
                    <a:pt x="980" y="1373"/>
                  </a:lnTo>
                  <a:lnTo>
                    <a:pt x="989" y="1372"/>
                  </a:lnTo>
                  <a:lnTo>
                    <a:pt x="994" y="1372"/>
                  </a:lnTo>
                  <a:lnTo>
                    <a:pt x="999" y="1375"/>
                  </a:lnTo>
                  <a:lnTo>
                    <a:pt x="1002" y="1377"/>
                  </a:lnTo>
                  <a:lnTo>
                    <a:pt x="1003" y="1379"/>
                  </a:lnTo>
                  <a:lnTo>
                    <a:pt x="1004" y="1383"/>
                  </a:lnTo>
                  <a:lnTo>
                    <a:pt x="1003" y="1385"/>
                  </a:lnTo>
                  <a:lnTo>
                    <a:pt x="1002" y="1387"/>
                  </a:lnTo>
                  <a:lnTo>
                    <a:pt x="995" y="1390"/>
                  </a:lnTo>
                  <a:lnTo>
                    <a:pt x="991" y="1393"/>
                  </a:lnTo>
                  <a:lnTo>
                    <a:pt x="987" y="1394"/>
                  </a:lnTo>
                  <a:lnTo>
                    <a:pt x="982" y="1392"/>
                  </a:lnTo>
                  <a:lnTo>
                    <a:pt x="978" y="1392"/>
                  </a:lnTo>
                  <a:lnTo>
                    <a:pt x="974" y="1394"/>
                  </a:lnTo>
                  <a:lnTo>
                    <a:pt x="976" y="1394"/>
                  </a:lnTo>
                  <a:lnTo>
                    <a:pt x="982" y="1397"/>
                  </a:lnTo>
                  <a:lnTo>
                    <a:pt x="984" y="1397"/>
                  </a:lnTo>
                  <a:lnTo>
                    <a:pt x="985" y="1402"/>
                  </a:lnTo>
                  <a:lnTo>
                    <a:pt x="985" y="1402"/>
                  </a:lnTo>
                  <a:lnTo>
                    <a:pt x="993" y="1398"/>
                  </a:lnTo>
                  <a:lnTo>
                    <a:pt x="993" y="1400"/>
                  </a:lnTo>
                  <a:lnTo>
                    <a:pt x="996" y="1399"/>
                  </a:lnTo>
                  <a:lnTo>
                    <a:pt x="998" y="1400"/>
                  </a:lnTo>
                  <a:lnTo>
                    <a:pt x="996" y="1402"/>
                  </a:lnTo>
                  <a:lnTo>
                    <a:pt x="994" y="1404"/>
                  </a:lnTo>
                  <a:lnTo>
                    <a:pt x="995" y="1407"/>
                  </a:lnTo>
                  <a:lnTo>
                    <a:pt x="994" y="1407"/>
                  </a:lnTo>
                  <a:lnTo>
                    <a:pt x="994" y="1409"/>
                  </a:lnTo>
                  <a:lnTo>
                    <a:pt x="988" y="1412"/>
                  </a:lnTo>
                  <a:lnTo>
                    <a:pt x="996" y="1413"/>
                  </a:lnTo>
                  <a:lnTo>
                    <a:pt x="996" y="1414"/>
                  </a:lnTo>
                  <a:lnTo>
                    <a:pt x="995" y="1417"/>
                  </a:lnTo>
                  <a:lnTo>
                    <a:pt x="996" y="1420"/>
                  </a:lnTo>
                  <a:lnTo>
                    <a:pt x="996" y="1420"/>
                  </a:lnTo>
                  <a:lnTo>
                    <a:pt x="997" y="1421"/>
                  </a:lnTo>
                  <a:lnTo>
                    <a:pt x="997" y="1422"/>
                  </a:lnTo>
                  <a:lnTo>
                    <a:pt x="997" y="1424"/>
                  </a:lnTo>
                  <a:lnTo>
                    <a:pt x="1000" y="1428"/>
                  </a:lnTo>
                  <a:lnTo>
                    <a:pt x="1000" y="1429"/>
                  </a:lnTo>
                  <a:lnTo>
                    <a:pt x="1005" y="1429"/>
                  </a:lnTo>
                  <a:lnTo>
                    <a:pt x="1005" y="1430"/>
                  </a:lnTo>
                  <a:lnTo>
                    <a:pt x="1006" y="1430"/>
                  </a:lnTo>
                  <a:lnTo>
                    <a:pt x="1010" y="1431"/>
                  </a:lnTo>
                  <a:lnTo>
                    <a:pt x="1008" y="1432"/>
                  </a:lnTo>
                  <a:lnTo>
                    <a:pt x="1006" y="1432"/>
                  </a:lnTo>
                  <a:lnTo>
                    <a:pt x="1006" y="1433"/>
                  </a:lnTo>
                  <a:lnTo>
                    <a:pt x="1009" y="1434"/>
                  </a:lnTo>
                  <a:lnTo>
                    <a:pt x="1010" y="1436"/>
                  </a:lnTo>
                  <a:lnTo>
                    <a:pt x="1013" y="1436"/>
                  </a:lnTo>
                  <a:lnTo>
                    <a:pt x="1014" y="1437"/>
                  </a:lnTo>
                  <a:lnTo>
                    <a:pt x="1015" y="1437"/>
                  </a:lnTo>
                  <a:lnTo>
                    <a:pt x="1016" y="1438"/>
                  </a:lnTo>
                  <a:lnTo>
                    <a:pt x="1018" y="1438"/>
                  </a:lnTo>
                  <a:lnTo>
                    <a:pt x="1018" y="1437"/>
                  </a:lnTo>
                  <a:lnTo>
                    <a:pt x="1023" y="1438"/>
                  </a:lnTo>
                  <a:lnTo>
                    <a:pt x="1024" y="1438"/>
                  </a:lnTo>
                  <a:lnTo>
                    <a:pt x="1023" y="1440"/>
                  </a:lnTo>
                  <a:lnTo>
                    <a:pt x="1025" y="1439"/>
                  </a:lnTo>
                  <a:lnTo>
                    <a:pt x="1026" y="1439"/>
                  </a:lnTo>
                  <a:lnTo>
                    <a:pt x="1028" y="1439"/>
                  </a:lnTo>
                  <a:lnTo>
                    <a:pt x="1032" y="1436"/>
                  </a:lnTo>
                  <a:lnTo>
                    <a:pt x="1033" y="1436"/>
                  </a:lnTo>
                  <a:lnTo>
                    <a:pt x="1034" y="1439"/>
                  </a:lnTo>
                  <a:lnTo>
                    <a:pt x="1036" y="1440"/>
                  </a:lnTo>
                  <a:lnTo>
                    <a:pt x="1039" y="1439"/>
                  </a:lnTo>
                  <a:lnTo>
                    <a:pt x="1042" y="1442"/>
                  </a:lnTo>
                  <a:lnTo>
                    <a:pt x="1040" y="1445"/>
                  </a:lnTo>
                  <a:lnTo>
                    <a:pt x="1041" y="1445"/>
                  </a:lnTo>
                  <a:lnTo>
                    <a:pt x="1045" y="1446"/>
                  </a:lnTo>
                  <a:lnTo>
                    <a:pt x="1046" y="1447"/>
                  </a:lnTo>
                  <a:lnTo>
                    <a:pt x="1043" y="1448"/>
                  </a:lnTo>
                  <a:lnTo>
                    <a:pt x="1042" y="1447"/>
                  </a:lnTo>
                  <a:lnTo>
                    <a:pt x="1041" y="1448"/>
                  </a:lnTo>
                  <a:lnTo>
                    <a:pt x="1041" y="1449"/>
                  </a:lnTo>
                  <a:lnTo>
                    <a:pt x="1038" y="1449"/>
                  </a:lnTo>
                  <a:lnTo>
                    <a:pt x="1037" y="1449"/>
                  </a:lnTo>
                  <a:lnTo>
                    <a:pt x="1038" y="1450"/>
                  </a:lnTo>
                  <a:lnTo>
                    <a:pt x="1035" y="1450"/>
                  </a:lnTo>
                  <a:lnTo>
                    <a:pt x="1035" y="1451"/>
                  </a:lnTo>
                  <a:lnTo>
                    <a:pt x="1033" y="1451"/>
                  </a:lnTo>
                  <a:lnTo>
                    <a:pt x="1032" y="1453"/>
                  </a:lnTo>
                  <a:lnTo>
                    <a:pt x="1029" y="1453"/>
                  </a:lnTo>
                  <a:lnTo>
                    <a:pt x="1027" y="1455"/>
                  </a:lnTo>
                  <a:lnTo>
                    <a:pt x="1026" y="1454"/>
                  </a:lnTo>
                  <a:lnTo>
                    <a:pt x="1022" y="1457"/>
                  </a:lnTo>
                  <a:lnTo>
                    <a:pt x="1022" y="1457"/>
                  </a:lnTo>
                  <a:lnTo>
                    <a:pt x="1019" y="1458"/>
                  </a:lnTo>
                  <a:lnTo>
                    <a:pt x="1018" y="1456"/>
                  </a:lnTo>
                  <a:lnTo>
                    <a:pt x="1017" y="1457"/>
                  </a:lnTo>
                  <a:lnTo>
                    <a:pt x="1016" y="1459"/>
                  </a:lnTo>
                  <a:lnTo>
                    <a:pt x="1015" y="1457"/>
                  </a:lnTo>
                  <a:lnTo>
                    <a:pt x="1014" y="1460"/>
                  </a:lnTo>
                  <a:lnTo>
                    <a:pt x="1013" y="1460"/>
                  </a:lnTo>
                  <a:lnTo>
                    <a:pt x="1012" y="1462"/>
                  </a:lnTo>
                  <a:lnTo>
                    <a:pt x="1009" y="1462"/>
                  </a:lnTo>
                  <a:lnTo>
                    <a:pt x="1009" y="1461"/>
                  </a:lnTo>
                  <a:lnTo>
                    <a:pt x="1008" y="1460"/>
                  </a:lnTo>
                  <a:lnTo>
                    <a:pt x="1008" y="1458"/>
                  </a:lnTo>
                  <a:lnTo>
                    <a:pt x="1007" y="1461"/>
                  </a:lnTo>
                  <a:lnTo>
                    <a:pt x="1005" y="1462"/>
                  </a:lnTo>
                  <a:lnTo>
                    <a:pt x="1005" y="1460"/>
                  </a:lnTo>
                  <a:lnTo>
                    <a:pt x="1003" y="1460"/>
                  </a:lnTo>
                  <a:lnTo>
                    <a:pt x="1003" y="1462"/>
                  </a:lnTo>
                  <a:lnTo>
                    <a:pt x="1002" y="1462"/>
                  </a:lnTo>
                  <a:lnTo>
                    <a:pt x="1003" y="1463"/>
                  </a:lnTo>
                  <a:lnTo>
                    <a:pt x="1003" y="1465"/>
                  </a:lnTo>
                  <a:lnTo>
                    <a:pt x="1003" y="1466"/>
                  </a:lnTo>
                  <a:lnTo>
                    <a:pt x="1002" y="1465"/>
                  </a:lnTo>
                  <a:lnTo>
                    <a:pt x="997" y="1469"/>
                  </a:lnTo>
                  <a:lnTo>
                    <a:pt x="998" y="1470"/>
                  </a:lnTo>
                  <a:lnTo>
                    <a:pt x="997" y="1471"/>
                  </a:lnTo>
                  <a:lnTo>
                    <a:pt x="996" y="1471"/>
                  </a:lnTo>
                  <a:lnTo>
                    <a:pt x="996" y="1473"/>
                  </a:lnTo>
                  <a:lnTo>
                    <a:pt x="995" y="1472"/>
                  </a:lnTo>
                  <a:lnTo>
                    <a:pt x="995" y="1474"/>
                  </a:lnTo>
                  <a:lnTo>
                    <a:pt x="994" y="1474"/>
                  </a:lnTo>
                  <a:lnTo>
                    <a:pt x="993" y="1474"/>
                  </a:lnTo>
                  <a:lnTo>
                    <a:pt x="994" y="1475"/>
                  </a:lnTo>
                  <a:lnTo>
                    <a:pt x="993" y="1476"/>
                  </a:lnTo>
                  <a:lnTo>
                    <a:pt x="991" y="1475"/>
                  </a:lnTo>
                  <a:lnTo>
                    <a:pt x="991" y="1475"/>
                  </a:lnTo>
                  <a:lnTo>
                    <a:pt x="990" y="1477"/>
                  </a:lnTo>
                  <a:lnTo>
                    <a:pt x="989" y="1475"/>
                  </a:lnTo>
                  <a:lnTo>
                    <a:pt x="988" y="1477"/>
                  </a:lnTo>
                  <a:lnTo>
                    <a:pt x="987" y="1480"/>
                  </a:lnTo>
                  <a:lnTo>
                    <a:pt x="986" y="1478"/>
                  </a:lnTo>
                  <a:lnTo>
                    <a:pt x="984" y="1479"/>
                  </a:lnTo>
                  <a:lnTo>
                    <a:pt x="983" y="1478"/>
                  </a:lnTo>
                  <a:lnTo>
                    <a:pt x="981" y="1474"/>
                  </a:lnTo>
                  <a:lnTo>
                    <a:pt x="981" y="1475"/>
                  </a:lnTo>
                  <a:lnTo>
                    <a:pt x="978" y="1469"/>
                  </a:lnTo>
                  <a:lnTo>
                    <a:pt x="981" y="1462"/>
                  </a:lnTo>
                  <a:lnTo>
                    <a:pt x="982" y="1461"/>
                  </a:lnTo>
                  <a:lnTo>
                    <a:pt x="982" y="1460"/>
                  </a:lnTo>
                  <a:lnTo>
                    <a:pt x="981" y="1461"/>
                  </a:lnTo>
                  <a:lnTo>
                    <a:pt x="978" y="1463"/>
                  </a:lnTo>
                  <a:lnTo>
                    <a:pt x="978" y="1462"/>
                  </a:lnTo>
                  <a:lnTo>
                    <a:pt x="984" y="1458"/>
                  </a:lnTo>
                  <a:lnTo>
                    <a:pt x="984" y="1459"/>
                  </a:lnTo>
                  <a:lnTo>
                    <a:pt x="985" y="1459"/>
                  </a:lnTo>
                  <a:lnTo>
                    <a:pt x="984" y="1457"/>
                  </a:lnTo>
                  <a:lnTo>
                    <a:pt x="990" y="1453"/>
                  </a:lnTo>
                  <a:lnTo>
                    <a:pt x="997" y="1448"/>
                  </a:lnTo>
                  <a:lnTo>
                    <a:pt x="1000" y="1445"/>
                  </a:lnTo>
                  <a:lnTo>
                    <a:pt x="1003" y="1446"/>
                  </a:lnTo>
                  <a:lnTo>
                    <a:pt x="1002" y="1450"/>
                  </a:lnTo>
                  <a:lnTo>
                    <a:pt x="1003" y="1450"/>
                  </a:lnTo>
                  <a:lnTo>
                    <a:pt x="1005" y="1452"/>
                  </a:lnTo>
                  <a:lnTo>
                    <a:pt x="1005" y="1450"/>
                  </a:lnTo>
                  <a:lnTo>
                    <a:pt x="1005" y="1449"/>
                  </a:lnTo>
                  <a:lnTo>
                    <a:pt x="1008" y="1447"/>
                  </a:lnTo>
                  <a:lnTo>
                    <a:pt x="1012" y="1446"/>
                  </a:lnTo>
                  <a:lnTo>
                    <a:pt x="1014" y="1446"/>
                  </a:lnTo>
                  <a:lnTo>
                    <a:pt x="1015" y="1445"/>
                  </a:lnTo>
                  <a:lnTo>
                    <a:pt x="1014" y="1445"/>
                  </a:lnTo>
                  <a:lnTo>
                    <a:pt x="1010" y="1444"/>
                  </a:lnTo>
                  <a:lnTo>
                    <a:pt x="1006" y="1445"/>
                  </a:lnTo>
                  <a:lnTo>
                    <a:pt x="1004" y="1444"/>
                  </a:lnTo>
                  <a:lnTo>
                    <a:pt x="999" y="1444"/>
                  </a:lnTo>
                  <a:lnTo>
                    <a:pt x="997" y="1444"/>
                  </a:lnTo>
                  <a:lnTo>
                    <a:pt x="996" y="1445"/>
                  </a:lnTo>
                  <a:lnTo>
                    <a:pt x="994" y="1446"/>
                  </a:lnTo>
                  <a:lnTo>
                    <a:pt x="995" y="1444"/>
                  </a:lnTo>
                  <a:lnTo>
                    <a:pt x="1002" y="1439"/>
                  </a:lnTo>
                  <a:lnTo>
                    <a:pt x="1002" y="1438"/>
                  </a:lnTo>
                  <a:lnTo>
                    <a:pt x="1003" y="1437"/>
                  </a:lnTo>
                  <a:lnTo>
                    <a:pt x="1003" y="1436"/>
                  </a:lnTo>
                  <a:lnTo>
                    <a:pt x="1000" y="1438"/>
                  </a:lnTo>
                  <a:lnTo>
                    <a:pt x="1000" y="1437"/>
                  </a:lnTo>
                  <a:lnTo>
                    <a:pt x="997" y="1433"/>
                  </a:lnTo>
                  <a:lnTo>
                    <a:pt x="999" y="1436"/>
                  </a:lnTo>
                  <a:lnTo>
                    <a:pt x="997" y="1440"/>
                  </a:lnTo>
                  <a:lnTo>
                    <a:pt x="995" y="1441"/>
                  </a:lnTo>
                  <a:lnTo>
                    <a:pt x="984" y="1447"/>
                  </a:lnTo>
                  <a:lnTo>
                    <a:pt x="982" y="1448"/>
                  </a:lnTo>
                  <a:lnTo>
                    <a:pt x="980" y="1446"/>
                  </a:lnTo>
                  <a:lnTo>
                    <a:pt x="978" y="1446"/>
                  </a:lnTo>
                  <a:lnTo>
                    <a:pt x="980" y="1447"/>
                  </a:lnTo>
                  <a:lnTo>
                    <a:pt x="975" y="1451"/>
                  </a:lnTo>
                  <a:lnTo>
                    <a:pt x="974" y="1449"/>
                  </a:lnTo>
                  <a:lnTo>
                    <a:pt x="968" y="1449"/>
                  </a:lnTo>
                  <a:lnTo>
                    <a:pt x="967" y="1450"/>
                  </a:lnTo>
                  <a:lnTo>
                    <a:pt x="965" y="1448"/>
                  </a:lnTo>
                  <a:close/>
                  <a:moveTo>
                    <a:pt x="347" y="706"/>
                  </a:moveTo>
                  <a:lnTo>
                    <a:pt x="352" y="705"/>
                  </a:lnTo>
                  <a:lnTo>
                    <a:pt x="357" y="703"/>
                  </a:lnTo>
                  <a:lnTo>
                    <a:pt x="363" y="692"/>
                  </a:lnTo>
                  <a:lnTo>
                    <a:pt x="369" y="691"/>
                  </a:lnTo>
                  <a:lnTo>
                    <a:pt x="379" y="696"/>
                  </a:lnTo>
                  <a:lnTo>
                    <a:pt x="384" y="701"/>
                  </a:lnTo>
                  <a:lnTo>
                    <a:pt x="383" y="719"/>
                  </a:lnTo>
                  <a:lnTo>
                    <a:pt x="386" y="717"/>
                  </a:lnTo>
                  <a:lnTo>
                    <a:pt x="390" y="717"/>
                  </a:lnTo>
                  <a:lnTo>
                    <a:pt x="394" y="712"/>
                  </a:lnTo>
                  <a:lnTo>
                    <a:pt x="398" y="710"/>
                  </a:lnTo>
                  <a:lnTo>
                    <a:pt x="403" y="710"/>
                  </a:lnTo>
                  <a:lnTo>
                    <a:pt x="405" y="709"/>
                  </a:lnTo>
                  <a:lnTo>
                    <a:pt x="399" y="689"/>
                  </a:lnTo>
                  <a:lnTo>
                    <a:pt x="400" y="689"/>
                  </a:lnTo>
                  <a:lnTo>
                    <a:pt x="408" y="691"/>
                  </a:lnTo>
                  <a:lnTo>
                    <a:pt x="415" y="696"/>
                  </a:lnTo>
                  <a:lnTo>
                    <a:pt x="419" y="701"/>
                  </a:lnTo>
                  <a:lnTo>
                    <a:pt x="420" y="706"/>
                  </a:lnTo>
                  <a:lnTo>
                    <a:pt x="421" y="716"/>
                  </a:lnTo>
                  <a:lnTo>
                    <a:pt x="427" y="736"/>
                  </a:lnTo>
                  <a:lnTo>
                    <a:pt x="431" y="743"/>
                  </a:lnTo>
                  <a:lnTo>
                    <a:pt x="437" y="737"/>
                  </a:lnTo>
                  <a:lnTo>
                    <a:pt x="438" y="732"/>
                  </a:lnTo>
                  <a:lnTo>
                    <a:pt x="430" y="706"/>
                  </a:lnTo>
                  <a:lnTo>
                    <a:pt x="428" y="679"/>
                  </a:lnTo>
                  <a:lnTo>
                    <a:pt x="429" y="672"/>
                  </a:lnTo>
                  <a:lnTo>
                    <a:pt x="441" y="677"/>
                  </a:lnTo>
                  <a:lnTo>
                    <a:pt x="451" y="680"/>
                  </a:lnTo>
                  <a:lnTo>
                    <a:pt x="463" y="695"/>
                  </a:lnTo>
                  <a:lnTo>
                    <a:pt x="465" y="698"/>
                  </a:lnTo>
                  <a:lnTo>
                    <a:pt x="467" y="704"/>
                  </a:lnTo>
                  <a:lnTo>
                    <a:pt x="468" y="718"/>
                  </a:lnTo>
                  <a:lnTo>
                    <a:pt x="471" y="731"/>
                  </a:lnTo>
                  <a:lnTo>
                    <a:pt x="473" y="736"/>
                  </a:lnTo>
                  <a:lnTo>
                    <a:pt x="478" y="747"/>
                  </a:lnTo>
                  <a:lnTo>
                    <a:pt x="478" y="751"/>
                  </a:lnTo>
                  <a:lnTo>
                    <a:pt x="477" y="755"/>
                  </a:lnTo>
                  <a:lnTo>
                    <a:pt x="475" y="766"/>
                  </a:lnTo>
                  <a:lnTo>
                    <a:pt x="476" y="772"/>
                  </a:lnTo>
                  <a:lnTo>
                    <a:pt x="477" y="774"/>
                  </a:lnTo>
                  <a:lnTo>
                    <a:pt x="486" y="786"/>
                  </a:lnTo>
                  <a:lnTo>
                    <a:pt x="489" y="789"/>
                  </a:lnTo>
                  <a:lnTo>
                    <a:pt x="495" y="793"/>
                  </a:lnTo>
                  <a:lnTo>
                    <a:pt x="504" y="795"/>
                  </a:lnTo>
                  <a:lnTo>
                    <a:pt x="516" y="805"/>
                  </a:lnTo>
                  <a:lnTo>
                    <a:pt x="522" y="812"/>
                  </a:lnTo>
                  <a:lnTo>
                    <a:pt x="525" y="826"/>
                  </a:lnTo>
                  <a:lnTo>
                    <a:pt x="523" y="827"/>
                  </a:lnTo>
                  <a:lnTo>
                    <a:pt x="517" y="826"/>
                  </a:lnTo>
                  <a:lnTo>
                    <a:pt x="513" y="822"/>
                  </a:lnTo>
                  <a:lnTo>
                    <a:pt x="507" y="818"/>
                  </a:lnTo>
                  <a:lnTo>
                    <a:pt x="504" y="821"/>
                  </a:lnTo>
                  <a:lnTo>
                    <a:pt x="500" y="824"/>
                  </a:lnTo>
                  <a:lnTo>
                    <a:pt x="494" y="825"/>
                  </a:lnTo>
                  <a:lnTo>
                    <a:pt x="492" y="827"/>
                  </a:lnTo>
                  <a:lnTo>
                    <a:pt x="493" y="838"/>
                  </a:lnTo>
                  <a:lnTo>
                    <a:pt x="500" y="837"/>
                  </a:lnTo>
                  <a:lnTo>
                    <a:pt x="504" y="835"/>
                  </a:lnTo>
                  <a:lnTo>
                    <a:pt x="507" y="833"/>
                  </a:lnTo>
                  <a:lnTo>
                    <a:pt x="513" y="842"/>
                  </a:lnTo>
                  <a:lnTo>
                    <a:pt x="513" y="845"/>
                  </a:lnTo>
                  <a:lnTo>
                    <a:pt x="510" y="848"/>
                  </a:lnTo>
                  <a:lnTo>
                    <a:pt x="507" y="852"/>
                  </a:lnTo>
                  <a:lnTo>
                    <a:pt x="503" y="854"/>
                  </a:lnTo>
                  <a:lnTo>
                    <a:pt x="495" y="856"/>
                  </a:lnTo>
                  <a:lnTo>
                    <a:pt x="489" y="856"/>
                  </a:lnTo>
                  <a:lnTo>
                    <a:pt x="481" y="854"/>
                  </a:lnTo>
                  <a:lnTo>
                    <a:pt x="472" y="850"/>
                  </a:lnTo>
                  <a:lnTo>
                    <a:pt x="459" y="842"/>
                  </a:lnTo>
                  <a:lnTo>
                    <a:pt x="456" y="838"/>
                  </a:lnTo>
                  <a:lnTo>
                    <a:pt x="453" y="833"/>
                  </a:lnTo>
                  <a:lnTo>
                    <a:pt x="450" y="832"/>
                  </a:lnTo>
                  <a:lnTo>
                    <a:pt x="447" y="834"/>
                  </a:lnTo>
                  <a:lnTo>
                    <a:pt x="444" y="840"/>
                  </a:lnTo>
                  <a:lnTo>
                    <a:pt x="438" y="848"/>
                  </a:lnTo>
                  <a:lnTo>
                    <a:pt x="432" y="848"/>
                  </a:lnTo>
                  <a:lnTo>
                    <a:pt x="423" y="850"/>
                  </a:lnTo>
                  <a:lnTo>
                    <a:pt x="416" y="857"/>
                  </a:lnTo>
                  <a:lnTo>
                    <a:pt x="400" y="863"/>
                  </a:lnTo>
                  <a:lnTo>
                    <a:pt x="391" y="863"/>
                  </a:lnTo>
                  <a:lnTo>
                    <a:pt x="384" y="865"/>
                  </a:lnTo>
                  <a:lnTo>
                    <a:pt x="373" y="863"/>
                  </a:lnTo>
                  <a:lnTo>
                    <a:pt x="370" y="865"/>
                  </a:lnTo>
                  <a:lnTo>
                    <a:pt x="364" y="865"/>
                  </a:lnTo>
                  <a:lnTo>
                    <a:pt x="358" y="860"/>
                  </a:lnTo>
                  <a:lnTo>
                    <a:pt x="358" y="853"/>
                  </a:lnTo>
                  <a:lnTo>
                    <a:pt x="359" y="851"/>
                  </a:lnTo>
                  <a:lnTo>
                    <a:pt x="359" y="846"/>
                  </a:lnTo>
                  <a:lnTo>
                    <a:pt x="357" y="843"/>
                  </a:lnTo>
                  <a:lnTo>
                    <a:pt x="354" y="841"/>
                  </a:lnTo>
                  <a:lnTo>
                    <a:pt x="336" y="839"/>
                  </a:lnTo>
                  <a:lnTo>
                    <a:pt x="328" y="838"/>
                  </a:lnTo>
                  <a:lnTo>
                    <a:pt x="323" y="835"/>
                  </a:lnTo>
                  <a:lnTo>
                    <a:pt x="319" y="831"/>
                  </a:lnTo>
                  <a:lnTo>
                    <a:pt x="314" y="823"/>
                  </a:lnTo>
                  <a:lnTo>
                    <a:pt x="307" y="813"/>
                  </a:lnTo>
                  <a:lnTo>
                    <a:pt x="309" y="812"/>
                  </a:lnTo>
                  <a:lnTo>
                    <a:pt x="312" y="808"/>
                  </a:lnTo>
                  <a:lnTo>
                    <a:pt x="321" y="808"/>
                  </a:lnTo>
                  <a:lnTo>
                    <a:pt x="324" y="804"/>
                  </a:lnTo>
                  <a:lnTo>
                    <a:pt x="328" y="805"/>
                  </a:lnTo>
                  <a:lnTo>
                    <a:pt x="333" y="804"/>
                  </a:lnTo>
                  <a:lnTo>
                    <a:pt x="338" y="803"/>
                  </a:lnTo>
                  <a:lnTo>
                    <a:pt x="348" y="803"/>
                  </a:lnTo>
                  <a:lnTo>
                    <a:pt x="354" y="803"/>
                  </a:lnTo>
                  <a:lnTo>
                    <a:pt x="366" y="804"/>
                  </a:lnTo>
                  <a:lnTo>
                    <a:pt x="373" y="804"/>
                  </a:lnTo>
                  <a:lnTo>
                    <a:pt x="383" y="803"/>
                  </a:lnTo>
                  <a:lnTo>
                    <a:pt x="385" y="800"/>
                  </a:lnTo>
                  <a:lnTo>
                    <a:pt x="381" y="797"/>
                  </a:lnTo>
                  <a:lnTo>
                    <a:pt x="368" y="788"/>
                  </a:lnTo>
                  <a:lnTo>
                    <a:pt x="356" y="784"/>
                  </a:lnTo>
                  <a:lnTo>
                    <a:pt x="333" y="783"/>
                  </a:lnTo>
                  <a:lnTo>
                    <a:pt x="323" y="783"/>
                  </a:lnTo>
                  <a:lnTo>
                    <a:pt x="313" y="784"/>
                  </a:lnTo>
                  <a:lnTo>
                    <a:pt x="308" y="785"/>
                  </a:lnTo>
                  <a:lnTo>
                    <a:pt x="304" y="785"/>
                  </a:lnTo>
                  <a:lnTo>
                    <a:pt x="294" y="775"/>
                  </a:lnTo>
                  <a:lnTo>
                    <a:pt x="294" y="772"/>
                  </a:lnTo>
                  <a:lnTo>
                    <a:pt x="296" y="770"/>
                  </a:lnTo>
                  <a:lnTo>
                    <a:pt x="301" y="770"/>
                  </a:lnTo>
                  <a:lnTo>
                    <a:pt x="309" y="766"/>
                  </a:lnTo>
                  <a:lnTo>
                    <a:pt x="315" y="766"/>
                  </a:lnTo>
                  <a:lnTo>
                    <a:pt x="325" y="764"/>
                  </a:lnTo>
                  <a:lnTo>
                    <a:pt x="331" y="762"/>
                  </a:lnTo>
                  <a:lnTo>
                    <a:pt x="333" y="757"/>
                  </a:lnTo>
                  <a:lnTo>
                    <a:pt x="331" y="750"/>
                  </a:lnTo>
                  <a:lnTo>
                    <a:pt x="319" y="752"/>
                  </a:lnTo>
                  <a:lnTo>
                    <a:pt x="310" y="755"/>
                  </a:lnTo>
                  <a:lnTo>
                    <a:pt x="308" y="754"/>
                  </a:lnTo>
                  <a:lnTo>
                    <a:pt x="304" y="750"/>
                  </a:lnTo>
                  <a:lnTo>
                    <a:pt x="300" y="743"/>
                  </a:lnTo>
                  <a:lnTo>
                    <a:pt x="297" y="740"/>
                  </a:lnTo>
                  <a:lnTo>
                    <a:pt x="292" y="741"/>
                  </a:lnTo>
                  <a:lnTo>
                    <a:pt x="288" y="736"/>
                  </a:lnTo>
                  <a:lnTo>
                    <a:pt x="288" y="731"/>
                  </a:lnTo>
                  <a:lnTo>
                    <a:pt x="296" y="712"/>
                  </a:lnTo>
                  <a:lnTo>
                    <a:pt x="311" y="695"/>
                  </a:lnTo>
                  <a:lnTo>
                    <a:pt x="316" y="693"/>
                  </a:lnTo>
                  <a:lnTo>
                    <a:pt x="319" y="689"/>
                  </a:lnTo>
                  <a:lnTo>
                    <a:pt x="326" y="684"/>
                  </a:lnTo>
                  <a:lnTo>
                    <a:pt x="334" y="680"/>
                  </a:lnTo>
                  <a:lnTo>
                    <a:pt x="338" y="675"/>
                  </a:lnTo>
                  <a:lnTo>
                    <a:pt x="345" y="673"/>
                  </a:lnTo>
                  <a:lnTo>
                    <a:pt x="351" y="678"/>
                  </a:lnTo>
                  <a:lnTo>
                    <a:pt x="351" y="682"/>
                  </a:lnTo>
                  <a:lnTo>
                    <a:pt x="347" y="689"/>
                  </a:lnTo>
                  <a:lnTo>
                    <a:pt x="347" y="706"/>
                  </a:lnTo>
                  <a:close/>
                  <a:moveTo>
                    <a:pt x="919" y="1048"/>
                  </a:moveTo>
                  <a:lnTo>
                    <a:pt x="918" y="1046"/>
                  </a:lnTo>
                  <a:lnTo>
                    <a:pt x="911" y="1042"/>
                  </a:lnTo>
                  <a:lnTo>
                    <a:pt x="907" y="1038"/>
                  </a:lnTo>
                  <a:lnTo>
                    <a:pt x="906" y="1035"/>
                  </a:lnTo>
                  <a:lnTo>
                    <a:pt x="908" y="1034"/>
                  </a:lnTo>
                  <a:lnTo>
                    <a:pt x="912" y="1028"/>
                  </a:lnTo>
                  <a:lnTo>
                    <a:pt x="904" y="1021"/>
                  </a:lnTo>
                  <a:lnTo>
                    <a:pt x="897" y="1019"/>
                  </a:lnTo>
                  <a:lnTo>
                    <a:pt x="892" y="1015"/>
                  </a:lnTo>
                  <a:lnTo>
                    <a:pt x="887" y="1005"/>
                  </a:lnTo>
                  <a:lnTo>
                    <a:pt x="887" y="998"/>
                  </a:lnTo>
                  <a:lnTo>
                    <a:pt x="880" y="997"/>
                  </a:lnTo>
                  <a:lnTo>
                    <a:pt x="873" y="992"/>
                  </a:lnTo>
                  <a:lnTo>
                    <a:pt x="869" y="991"/>
                  </a:lnTo>
                  <a:lnTo>
                    <a:pt x="870" y="1002"/>
                  </a:lnTo>
                  <a:lnTo>
                    <a:pt x="870" y="1003"/>
                  </a:lnTo>
                  <a:lnTo>
                    <a:pt x="867" y="1003"/>
                  </a:lnTo>
                  <a:lnTo>
                    <a:pt x="857" y="998"/>
                  </a:lnTo>
                  <a:lnTo>
                    <a:pt x="855" y="999"/>
                  </a:lnTo>
                  <a:lnTo>
                    <a:pt x="853" y="1003"/>
                  </a:lnTo>
                  <a:lnTo>
                    <a:pt x="851" y="1007"/>
                  </a:lnTo>
                  <a:lnTo>
                    <a:pt x="843" y="1008"/>
                  </a:lnTo>
                  <a:lnTo>
                    <a:pt x="835" y="1006"/>
                  </a:lnTo>
                  <a:lnTo>
                    <a:pt x="827" y="1003"/>
                  </a:lnTo>
                  <a:lnTo>
                    <a:pt x="822" y="1000"/>
                  </a:lnTo>
                  <a:lnTo>
                    <a:pt x="822" y="995"/>
                  </a:lnTo>
                  <a:lnTo>
                    <a:pt x="823" y="990"/>
                  </a:lnTo>
                  <a:lnTo>
                    <a:pt x="825" y="985"/>
                  </a:lnTo>
                  <a:lnTo>
                    <a:pt x="832" y="983"/>
                  </a:lnTo>
                  <a:lnTo>
                    <a:pt x="833" y="980"/>
                  </a:lnTo>
                  <a:lnTo>
                    <a:pt x="832" y="973"/>
                  </a:lnTo>
                  <a:lnTo>
                    <a:pt x="833" y="973"/>
                  </a:lnTo>
                  <a:lnTo>
                    <a:pt x="841" y="974"/>
                  </a:lnTo>
                  <a:lnTo>
                    <a:pt x="850" y="976"/>
                  </a:lnTo>
                  <a:lnTo>
                    <a:pt x="853" y="979"/>
                  </a:lnTo>
                  <a:lnTo>
                    <a:pt x="858" y="987"/>
                  </a:lnTo>
                  <a:lnTo>
                    <a:pt x="859" y="982"/>
                  </a:lnTo>
                  <a:lnTo>
                    <a:pt x="858" y="979"/>
                  </a:lnTo>
                  <a:lnTo>
                    <a:pt x="858" y="976"/>
                  </a:lnTo>
                  <a:lnTo>
                    <a:pt x="862" y="976"/>
                  </a:lnTo>
                  <a:lnTo>
                    <a:pt x="867" y="974"/>
                  </a:lnTo>
                  <a:lnTo>
                    <a:pt x="871" y="972"/>
                  </a:lnTo>
                  <a:lnTo>
                    <a:pt x="875" y="971"/>
                  </a:lnTo>
                  <a:lnTo>
                    <a:pt x="878" y="971"/>
                  </a:lnTo>
                  <a:lnTo>
                    <a:pt x="883" y="972"/>
                  </a:lnTo>
                  <a:lnTo>
                    <a:pt x="883" y="968"/>
                  </a:lnTo>
                  <a:lnTo>
                    <a:pt x="877" y="956"/>
                  </a:lnTo>
                  <a:lnTo>
                    <a:pt x="872" y="951"/>
                  </a:lnTo>
                  <a:lnTo>
                    <a:pt x="871" y="948"/>
                  </a:lnTo>
                  <a:lnTo>
                    <a:pt x="873" y="946"/>
                  </a:lnTo>
                  <a:lnTo>
                    <a:pt x="876" y="944"/>
                  </a:lnTo>
                  <a:lnTo>
                    <a:pt x="880" y="941"/>
                  </a:lnTo>
                  <a:lnTo>
                    <a:pt x="889" y="932"/>
                  </a:lnTo>
                  <a:lnTo>
                    <a:pt x="891" y="924"/>
                  </a:lnTo>
                  <a:lnTo>
                    <a:pt x="895" y="917"/>
                  </a:lnTo>
                  <a:lnTo>
                    <a:pt x="898" y="911"/>
                  </a:lnTo>
                  <a:lnTo>
                    <a:pt x="897" y="902"/>
                  </a:lnTo>
                  <a:lnTo>
                    <a:pt x="892" y="889"/>
                  </a:lnTo>
                  <a:lnTo>
                    <a:pt x="890" y="881"/>
                  </a:lnTo>
                  <a:lnTo>
                    <a:pt x="886" y="876"/>
                  </a:lnTo>
                  <a:lnTo>
                    <a:pt x="884" y="876"/>
                  </a:lnTo>
                  <a:lnTo>
                    <a:pt x="877" y="871"/>
                  </a:lnTo>
                  <a:lnTo>
                    <a:pt x="871" y="863"/>
                  </a:lnTo>
                  <a:lnTo>
                    <a:pt x="869" y="855"/>
                  </a:lnTo>
                  <a:lnTo>
                    <a:pt x="866" y="849"/>
                  </a:lnTo>
                  <a:lnTo>
                    <a:pt x="864" y="852"/>
                  </a:lnTo>
                  <a:lnTo>
                    <a:pt x="860" y="856"/>
                  </a:lnTo>
                  <a:lnTo>
                    <a:pt x="855" y="855"/>
                  </a:lnTo>
                  <a:lnTo>
                    <a:pt x="854" y="857"/>
                  </a:lnTo>
                  <a:lnTo>
                    <a:pt x="850" y="857"/>
                  </a:lnTo>
                  <a:lnTo>
                    <a:pt x="843" y="860"/>
                  </a:lnTo>
                  <a:lnTo>
                    <a:pt x="841" y="849"/>
                  </a:lnTo>
                  <a:lnTo>
                    <a:pt x="847" y="848"/>
                  </a:lnTo>
                  <a:lnTo>
                    <a:pt x="855" y="847"/>
                  </a:lnTo>
                  <a:lnTo>
                    <a:pt x="856" y="842"/>
                  </a:lnTo>
                  <a:lnTo>
                    <a:pt x="846" y="832"/>
                  </a:lnTo>
                  <a:lnTo>
                    <a:pt x="837" y="821"/>
                  </a:lnTo>
                  <a:lnTo>
                    <a:pt x="832" y="820"/>
                  </a:lnTo>
                  <a:lnTo>
                    <a:pt x="829" y="817"/>
                  </a:lnTo>
                  <a:lnTo>
                    <a:pt x="828" y="808"/>
                  </a:lnTo>
                  <a:lnTo>
                    <a:pt x="823" y="802"/>
                  </a:lnTo>
                  <a:lnTo>
                    <a:pt x="821" y="801"/>
                  </a:lnTo>
                  <a:lnTo>
                    <a:pt x="816" y="796"/>
                  </a:lnTo>
                  <a:lnTo>
                    <a:pt x="811" y="790"/>
                  </a:lnTo>
                  <a:lnTo>
                    <a:pt x="809" y="788"/>
                  </a:lnTo>
                  <a:lnTo>
                    <a:pt x="806" y="790"/>
                  </a:lnTo>
                  <a:lnTo>
                    <a:pt x="801" y="787"/>
                  </a:lnTo>
                  <a:lnTo>
                    <a:pt x="794" y="783"/>
                  </a:lnTo>
                  <a:lnTo>
                    <a:pt x="791" y="781"/>
                  </a:lnTo>
                  <a:lnTo>
                    <a:pt x="789" y="784"/>
                  </a:lnTo>
                  <a:lnTo>
                    <a:pt x="792" y="789"/>
                  </a:lnTo>
                  <a:lnTo>
                    <a:pt x="795" y="790"/>
                  </a:lnTo>
                  <a:lnTo>
                    <a:pt x="811" y="803"/>
                  </a:lnTo>
                  <a:lnTo>
                    <a:pt x="814" y="807"/>
                  </a:lnTo>
                  <a:lnTo>
                    <a:pt x="814" y="812"/>
                  </a:lnTo>
                  <a:lnTo>
                    <a:pt x="811" y="817"/>
                  </a:lnTo>
                  <a:lnTo>
                    <a:pt x="807" y="818"/>
                  </a:lnTo>
                  <a:lnTo>
                    <a:pt x="804" y="817"/>
                  </a:lnTo>
                  <a:lnTo>
                    <a:pt x="800" y="816"/>
                  </a:lnTo>
                  <a:lnTo>
                    <a:pt x="795" y="812"/>
                  </a:lnTo>
                  <a:lnTo>
                    <a:pt x="788" y="807"/>
                  </a:lnTo>
                  <a:lnTo>
                    <a:pt x="784" y="806"/>
                  </a:lnTo>
                  <a:lnTo>
                    <a:pt x="783" y="809"/>
                  </a:lnTo>
                  <a:lnTo>
                    <a:pt x="783" y="812"/>
                  </a:lnTo>
                  <a:lnTo>
                    <a:pt x="785" y="817"/>
                  </a:lnTo>
                  <a:lnTo>
                    <a:pt x="787" y="824"/>
                  </a:lnTo>
                  <a:lnTo>
                    <a:pt x="777" y="815"/>
                  </a:lnTo>
                  <a:lnTo>
                    <a:pt x="774" y="814"/>
                  </a:lnTo>
                  <a:lnTo>
                    <a:pt x="772" y="816"/>
                  </a:lnTo>
                  <a:lnTo>
                    <a:pt x="768" y="818"/>
                  </a:lnTo>
                  <a:lnTo>
                    <a:pt x="763" y="815"/>
                  </a:lnTo>
                  <a:lnTo>
                    <a:pt x="759" y="812"/>
                  </a:lnTo>
                  <a:lnTo>
                    <a:pt x="754" y="815"/>
                  </a:lnTo>
                  <a:lnTo>
                    <a:pt x="745" y="812"/>
                  </a:lnTo>
                  <a:lnTo>
                    <a:pt x="734" y="809"/>
                  </a:lnTo>
                  <a:lnTo>
                    <a:pt x="726" y="809"/>
                  </a:lnTo>
                  <a:lnTo>
                    <a:pt x="719" y="809"/>
                  </a:lnTo>
                  <a:lnTo>
                    <a:pt x="714" y="806"/>
                  </a:lnTo>
                  <a:lnTo>
                    <a:pt x="714" y="795"/>
                  </a:lnTo>
                  <a:lnTo>
                    <a:pt x="712" y="792"/>
                  </a:lnTo>
                  <a:lnTo>
                    <a:pt x="707" y="791"/>
                  </a:lnTo>
                  <a:lnTo>
                    <a:pt x="705" y="797"/>
                  </a:lnTo>
                  <a:lnTo>
                    <a:pt x="701" y="799"/>
                  </a:lnTo>
                  <a:lnTo>
                    <a:pt x="694" y="798"/>
                  </a:lnTo>
                  <a:lnTo>
                    <a:pt x="687" y="795"/>
                  </a:lnTo>
                  <a:lnTo>
                    <a:pt x="680" y="787"/>
                  </a:lnTo>
                  <a:lnTo>
                    <a:pt x="677" y="780"/>
                  </a:lnTo>
                  <a:lnTo>
                    <a:pt x="678" y="775"/>
                  </a:lnTo>
                  <a:lnTo>
                    <a:pt x="683" y="774"/>
                  </a:lnTo>
                  <a:lnTo>
                    <a:pt x="690" y="775"/>
                  </a:lnTo>
                  <a:lnTo>
                    <a:pt x="697" y="777"/>
                  </a:lnTo>
                  <a:lnTo>
                    <a:pt x="702" y="776"/>
                  </a:lnTo>
                  <a:lnTo>
                    <a:pt x="704" y="773"/>
                  </a:lnTo>
                  <a:lnTo>
                    <a:pt x="698" y="765"/>
                  </a:lnTo>
                  <a:lnTo>
                    <a:pt x="694" y="760"/>
                  </a:lnTo>
                  <a:lnTo>
                    <a:pt x="688" y="758"/>
                  </a:lnTo>
                  <a:lnTo>
                    <a:pt x="682" y="755"/>
                  </a:lnTo>
                  <a:lnTo>
                    <a:pt x="678" y="756"/>
                  </a:lnTo>
                  <a:lnTo>
                    <a:pt x="674" y="756"/>
                  </a:lnTo>
                  <a:lnTo>
                    <a:pt x="667" y="752"/>
                  </a:lnTo>
                  <a:lnTo>
                    <a:pt x="667" y="744"/>
                  </a:lnTo>
                  <a:lnTo>
                    <a:pt x="669" y="734"/>
                  </a:lnTo>
                  <a:lnTo>
                    <a:pt x="671" y="731"/>
                  </a:lnTo>
                  <a:lnTo>
                    <a:pt x="675" y="730"/>
                  </a:lnTo>
                  <a:lnTo>
                    <a:pt x="676" y="725"/>
                  </a:lnTo>
                  <a:lnTo>
                    <a:pt x="669" y="718"/>
                  </a:lnTo>
                  <a:lnTo>
                    <a:pt x="669" y="714"/>
                  </a:lnTo>
                  <a:lnTo>
                    <a:pt x="672" y="699"/>
                  </a:lnTo>
                  <a:lnTo>
                    <a:pt x="679" y="680"/>
                  </a:lnTo>
                  <a:lnTo>
                    <a:pt x="682" y="674"/>
                  </a:lnTo>
                  <a:lnTo>
                    <a:pt x="687" y="668"/>
                  </a:lnTo>
                  <a:lnTo>
                    <a:pt x="692" y="660"/>
                  </a:lnTo>
                  <a:lnTo>
                    <a:pt x="694" y="659"/>
                  </a:lnTo>
                  <a:lnTo>
                    <a:pt x="696" y="656"/>
                  </a:lnTo>
                  <a:lnTo>
                    <a:pt x="700" y="656"/>
                  </a:lnTo>
                  <a:lnTo>
                    <a:pt x="703" y="653"/>
                  </a:lnTo>
                  <a:lnTo>
                    <a:pt x="708" y="651"/>
                  </a:lnTo>
                  <a:lnTo>
                    <a:pt x="716" y="649"/>
                  </a:lnTo>
                  <a:lnTo>
                    <a:pt x="724" y="649"/>
                  </a:lnTo>
                  <a:lnTo>
                    <a:pt x="729" y="653"/>
                  </a:lnTo>
                  <a:lnTo>
                    <a:pt x="723" y="662"/>
                  </a:lnTo>
                  <a:lnTo>
                    <a:pt x="719" y="672"/>
                  </a:lnTo>
                  <a:lnTo>
                    <a:pt x="711" y="685"/>
                  </a:lnTo>
                  <a:lnTo>
                    <a:pt x="708" y="695"/>
                  </a:lnTo>
                  <a:lnTo>
                    <a:pt x="709" y="703"/>
                  </a:lnTo>
                  <a:lnTo>
                    <a:pt x="716" y="713"/>
                  </a:lnTo>
                  <a:lnTo>
                    <a:pt x="714" y="719"/>
                  </a:lnTo>
                  <a:lnTo>
                    <a:pt x="713" y="727"/>
                  </a:lnTo>
                  <a:lnTo>
                    <a:pt x="715" y="733"/>
                  </a:lnTo>
                  <a:lnTo>
                    <a:pt x="720" y="743"/>
                  </a:lnTo>
                  <a:lnTo>
                    <a:pt x="729" y="755"/>
                  </a:lnTo>
                  <a:lnTo>
                    <a:pt x="729" y="757"/>
                  </a:lnTo>
                  <a:lnTo>
                    <a:pt x="721" y="763"/>
                  </a:lnTo>
                  <a:lnTo>
                    <a:pt x="721" y="769"/>
                  </a:lnTo>
                  <a:lnTo>
                    <a:pt x="726" y="770"/>
                  </a:lnTo>
                  <a:lnTo>
                    <a:pt x="735" y="771"/>
                  </a:lnTo>
                  <a:lnTo>
                    <a:pt x="739" y="760"/>
                  </a:lnTo>
                  <a:lnTo>
                    <a:pt x="738" y="752"/>
                  </a:lnTo>
                  <a:lnTo>
                    <a:pt x="736" y="747"/>
                  </a:lnTo>
                  <a:lnTo>
                    <a:pt x="732" y="745"/>
                  </a:lnTo>
                  <a:lnTo>
                    <a:pt x="730" y="742"/>
                  </a:lnTo>
                  <a:lnTo>
                    <a:pt x="724" y="732"/>
                  </a:lnTo>
                  <a:lnTo>
                    <a:pt x="725" y="729"/>
                  </a:lnTo>
                  <a:lnTo>
                    <a:pt x="728" y="724"/>
                  </a:lnTo>
                  <a:lnTo>
                    <a:pt x="731" y="721"/>
                  </a:lnTo>
                  <a:lnTo>
                    <a:pt x="736" y="723"/>
                  </a:lnTo>
                  <a:lnTo>
                    <a:pt x="741" y="722"/>
                  </a:lnTo>
                  <a:lnTo>
                    <a:pt x="735" y="713"/>
                  </a:lnTo>
                  <a:lnTo>
                    <a:pt x="730" y="712"/>
                  </a:lnTo>
                  <a:lnTo>
                    <a:pt x="726" y="706"/>
                  </a:lnTo>
                  <a:lnTo>
                    <a:pt x="725" y="703"/>
                  </a:lnTo>
                  <a:lnTo>
                    <a:pt x="726" y="692"/>
                  </a:lnTo>
                  <a:lnTo>
                    <a:pt x="731" y="685"/>
                  </a:lnTo>
                  <a:lnTo>
                    <a:pt x="738" y="687"/>
                  </a:lnTo>
                  <a:lnTo>
                    <a:pt x="747" y="686"/>
                  </a:lnTo>
                  <a:lnTo>
                    <a:pt x="741" y="680"/>
                  </a:lnTo>
                  <a:lnTo>
                    <a:pt x="734" y="673"/>
                  </a:lnTo>
                  <a:lnTo>
                    <a:pt x="739" y="667"/>
                  </a:lnTo>
                  <a:lnTo>
                    <a:pt x="746" y="663"/>
                  </a:lnTo>
                  <a:lnTo>
                    <a:pt x="753" y="660"/>
                  </a:lnTo>
                  <a:lnTo>
                    <a:pt x="762" y="653"/>
                  </a:lnTo>
                  <a:lnTo>
                    <a:pt x="769" y="654"/>
                  </a:lnTo>
                  <a:lnTo>
                    <a:pt x="772" y="655"/>
                  </a:lnTo>
                  <a:lnTo>
                    <a:pt x="778" y="658"/>
                  </a:lnTo>
                  <a:lnTo>
                    <a:pt x="782" y="668"/>
                  </a:lnTo>
                  <a:lnTo>
                    <a:pt x="791" y="688"/>
                  </a:lnTo>
                  <a:lnTo>
                    <a:pt x="792" y="690"/>
                  </a:lnTo>
                  <a:lnTo>
                    <a:pt x="788" y="704"/>
                  </a:lnTo>
                  <a:lnTo>
                    <a:pt x="784" y="716"/>
                  </a:lnTo>
                  <a:lnTo>
                    <a:pt x="784" y="730"/>
                  </a:lnTo>
                  <a:lnTo>
                    <a:pt x="786" y="732"/>
                  </a:lnTo>
                  <a:lnTo>
                    <a:pt x="790" y="733"/>
                  </a:lnTo>
                  <a:lnTo>
                    <a:pt x="796" y="727"/>
                  </a:lnTo>
                  <a:lnTo>
                    <a:pt x="798" y="718"/>
                  </a:lnTo>
                  <a:lnTo>
                    <a:pt x="802" y="716"/>
                  </a:lnTo>
                  <a:lnTo>
                    <a:pt x="806" y="717"/>
                  </a:lnTo>
                  <a:lnTo>
                    <a:pt x="809" y="720"/>
                  </a:lnTo>
                  <a:lnTo>
                    <a:pt x="809" y="725"/>
                  </a:lnTo>
                  <a:lnTo>
                    <a:pt x="810" y="734"/>
                  </a:lnTo>
                  <a:lnTo>
                    <a:pt x="815" y="738"/>
                  </a:lnTo>
                  <a:lnTo>
                    <a:pt x="816" y="736"/>
                  </a:lnTo>
                  <a:lnTo>
                    <a:pt x="815" y="719"/>
                  </a:lnTo>
                  <a:lnTo>
                    <a:pt x="816" y="717"/>
                  </a:lnTo>
                  <a:lnTo>
                    <a:pt x="819" y="707"/>
                  </a:lnTo>
                  <a:lnTo>
                    <a:pt x="825" y="702"/>
                  </a:lnTo>
                  <a:lnTo>
                    <a:pt x="831" y="701"/>
                  </a:lnTo>
                  <a:lnTo>
                    <a:pt x="835" y="702"/>
                  </a:lnTo>
                  <a:lnTo>
                    <a:pt x="841" y="706"/>
                  </a:lnTo>
                  <a:lnTo>
                    <a:pt x="848" y="708"/>
                  </a:lnTo>
                  <a:lnTo>
                    <a:pt x="855" y="706"/>
                  </a:lnTo>
                  <a:lnTo>
                    <a:pt x="859" y="709"/>
                  </a:lnTo>
                  <a:lnTo>
                    <a:pt x="861" y="714"/>
                  </a:lnTo>
                  <a:lnTo>
                    <a:pt x="864" y="721"/>
                  </a:lnTo>
                  <a:lnTo>
                    <a:pt x="868" y="724"/>
                  </a:lnTo>
                  <a:lnTo>
                    <a:pt x="872" y="731"/>
                  </a:lnTo>
                  <a:lnTo>
                    <a:pt x="872" y="734"/>
                  </a:lnTo>
                  <a:lnTo>
                    <a:pt x="869" y="736"/>
                  </a:lnTo>
                  <a:lnTo>
                    <a:pt x="866" y="742"/>
                  </a:lnTo>
                  <a:lnTo>
                    <a:pt x="861" y="746"/>
                  </a:lnTo>
                  <a:lnTo>
                    <a:pt x="860" y="751"/>
                  </a:lnTo>
                  <a:lnTo>
                    <a:pt x="863" y="755"/>
                  </a:lnTo>
                  <a:lnTo>
                    <a:pt x="865" y="757"/>
                  </a:lnTo>
                  <a:lnTo>
                    <a:pt x="871" y="749"/>
                  </a:lnTo>
                  <a:lnTo>
                    <a:pt x="874" y="746"/>
                  </a:lnTo>
                  <a:lnTo>
                    <a:pt x="877" y="747"/>
                  </a:lnTo>
                  <a:lnTo>
                    <a:pt x="880" y="751"/>
                  </a:lnTo>
                  <a:lnTo>
                    <a:pt x="882" y="760"/>
                  </a:lnTo>
                  <a:lnTo>
                    <a:pt x="885" y="767"/>
                  </a:lnTo>
                  <a:lnTo>
                    <a:pt x="888" y="763"/>
                  </a:lnTo>
                  <a:lnTo>
                    <a:pt x="895" y="748"/>
                  </a:lnTo>
                  <a:lnTo>
                    <a:pt x="906" y="753"/>
                  </a:lnTo>
                  <a:lnTo>
                    <a:pt x="912" y="760"/>
                  </a:lnTo>
                  <a:lnTo>
                    <a:pt x="912" y="761"/>
                  </a:lnTo>
                  <a:lnTo>
                    <a:pt x="908" y="767"/>
                  </a:lnTo>
                  <a:lnTo>
                    <a:pt x="904" y="776"/>
                  </a:lnTo>
                  <a:lnTo>
                    <a:pt x="910" y="776"/>
                  </a:lnTo>
                  <a:lnTo>
                    <a:pt x="913" y="773"/>
                  </a:lnTo>
                  <a:lnTo>
                    <a:pt x="919" y="770"/>
                  </a:lnTo>
                  <a:lnTo>
                    <a:pt x="920" y="783"/>
                  </a:lnTo>
                  <a:lnTo>
                    <a:pt x="924" y="789"/>
                  </a:lnTo>
                  <a:lnTo>
                    <a:pt x="927" y="788"/>
                  </a:lnTo>
                  <a:lnTo>
                    <a:pt x="932" y="784"/>
                  </a:lnTo>
                  <a:lnTo>
                    <a:pt x="940" y="782"/>
                  </a:lnTo>
                  <a:lnTo>
                    <a:pt x="945" y="787"/>
                  </a:lnTo>
                  <a:lnTo>
                    <a:pt x="948" y="791"/>
                  </a:lnTo>
                  <a:lnTo>
                    <a:pt x="947" y="794"/>
                  </a:lnTo>
                  <a:lnTo>
                    <a:pt x="945" y="798"/>
                  </a:lnTo>
                  <a:lnTo>
                    <a:pt x="934" y="805"/>
                  </a:lnTo>
                  <a:lnTo>
                    <a:pt x="932" y="810"/>
                  </a:lnTo>
                  <a:lnTo>
                    <a:pt x="935" y="815"/>
                  </a:lnTo>
                  <a:lnTo>
                    <a:pt x="938" y="814"/>
                  </a:lnTo>
                  <a:lnTo>
                    <a:pt x="942" y="811"/>
                  </a:lnTo>
                  <a:lnTo>
                    <a:pt x="949" y="808"/>
                  </a:lnTo>
                  <a:lnTo>
                    <a:pt x="952" y="803"/>
                  </a:lnTo>
                  <a:lnTo>
                    <a:pt x="954" y="802"/>
                  </a:lnTo>
                  <a:lnTo>
                    <a:pt x="957" y="803"/>
                  </a:lnTo>
                  <a:lnTo>
                    <a:pt x="960" y="806"/>
                  </a:lnTo>
                  <a:lnTo>
                    <a:pt x="963" y="812"/>
                  </a:lnTo>
                  <a:lnTo>
                    <a:pt x="967" y="821"/>
                  </a:lnTo>
                  <a:lnTo>
                    <a:pt x="961" y="821"/>
                  </a:lnTo>
                  <a:lnTo>
                    <a:pt x="954" y="822"/>
                  </a:lnTo>
                  <a:lnTo>
                    <a:pt x="951" y="824"/>
                  </a:lnTo>
                  <a:lnTo>
                    <a:pt x="952" y="829"/>
                  </a:lnTo>
                  <a:lnTo>
                    <a:pt x="954" y="831"/>
                  </a:lnTo>
                  <a:lnTo>
                    <a:pt x="962" y="832"/>
                  </a:lnTo>
                  <a:lnTo>
                    <a:pt x="967" y="835"/>
                  </a:lnTo>
                  <a:lnTo>
                    <a:pt x="970" y="839"/>
                  </a:lnTo>
                  <a:lnTo>
                    <a:pt x="972" y="844"/>
                  </a:lnTo>
                  <a:lnTo>
                    <a:pt x="970" y="844"/>
                  </a:lnTo>
                  <a:lnTo>
                    <a:pt x="965" y="844"/>
                  </a:lnTo>
                  <a:lnTo>
                    <a:pt x="959" y="843"/>
                  </a:lnTo>
                  <a:lnTo>
                    <a:pt x="954" y="839"/>
                  </a:lnTo>
                  <a:lnTo>
                    <a:pt x="949" y="838"/>
                  </a:lnTo>
                  <a:lnTo>
                    <a:pt x="947" y="841"/>
                  </a:lnTo>
                  <a:lnTo>
                    <a:pt x="955" y="851"/>
                  </a:lnTo>
                  <a:lnTo>
                    <a:pt x="953" y="854"/>
                  </a:lnTo>
                  <a:lnTo>
                    <a:pt x="944" y="856"/>
                  </a:lnTo>
                  <a:lnTo>
                    <a:pt x="946" y="861"/>
                  </a:lnTo>
                  <a:lnTo>
                    <a:pt x="948" y="863"/>
                  </a:lnTo>
                  <a:lnTo>
                    <a:pt x="951" y="864"/>
                  </a:lnTo>
                  <a:lnTo>
                    <a:pt x="959" y="870"/>
                  </a:lnTo>
                  <a:lnTo>
                    <a:pt x="967" y="875"/>
                  </a:lnTo>
                  <a:lnTo>
                    <a:pt x="969" y="878"/>
                  </a:lnTo>
                  <a:lnTo>
                    <a:pt x="969" y="883"/>
                  </a:lnTo>
                  <a:lnTo>
                    <a:pt x="971" y="889"/>
                  </a:lnTo>
                  <a:lnTo>
                    <a:pt x="975" y="885"/>
                  </a:lnTo>
                  <a:lnTo>
                    <a:pt x="978" y="886"/>
                  </a:lnTo>
                  <a:lnTo>
                    <a:pt x="987" y="890"/>
                  </a:lnTo>
                  <a:lnTo>
                    <a:pt x="988" y="890"/>
                  </a:lnTo>
                  <a:lnTo>
                    <a:pt x="992" y="887"/>
                  </a:lnTo>
                  <a:lnTo>
                    <a:pt x="996" y="888"/>
                  </a:lnTo>
                  <a:lnTo>
                    <a:pt x="1000" y="893"/>
                  </a:lnTo>
                  <a:lnTo>
                    <a:pt x="1005" y="901"/>
                  </a:lnTo>
                  <a:lnTo>
                    <a:pt x="1008" y="906"/>
                  </a:lnTo>
                  <a:lnTo>
                    <a:pt x="1003" y="908"/>
                  </a:lnTo>
                  <a:lnTo>
                    <a:pt x="999" y="910"/>
                  </a:lnTo>
                  <a:lnTo>
                    <a:pt x="999" y="916"/>
                  </a:lnTo>
                  <a:lnTo>
                    <a:pt x="1003" y="916"/>
                  </a:lnTo>
                  <a:lnTo>
                    <a:pt x="1012" y="916"/>
                  </a:lnTo>
                  <a:lnTo>
                    <a:pt x="1015" y="914"/>
                  </a:lnTo>
                  <a:lnTo>
                    <a:pt x="1020" y="914"/>
                  </a:lnTo>
                  <a:lnTo>
                    <a:pt x="1018" y="923"/>
                  </a:lnTo>
                  <a:lnTo>
                    <a:pt x="1023" y="925"/>
                  </a:lnTo>
                  <a:lnTo>
                    <a:pt x="1026" y="925"/>
                  </a:lnTo>
                  <a:lnTo>
                    <a:pt x="1032" y="920"/>
                  </a:lnTo>
                  <a:lnTo>
                    <a:pt x="1035" y="925"/>
                  </a:lnTo>
                  <a:lnTo>
                    <a:pt x="1042" y="931"/>
                  </a:lnTo>
                  <a:lnTo>
                    <a:pt x="1043" y="932"/>
                  </a:lnTo>
                  <a:lnTo>
                    <a:pt x="1041" y="936"/>
                  </a:lnTo>
                  <a:lnTo>
                    <a:pt x="1040" y="937"/>
                  </a:lnTo>
                  <a:lnTo>
                    <a:pt x="1039" y="942"/>
                  </a:lnTo>
                  <a:lnTo>
                    <a:pt x="1035" y="943"/>
                  </a:lnTo>
                  <a:lnTo>
                    <a:pt x="1030" y="940"/>
                  </a:lnTo>
                  <a:lnTo>
                    <a:pt x="1029" y="939"/>
                  </a:lnTo>
                  <a:lnTo>
                    <a:pt x="1024" y="942"/>
                  </a:lnTo>
                  <a:lnTo>
                    <a:pt x="1030" y="949"/>
                  </a:lnTo>
                  <a:lnTo>
                    <a:pt x="1032" y="951"/>
                  </a:lnTo>
                  <a:lnTo>
                    <a:pt x="1032" y="955"/>
                  </a:lnTo>
                  <a:lnTo>
                    <a:pt x="1026" y="958"/>
                  </a:lnTo>
                  <a:lnTo>
                    <a:pt x="1024" y="961"/>
                  </a:lnTo>
                  <a:lnTo>
                    <a:pt x="1022" y="965"/>
                  </a:lnTo>
                  <a:lnTo>
                    <a:pt x="1020" y="964"/>
                  </a:lnTo>
                  <a:lnTo>
                    <a:pt x="1015" y="955"/>
                  </a:lnTo>
                  <a:lnTo>
                    <a:pt x="1013" y="971"/>
                  </a:lnTo>
                  <a:lnTo>
                    <a:pt x="1015" y="984"/>
                  </a:lnTo>
                  <a:lnTo>
                    <a:pt x="1012" y="985"/>
                  </a:lnTo>
                  <a:lnTo>
                    <a:pt x="1009" y="981"/>
                  </a:lnTo>
                  <a:lnTo>
                    <a:pt x="1004" y="979"/>
                  </a:lnTo>
                  <a:lnTo>
                    <a:pt x="1003" y="976"/>
                  </a:lnTo>
                  <a:lnTo>
                    <a:pt x="1003" y="973"/>
                  </a:lnTo>
                  <a:lnTo>
                    <a:pt x="1001" y="969"/>
                  </a:lnTo>
                  <a:lnTo>
                    <a:pt x="996" y="973"/>
                  </a:lnTo>
                  <a:lnTo>
                    <a:pt x="991" y="964"/>
                  </a:lnTo>
                  <a:lnTo>
                    <a:pt x="991" y="960"/>
                  </a:lnTo>
                  <a:lnTo>
                    <a:pt x="993" y="955"/>
                  </a:lnTo>
                  <a:lnTo>
                    <a:pt x="991" y="953"/>
                  </a:lnTo>
                  <a:lnTo>
                    <a:pt x="990" y="952"/>
                  </a:lnTo>
                  <a:lnTo>
                    <a:pt x="984" y="951"/>
                  </a:lnTo>
                  <a:lnTo>
                    <a:pt x="980" y="947"/>
                  </a:lnTo>
                  <a:lnTo>
                    <a:pt x="973" y="938"/>
                  </a:lnTo>
                  <a:lnTo>
                    <a:pt x="969" y="934"/>
                  </a:lnTo>
                  <a:lnTo>
                    <a:pt x="964" y="933"/>
                  </a:lnTo>
                  <a:lnTo>
                    <a:pt x="961" y="937"/>
                  </a:lnTo>
                  <a:lnTo>
                    <a:pt x="958" y="938"/>
                  </a:lnTo>
                  <a:lnTo>
                    <a:pt x="957" y="941"/>
                  </a:lnTo>
                  <a:lnTo>
                    <a:pt x="959" y="944"/>
                  </a:lnTo>
                  <a:lnTo>
                    <a:pt x="965" y="953"/>
                  </a:lnTo>
                  <a:lnTo>
                    <a:pt x="963" y="955"/>
                  </a:lnTo>
                  <a:lnTo>
                    <a:pt x="959" y="956"/>
                  </a:lnTo>
                  <a:lnTo>
                    <a:pt x="957" y="952"/>
                  </a:lnTo>
                  <a:lnTo>
                    <a:pt x="953" y="947"/>
                  </a:lnTo>
                  <a:lnTo>
                    <a:pt x="949" y="944"/>
                  </a:lnTo>
                  <a:lnTo>
                    <a:pt x="951" y="951"/>
                  </a:lnTo>
                  <a:lnTo>
                    <a:pt x="956" y="965"/>
                  </a:lnTo>
                  <a:lnTo>
                    <a:pt x="960" y="965"/>
                  </a:lnTo>
                  <a:lnTo>
                    <a:pt x="963" y="966"/>
                  </a:lnTo>
                  <a:lnTo>
                    <a:pt x="966" y="974"/>
                  </a:lnTo>
                  <a:lnTo>
                    <a:pt x="970" y="986"/>
                  </a:lnTo>
                  <a:lnTo>
                    <a:pt x="973" y="992"/>
                  </a:lnTo>
                  <a:lnTo>
                    <a:pt x="976" y="987"/>
                  </a:lnTo>
                  <a:lnTo>
                    <a:pt x="978" y="988"/>
                  </a:lnTo>
                  <a:lnTo>
                    <a:pt x="981" y="994"/>
                  </a:lnTo>
                  <a:lnTo>
                    <a:pt x="985" y="997"/>
                  </a:lnTo>
                  <a:lnTo>
                    <a:pt x="993" y="1003"/>
                  </a:lnTo>
                  <a:lnTo>
                    <a:pt x="989" y="1004"/>
                  </a:lnTo>
                  <a:lnTo>
                    <a:pt x="988" y="1007"/>
                  </a:lnTo>
                  <a:lnTo>
                    <a:pt x="990" y="1010"/>
                  </a:lnTo>
                  <a:lnTo>
                    <a:pt x="993" y="1013"/>
                  </a:lnTo>
                  <a:lnTo>
                    <a:pt x="999" y="1019"/>
                  </a:lnTo>
                  <a:lnTo>
                    <a:pt x="1000" y="1022"/>
                  </a:lnTo>
                  <a:lnTo>
                    <a:pt x="1002" y="1031"/>
                  </a:lnTo>
                  <a:lnTo>
                    <a:pt x="1001" y="1037"/>
                  </a:lnTo>
                  <a:lnTo>
                    <a:pt x="994" y="1022"/>
                  </a:lnTo>
                  <a:lnTo>
                    <a:pt x="990" y="1019"/>
                  </a:lnTo>
                  <a:lnTo>
                    <a:pt x="990" y="1022"/>
                  </a:lnTo>
                  <a:lnTo>
                    <a:pt x="991" y="1025"/>
                  </a:lnTo>
                  <a:lnTo>
                    <a:pt x="997" y="1042"/>
                  </a:lnTo>
                  <a:lnTo>
                    <a:pt x="997" y="1046"/>
                  </a:lnTo>
                  <a:lnTo>
                    <a:pt x="991" y="1045"/>
                  </a:lnTo>
                  <a:lnTo>
                    <a:pt x="992" y="1047"/>
                  </a:lnTo>
                  <a:lnTo>
                    <a:pt x="994" y="1052"/>
                  </a:lnTo>
                  <a:lnTo>
                    <a:pt x="997" y="1059"/>
                  </a:lnTo>
                  <a:lnTo>
                    <a:pt x="993" y="1057"/>
                  </a:lnTo>
                  <a:lnTo>
                    <a:pt x="990" y="1053"/>
                  </a:lnTo>
                  <a:lnTo>
                    <a:pt x="984" y="1044"/>
                  </a:lnTo>
                  <a:lnTo>
                    <a:pt x="984" y="1043"/>
                  </a:lnTo>
                  <a:lnTo>
                    <a:pt x="979" y="1045"/>
                  </a:lnTo>
                  <a:lnTo>
                    <a:pt x="974" y="1042"/>
                  </a:lnTo>
                  <a:lnTo>
                    <a:pt x="966" y="1033"/>
                  </a:lnTo>
                  <a:lnTo>
                    <a:pt x="964" y="1030"/>
                  </a:lnTo>
                  <a:lnTo>
                    <a:pt x="957" y="1021"/>
                  </a:lnTo>
                  <a:lnTo>
                    <a:pt x="958" y="1031"/>
                  </a:lnTo>
                  <a:lnTo>
                    <a:pt x="951" y="1025"/>
                  </a:lnTo>
                  <a:lnTo>
                    <a:pt x="948" y="1023"/>
                  </a:lnTo>
                  <a:lnTo>
                    <a:pt x="943" y="1022"/>
                  </a:lnTo>
                  <a:lnTo>
                    <a:pt x="943" y="1025"/>
                  </a:lnTo>
                  <a:lnTo>
                    <a:pt x="948" y="1034"/>
                  </a:lnTo>
                  <a:lnTo>
                    <a:pt x="953" y="1040"/>
                  </a:lnTo>
                  <a:lnTo>
                    <a:pt x="964" y="1048"/>
                  </a:lnTo>
                  <a:lnTo>
                    <a:pt x="972" y="1057"/>
                  </a:lnTo>
                  <a:lnTo>
                    <a:pt x="976" y="1064"/>
                  </a:lnTo>
                  <a:lnTo>
                    <a:pt x="979" y="1070"/>
                  </a:lnTo>
                  <a:lnTo>
                    <a:pt x="981" y="1078"/>
                  </a:lnTo>
                  <a:lnTo>
                    <a:pt x="970" y="1074"/>
                  </a:lnTo>
                  <a:lnTo>
                    <a:pt x="961" y="1069"/>
                  </a:lnTo>
                  <a:lnTo>
                    <a:pt x="954" y="1065"/>
                  </a:lnTo>
                  <a:lnTo>
                    <a:pt x="946" y="1064"/>
                  </a:lnTo>
                  <a:lnTo>
                    <a:pt x="939" y="1061"/>
                  </a:lnTo>
                  <a:lnTo>
                    <a:pt x="934" y="1052"/>
                  </a:lnTo>
                  <a:lnTo>
                    <a:pt x="927" y="1051"/>
                  </a:lnTo>
                  <a:lnTo>
                    <a:pt x="924" y="1048"/>
                  </a:lnTo>
                  <a:lnTo>
                    <a:pt x="920" y="1046"/>
                  </a:lnTo>
                  <a:lnTo>
                    <a:pt x="919" y="1048"/>
                  </a:lnTo>
                  <a:close/>
                  <a:moveTo>
                    <a:pt x="553" y="760"/>
                  </a:moveTo>
                  <a:lnTo>
                    <a:pt x="550" y="758"/>
                  </a:lnTo>
                  <a:lnTo>
                    <a:pt x="544" y="748"/>
                  </a:lnTo>
                  <a:lnTo>
                    <a:pt x="538" y="736"/>
                  </a:lnTo>
                  <a:lnTo>
                    <a:pt x="532" y="727"/>
                  </a:lnTo>
                  <a:lnTo>
                    <a:pt x="526" y="722"/>
                  </a:lnTo>
                  <a:lnTo>
                    <a:pt x="518" y="720"/>
                  </a:lnTo>
                  <a:lnTo>
                    <a:pt x="514" y="717"/>
                  </a:lnTo>
                  <a:lnTo>
                    <a:pt x="501" y="696"/>
                  </a:lnTo>
                  <a:lnTo>
                    <a:pt x="507" y="683"/>
                  </a:lnTo>
                  <a:lnTo>
                    <a:pt x="510" y="685"/>
                  </a:lnTo>
                  <a:lnTo>
                    <a:pt x="516" y="695"/>
                  </a:lnTo>
                  <a:lnTo>
                    <a:pt x="523" y="700"/>
                  </a:lnTo>
                  <a:lnTo>
                    <a:pt x="525" y="700"/>
                  </a:lnTo>
                  <a:lnTo>
                    <a:pt x="529" y="695"/>
                  </a:lnTo>
                  <a:lnTo>
                    <a:pt x="534" y="682"/>
                  </a:lnTo>
                  <a:lnTo>
                    <a:pt x="537" y="682"/>
                  </a:lnTo>
                  <a:lnTo>
                    <a:pt x="537" y="677"/>
                  </a:lnTo>
                  <a:lnTo>
                    <a:pt x="531" y="666"/>
                  </a:lnTo>
                  <a:lnTo>
                    <a:pt x="524" y="657"/>
                  </a:lnTo>
                  <a:lnTo>
                    <a:pt x="523" y="652"/>
                  </a:lnTo>
                  <a:lnTo>
                    <a:pt x="524" y="650"/>
                  </a:lnTo>
                  <a:lnTo>
                    <a:pt x="534" y="652"/>
                  </a:lnTo>
                  <a:lnTo>
                    <a:pt x="538" y="647"/>
                  </a:lnTo>
                  <a:lnTo>
                    <a:pt x="541" y="647"/>
                  </a:lnTo>
                  <a:lnTo>
                    <a:pt x="546" y="655"/>
                  </a:lnTo>
                  <a:lnTo>
                    <a:pt x="550" y="656"/>
                  </a:lnTo>
                  <a:lnTo>
                    <a:pt x="553" y="655"/>
                  </a:lnTo>
                  <a:lnTo>
                    <a:pt x="556" y="649"/>
                  </a:lnTo>
                  <a:lnTo>
                    <a:pt x="563" y="647"/>
                  </a:lnTo>
                  <a:lnTo>
                    <a:pt x="571" y="648"/>
                  </a:lnTo>
                  <a:lnTo>
                    <a:pt x="576" y="653"/>
                  </a:lnTo>
                  <a:lnTo>
                    <a:pt x="574" y="659"/>
                  </a:lnTo>
                  <a:lnTo>
                    <a:pt x="571" y="661"/>
                  </a:lnTo>
                  <a:lnTo>
                    <a:pt x="569" y="668"/>
                  </a:lnTo>
                  <a:lnTo>
                    <a:pt x="560" y="676"/>
                  </a:lnTo>
                  <a:lnTo>
                    <a:pt x="558" y="679"/>
                  </a:lnTo>
                  <a:lnTo>
                    <a:pt x="557" y="683"/>
                  </a:lnTo>
                  <a:lnTo>
                    <a:pt x="559" y="688"/>
                  </a:lnTo>
                  <a:lnTo>
                    <a:pt x="562" y="690"/>
                  </a:lnTo>
                  <a:lnTo>
                    <a:pt x="566" y="689"/>
                  </a:lnTo>
                  <a:lnTo>
                    <a:pt x="572" y="692"/>
                  </a:lnTo>
                  <a:lnTo>
                    <a:pt x="577" y="697"/>
                  </a:lnTo>
                  <a:lnTo>
                    <a:pt x="579" y="697"/>
                  </a:lnTo>
                  <a:lnTo>
                    <a:pt x="583" y="703"/>
                  </a:lnTo>
                  <a:lnTo>
                    <a:pt x="584" y="711"/>
                  </a:lnTo>
                  <a:lnTo>
                    <a:pt x="580" y="718"/>
                  </a:lnTo>
                  <a:lnTo>
                    <a:pt x="579" y="725"/>
                  </a:lnTo>
                  <a:lnTo>
                    <a:pt x="577" y="738"/>
                  </a:lnTo>
                  <a:lnTo>
                    <a:pt x="575" y="745"/>
                  </a:lnTo>
                  <a:lnTo>
                    <a:pt x="572" y="747"/>
                  </a:lnTo>
                  <a:lnTo>
                    <a:pt x="568" y="748"/>
                  </a:lnTo>
                  <a:lnTo>
                    <a:pt x="564" y="746"/>
                  </a:lnTo>
                  <a:lnTo>
                    <a:pt x="560" y="739"/>
                  </a:lnTo>
                  <a:lnTo>
                    <a:pt x="556" y="737"/>
                  </a:lnTo>
                  <a:lnTo>
                    <a:pt x="556" y="741"/>
                  </a:lnTo>
                  <a:lnTo>
                    <a:pt x="562" y="751"/>
                  </a:lnTo>
                  <a:lnTo>
                    <a:pt x="558" y="759"/>
                  </a:lnTo>
                  <a:lnTo>
                    <a:pt x="553" y="760"/>
                  </a:lnTo>
                  <a:close/>
                  <a:moveTo>
                    <a:pt x="607" y="725"/>
                  </a:moveTo>
                  <a:lnTo>
                    <a:pt x="601" y="721"/>
                  </a:lnTo>
                  <a:lnTo>
                    <a:pt x="600" y="710"/>
                  </a:lnTo>
                  <a:lnTo>
                    <a:pt x="594" y="694"/>
                  </a:lnTo>
                  <a:lnTo>
                    <a:pt x="593" y="683"/>
                  </a:lnTo>
                  <a:lnTo>
                    <a:pt x="594" y="675"/>
                  </a:lnTo>
                  <a:lnTo>
                    <a:pt x="595" y="661"/>
                  </a:lnTo>
                  <a:lnTo>
                    <a:pt x="597" y="655"/>
                  </a:lnTo>
                  <a:lnTo>
                    <a:pt x="605" y="655"/>
                  </a:lnTo>
                  <a:lnTo>
                    <a:pt x="604" y="652"/>
                  </a:lnTo>
                  <a:lnTo>
                    <a:pt x="602" y="646"/>
                  </a:lnTo>
                  <a:lnTo>
                    <a:pt x="601" y="640"/>
                  </a:lnTo>
                  <a:lnTo>
                    <a:pt x="602" y="638"/>
                  </a:lnTo>
                  <a:lnTo>
                    <a:pt x="603" y="637"/>
                  </a:lnTo>
                  <a:lnTo>
                    <a:pt x="616" y="635"/>
                  </a:lnTo>
                  <a:lnTo>
                    <a:pt x="623" y="637"/>
                  </a:lnTo>
                  <a:lnTo>
                    <a:pt x="632" y="643"/>
                  </a:lnTo>
                  <a:lnTo>
                    <a:pt x="639" y="644"/>
                  </a:lnTo>
                  <a:lnTo>
                    <a:pt x="647" y="640"/>
                  </a:lnTo>
                  <a:lnTo>
                    <a:pt x="653" y="641"/>
                  </a:lnTo>
                  <a:lnTo>
                    <a:pt x="657" y="643"/>
                  </a:lnTo>
                  <a:lnTo>
                    <a:pt x="661" y="647"/>
                  </a:lnTo>
                  <a:lnTo>
                    <a:pt x="661" y="649"/>
                  </a:lnTo>
                  <a:lnTo>
                    <a:pt x="660" y="653"/>
                  </a:lnTo>
                  <a:lnTo>
                    <a:pt x="655" y="662"/>
                  </a:lnTo>
                  <a:lnTo>
                    <a:pt x="650" y="678"/>
                  </a:lnTo>
                  <a:lnTo>
                    <a:pt x="641" y="696"/>
                  </a:lnTo>
                  <a:lnTo>
                    <a:pt x="633" y="698"/>
                  </a:lnTo>
                  <a:lnTo>
                    <a:pt x="619" y="695"/>
                  </a:lnTo>
                  <a:lnTo>
                    <a:pt x="611" y="696"/>
                  </a:lnTo>
                  <a:lnTo>
                    <a:pt x="619" y="710"/>
                  </a:lnTo>
                  <a:lnTo>
                    <a:pt x="618" y="716"/>
                  </a:lnTo>
                  <a:lnTo>
                    <a:pt x="613" y="723"/>
                  </a:lnTo>
                  <a:lnTo>
                    <a:pt x="607" y="725"/>
                  </a:lnTo>
                  <a:close/>
                  <a:moveTo>
                    <a:pt x="241" y="768"/>
                  </a:moveTo>
                  <a:lnTo>
                    <a:pt x="236" y="768"/>
                  </a:lnTo>
                  <a:lnTo>
                    <a:pt x="229" y="766"/>
                  </a:lnTo>
                  <a:lnTo>
                    <a:pt x="228" y="757"/>
                  </a:lnTo>
                  <a:lnTo>
                    <a:pt x="224" y="749"/>
                  </a:lnTo>
                  <a:lnTo>
                    <a:pt x="222" y="744"/>
                  </a:lnTo>
                  <a:lnTo>
                    <a:pt x="215" y="737"/>
                  </a:lnTo>
                  <a:lnTo>
                    <a:pt x="207" y="736"/>
                  </a:lnTo>
                  <a:lnTo>
                    <a:pt x="201" y="733"/>
                  </a:lnTo>
                  <a:lnTo>
                    <a:pt x="199" y="730"/>
                  </a:lnTo>
                  <a:lnTo>
                    <a:pt x="198" y="726"/>
                  </a:lnTo>
                  <a:lnTo>
                    <a:pt x="201" y="724"/>
                  </a:lnTo>
                  <a:lnTo>
                    <a:pt x="204" y="718"/>
                  </a:lnTo>
                  <a:lnTo>
                    <a:pt x="207" y="714"/>
                  </a:lnTo>
                  <a:lnTo>
                    <a:pt x="208" y="707"/>
                  </a:lnTo>
                  <a:lnTo>
                    <a:pt x="205" y="691"/>
                  </a:lnTo>
                  <a:lnTo>
                    <a:pt x="208" y="691"/>
                  </a:lnTo>
                  <a:lnTo>
                    <a:pt x="211" y="687"/>
                  </a:lnTo>
                  <a:lnTo>
                    <a:pt x="213" y="679"/>
                  </a:lnTo>
                  <a:lnTo>
                    <a:pt x="219" y="668"/>
                  </a:lnTo>
                  <a:lnTo>
                    <a:pt x="222" y="656"/>
                  </a:lnTo>
                  <a:lnTo>
                    <a:pt x="222" y="649"/>
                  </a:lnTo>
                  <a:lnTo>
                    <a:pt x="220" y="646"/>
                  </a:lnTo>
                  <a:lnTo>
                    <a:pt x="213" y="631"/>
                  </a:lnTo>
                  <a:lnTo>
                    <a:pt x="211" y="622"/>
                  </a:lnTo>
                  <a:lnTo>
                    <a:pt x="216" y="622"/>
                  </a:lnTo>
                  <a:lnTo>
                    <a:pt x="221" y="620"/>
                  </a:lnTo>
                  <a:lnTo>
                    <a:pt x="229" y="622"/>
                  </a:lnTo>
                  <a:lnTo>
                    <a:pt x="235" y="622"/>
                  </a:lnTo>
                  <a:lnTo>
                    <a:pt x="244" y="620"/>
                  </a:lnTo>
                  <a:lnTo>
                    <a:pt x="252" y="617"/>
                  </a:lnTo>
                  <a:lnTo>
                    <a:pt x="259" y="615"/>
                  </a:lnTo>
                  <a:lnTo>
                    <a:pt x="262" y="618"/>
                  </a:lnTo>
                  <a:lnTo>
                    <a:pt x="281" y="635"/>
                  </a:lnTo>
                  <a:lnTo>
                    <a:pt x="286" y="637"/>
                  </a:lnTo>
                  <a:lnTo>
                    <a:pt x="290" y="636"/>
                  </a:lnTo>
                  <a:lnTo>
                    <a:pt x="298" y="633"/>
                  </a:lnTo>
                  <a:lnTo>
                    <a:pt x="305" y="634"/>
                  </a:lnTo>
                  <a:lnTo>
                    <a:pt x="310" y="635"/>
                  </a:lnTo>
                  <a:lnTo>
                    <a:pt x="318" y="643"/>
                  </a:lnTo>
                  <a:lnTo>
                    <a:pt x="332" y="660"/>
                  </a:lnTo>
                  <a:lnTo>
                    <a:pt x="330" y="663"/>
                  </a:lnTo>
                  <a:lnTo>
                    <a:pt x="328" y="664"/>
                  </a:lnTo>
                  <a:lnTo>
                    <a:pt x="326" y="665"/>
                  </a:lnTo>
                  <a:lnTo>
                    <a:pt x="317" y="672"/>
                  </a:lnTo>
                  <a:lnTo>
                    <a:pt x="310" y="675"/>
                  </a:lnTo>
                  <a:lnTo>
                    <a:pt x="300" y="684"/>
                  </a:lnTo>
                  <a:lnTo>
                    <a:pt x="293" y="690"/>
                  </a:lnTo>
                  <a:lnTo>
                    <a:pt x="284" y="705"/>
                  </a:lnTo>
                  <a:lnTo>
                    <a:pt x="278" y="716"/>
                  </a:lnTo>
                  <a:lnTo>
                    <a:pt x="275" y="718"/>
                  </a:lnTo>
                  <a:lnTo>
                    <a:pt x="269" y="720"/>
                  </a:lnTo>
                  <a:lnTo>
                    <a:pt x="269" y="737"/>
                  </a:lnTo>
                  <a:lnTo>
                    <a:pt x="268" y="747"/>
                  </a:lnTo>
                  <a:lnTo>
                    <a:pt x="264" y="752"/>
                  </a:lnTo>
                  <a:lnTo>
                    <a:pt x="257" y="755"/>
                  </a:lnTo>
                  <a:lnTo>
                    <a:pt x="250" y="753"/>
                  </a:lnTo>
                  <a:lnTo>
                    <a:pt x="247" y="762"/>
                  </a:lnTo>
                  <a:lnTo>
                    <a:pt x="241" y="768"/>
                  </a:lnTo>
                  <a:close/>
                  <a:moveTo>
                    <a:pt x="664" y="526"/>
                  </a:moveTo>
                  <a:lnTo>
                    <a:pt x="659" y="527"/>
                  </a:lnTo>
                  <a:lnTo>
                    <a:pt x="654" y="532"/>
                  </a:lnTo>
                  <a:lnTo>
                    <a:pt x="652" y="543"/>
                  </a:lnTo>
                  <a:lnTo>
                    <a:pt x="658" y="545"/>
                  </a:lnTo>
                  <a:lnTo>
                    <a:pt x="664" y="544"/>
                  </a:lnTo>
                  <a:lnTo>
                    <a:pt x="664" y="544"/>
                  </a:lnTo>
                  <a:lnTo>
                    <a:pt x="669" y="546"/>
                  </a:lnTo>
                  <a:lnTo>
                    <a:pt x="672" y="549"/>
                  </a:lnTo>
                  <a:lnTo>
                    <a:pt x="675" y="560"/>
                  </a:lnTo>
                  <a:lnTo>
                    <a:pt x="679" y="571"/>
                  </a:lnTo>
                  <a:lnTo>
                    <a:pt x="683" y="572"/>
                  </a:lnTo>
                  <a:lnTo>
                    <a:pt x="684" y="571"/>
                  </a:lnTo>
                  <a:lnTo>
                    <a:pt x="685" y="563"/>
                  </a:lnTo>
                  <a:lnTo>
                    <a:pt x="686" y="562"/>
                  </a:lnTo>
                  <a:lnTo>
                    <a:pt x="693" y="562"/>
                  </a:lnTo>
                  <a:lnTo>
                    <a:pt x="698" y="557"/>
                  </a:lnTo>
                  <a:lnTo>
                    <a:pt x="702" y="560"/>
                  </a:lnTo>
                  <a:lnTo>
                    <a:pt x="707" y="566"/>
                  </a:lnTo>
                  <a:lnTo>
                    <a:pt x="711" y="572"/>
                  </a:lnTo>
                  <a:lnTo>
                    <a:pt x="717" y="573"/>
                  </a:lnTo>
                  <a:lnTo>
                    <a:pt x="721" y="562"/>
                  </a:lnTo>
                  <a:lnTo>
                    <a:pt x="730" y="556"/>
                  </a:lnTo>
                  <a:lnTo>
                    <a:pt x="739" y="553"/>
                  </a:lnTo>
                  <a:lnTo>
                    <a:pt x="751" y="547"/>
                  </a:lnTo>
                  <a:lnTo>
                    <a:pt x="760" y="548"/>
                  </a:lnTo>
                  <a:lnTo>
                    <a:pt x="775" y="548"/>
                  </a:lnTo>
                  <a:lnTo>
                    <a:pt x="778" y="550"/>
                  </a:lnTo>
                  <a:lnTo>
                    <a:pt x="782" y="557"/>
                  </a:lnTo>
                  <a:lnTo>
                    <a:pt x="787" y="563"/>
                  </a:lnTo>
                  <a:lnTo>
                    <a:pt x="796" y="566"/>
                  </a:lnTo>
                  <a:lnTo>
                    <a:pt x="800" y="569"/>
                  </a:lnTo>
                  <a:lnTo>
                    <a:pt x="801" y="570"/>
                  </a:lnTo>
                  <a:lnTo>
                    <a:pt x="803" y="574"/>
                  </a:lnTo>
                  <a:lnTo>
                    <a:pt x="804" y="580"/>
                  </a:lnTo>
                  <a:lnTo>
                    <a:pt x="802" y="583"/>
                  </a:lnTo>
                  <a:lnTo>
                    <a:pt x="791" y="593"/>
                  </a:lnTo>
                  <a:lnTo>
                    <a:pt x="790" y="598"/>
                  </a:lnTo>
                  <a:lnTo>
                    <a:pt x="793" y="613"/>
                  </a:lnTo>
                  <a:lnTo>
                    <a:pt x="778" y="615"/>
                  </a:lnTo>
                  <a:lnTo>
                    <a:pt x="775" y="616"/>
                  </a:lnTo>
                  <a:lnTo>
                    <a:pt x="771" y="617"/>
                  </a:lnTo>
                  <a:lnTo>
                    <a:pt x="766" y="616"/>
                  </a:lnTo>
                  <a:lnTo>
                    <a:pt x="762" y="613"/>
                  </a:lnTo>
                  <a:lnTo>
                    <a:pt x="759" y="610"/>
                  </a:lnTo>
                  <a:lnTo>
                    <a:pt x="757" y="595"/>
                  </a:lnTo>
                  <a:lnTo>
                    <a:pt x="753" y="590"/>
                  </a:lnTo>
                  <a:lnTo>
                    <a:pt x="750" y="593"/>
                  </a:lnTo>
                  <a:lnTo>
                    <a:pt x="751" y="609"/>
                  </a:lnTo>
                  <a:lnTo>
                    <a:pt x="748" y="612"/>
                  </a:lnTo>
                  <a:lnTo>
                    <a:pt x="743" y="611"/>
                  </a:lnTo>
                  <a:lnTo>
                    <a:pt x="738" y="613"/>
                  </a:lnTo>
                  <a:lnTo>
                    <a:pt x="733" y="613"/>
                  </a:lnTo>
                  <a:lnTo>
                    <a:pt x="731" y="613"/>
                  </a:lnTo>
                  <a:lnTo>
                    <a:pt x="723" y="608"/>
                  </a:lnTo>
                  <a:lnTo>
                    <a:pt x="719" y="604"/>
                  </a:lnTo>
                  <a:lnTo>
                    <a:pt x="716" y="603"/>
                  </a:lnTo>
                  <a:lnTo>
                    <a:pt x="715" y="613"/>
                  </a:lnTo>
                  <a:lnTo>
                    <a:pt x="705" y="616"/>
                  </a:lnTo>
                  <a:lnTo>
                    <a:pt x="700" y="617"/>
                  </a:lnTo>
                  <a:lnTo>
                    <a:pt x="691" y="616"/>
                  </a:lnTo>
                  <a:lnTo>
                    <a:pt x="689" y="610"/>
                  </a:lnTo>
                  <a:lnTo>
                    <a:pt x="688" y="595"/>
                  </a:lnTo>
                  <a:lnTo>
                    <a:pt x="681" y="598"/>
                  </a:lnTo>
                  <a:lnTo>
                    <a:pt x="678" y="602"/>
                  </a:lnTo>
                  <a:lnTo>
                    <a:pt x="676" y="609"/>
                  </a:lnTo>
                  <a:lnTo>
                    <a:pt x="671" y="613"/>
                  </a:lnTo>
                  <a:lnTo>
                    <a:pt x="665" y="613"/>
                  </a:lnTo>
                  <a:lnTo>
                    <a:pt x="664" y="612"/>
                  </a:lnTo>
                  <a:lnTo>
                    <a:pt x="660" y="608"/>
                  </a:lnTo>
                  <a:lnTo>
                    <a:pt x="653" y="595"/>
                  </a:lnTo>
                  <a:lnTo>
                    <a:pt x="649" y="606"/>
                  </a:lnTo>
                  <a:lnTo>
                    <a:pt x="642" y="605"/>
                  </a:lnTo>
                  <a:lnTo>
                    <a:pt x="639" y="589"/>
                  </a:lnTo>
                  <a:lnTo>
                    <a:pt x="636" y="572"/>
                  </a:lnTo>
                  <a:lnTo>
                    <a:pt x="639" y="561"/>
                  </a:lnTo>
                  <a:lnTo>
                    <a:pt x="640" y="552"/>
                  </a:lnTo>
                  <a:lnTo>
                    <a:pt x="638" y="545"/>
                  </a:lnTo>
                  <a:lnTo>
                    <a:pt x="630" y="529"/>
                  </a:lnTo>
                  <a:lnTo>
                    <a:pt x="627" y="521"/>
                  </a:lnTo>
                  <a:lnTo>
                    <a:pt x="627" y="513"/>
                  </a:lnTo>
                  <a:lnTo>
                    <a:pt x="630" y="509"/>
                  </a:lnTo>
                  <a:lnTo>
                    <a:pt x="637" y="508"/>
                  </a:lnTo>
                  <a:lnTo>
                    <a:pt x="652" y="507"/>
                  </a:lnTo>
                  <a:lnTo>
                    <a:pt x="657" y="509"/>
                  </a:lnTo>
                  <a:lnTo>
                    <a:pt x="663" y="516"/>
                  </a:lnTo>
                  <a:lnTo>
                    <a:pt x="664" y="517"/>
                  </a:lnTo>
                  <a:lnTo>
                    <a:pt x="669" y="521"/>
                  </a:lnTo>
                  <a:lnTo>
                    <a:pt x="666" y="526"/>
                  </a:lnTo>
                  <a:lnTo>
                    <a:pt x="664" y="526"/>
                  </a:lnTo>
                  <a:close/>
                  <a:moveTo>
                    <a:pt x="537" y="590"/>
                  </a:moveTo>
                  <a:lnTo>
                    <a:pt x="531" y="585"/>
                  </a:lnTo>
                  <a:lnTo>
                    <a:pt x="530" y="578"/>
                  </a:lnTo>
                  <a:lnTo>
                    <a:pt x="535" y="569"/>
                  </a:lnTo>
                  <a:lnTo>
                    <a:pt x="537" y="566"/>
                  </a:lnTo>
                  <a:lnTo>
                    <a:pt x="538" y="562"/>
                  </a:lnTo>
                  <a:lnTo>
                    <a:pt x="535" y="554"/>
                  </a:lnTo>
                  <a:lnTo>
                    <a:pt x="528" y="553"/>
                  </a:lnTo>
                  <a:lnTo>
                    <a:pt x="516" y="559"/>
                  </a:lnTo>
                  <a:lnTo>
                    <a:pt x="510" y="560"/>
                  </a:lnTo>
                  <a:lnTo>
                    <a:pt x="508" y="561"/>
                  </a:lnTo>
                  <a:lnTo>
                    <a:pt x="503" y="554"/>
                  </a:lnTo>
                  <a:lnTo>
                    <a:pt x="503" y="546"/>
                  </a:lnTo>
                  <a:lnTo>
                    <a:pt x="508" y="546"/>
                  </a:lnTo>
                  <a:lnTo>
                    <a:pt x="511" y="540"/>
                  </a:lnTo>
                  <a:lnTo>
                    <a:pt x="514" y="538"/>
                  </a:lnTo>
                  <a:lnTo>
                    <a:pt x="511" y="524"/>
                  </a:lnTo>
                  <a:lnTo>
                    <a:pt x="513" y="518"/>
                  </a:lnTo>
                  <a:lnTo>
                    <a:pt x="513" y="512"/>
                  </a:lnTo>
                  <a:lnTo>
                    <a:pt x="516" y="512"/>
                  </a:lnTo>
                  <a:lnTo>
                    <a:pt x="521" y="518"/>
                  </a:lnTo>
                  <a:lnTo>
                    <a:pt x="533" y="536"/>
                  </a:lnTo>
                  <a:lnTo>
                    <a:pt x="535" y="541"/>
                  </a:lnTo>
                  <a:lnTo>
                    <a:pt x="538" y="539"/>
                  </a:lnTo>
                  <a:lnTo>
                    <a:pt x="537" y="533"/>
                  </a:lnTo>
                  <a:lnTo>
                    <a:pt x="532" y="521"/>
                  </a:lnTo>
                  <a:lnTo>
                    <a:pt x="529" y="517"/>
                  </a:lnTo>
                  <a:lnTo>
                    <a:pt x="527" y="508"/>
                  </a:lnTo>
                  <a:lnTo>
                    <a:pt x="530" y="506"/>
                  </a:lnTo>
                  <a:lnTo>
                    <a:pt x="535" y="505"/>
                  </a:lnTo>
                  <a:lnTo>
                    <a:pt x="540" y="508"/>
                  </a:lnTo>
                  <a:lnTo>
                    <a:pt x="546" y="514"/>
                  </a:lnTo>
                  <a:lnTo>
                    <a:pt x="549" y="519"/>
                  </a:lnTo>
                  <a:lnTo>
                    <a:pt x="550" y="519"/>
                  </a:lnTo>
                  <a:lnTo>
                    <a:pt x="552" y="508"/>
                  </a:lnTo>
                  <a:lnTo>
                    <a:pt x="554" y="504"/>
                  </a:lnTo>
                  <a:lnTo>
                    <a:pt x="559" y="507"/>
                  </a:lnTo>
                  <a:lnTo>
                    <a:pt x="563" y="511"/>
                  </a:lnTo>
                  <a:lnTo>
                    <a:pt x="565" y="516"/>
                  </a:lnTo>
                  <a:lnTo>
                    <a:pt x="567" y="534"/>
                  </a:lnTo>
                  <a:lnTo>
                    <a:pt x="567" y="549"/>
                  </a:lnTo>
                  <a:lnTo>
                    <a:pt x="565" y="555"/>
                  </a:lnTo>
                  <a:lnTo>
                    <a:pt x="560" y="563"/>
                  </a:lnTo>
                  <a:lnTo>
                    <a:pt x="560" y="571"/>
                  </a:lnTo>
                  <a:lnTo>
                    <a:pt x="562" y="586"/>
                  </a:lnTo>
                  <a:lnTo>
                    <a:pt x="560" y="589"/>
                  </a:lnTo>
                  <a:lnTo>
                    <a:pt x="550" y="587"/>
                  </a:lnTo>
                  <a:lnTo>
                    <a:pt x="546" y="590"/>
                  </a:lnTo>
                  <a:lnTo>
                    <a:pt x="537" y="590"/>
                  </a:lnTo>
                  <a:close/>
                  <a:moveTo>
                    <a:pt x="338" y="555"/>
                  </a:moveTo>
                  <a:lnTo>
                    <a:pt x="325" y="545"/>
                  </a:lnTo>
                  <a:lnTo>
                    <a:pt x="323" y="529"/>
                  </a:lnTo>
                  <a:lnTo>
                    <a:pt x="326" y="527"/>
                  </a:lnTo>
                  <a:lnTo>
                    <a:pt x="330" y="523"/>
                  </a:lnTo>
                  <a:lnTo>
                    <a:pt x="335" y="521"/>
                  </a:lnTo>
                  <a:lnTo>
                    <a:pt x="341" y="517"/>
                  </a:lnTo>
                  <a:lnTo>
                    <a:pt x="348" y="516"/>
                  </a:lnTo>
                  <a:lnTo>
                    <a:pt x="351" y="521"/>
                  </a:lnTo>
                  <a:lnTo>
                    <a:pt x="355" y="530"/>
                  </a:lnTo>
                  <a:lnTo>
                    <a:pt x="359" y="535"/>
                  </a:lnTo>
                  <a:lnTo>
                    <a:pt x="368" y="529"/>
                  </a:lnTo>
                  <a:lnTo>
                    <a:pt x="372" y="533"/>
                  </a:lnTo>
                  <a:lnTo>
                    <a:pt x="381" y="551"/>
                  </a:lnTo>
                  <a:lnTo>
                    <a:pt x="387" y="560"/>
                  </a:lnTo>
                  <a:lnTo>
                    <a:pt x="393" y="561"/>
                  </a:lnTo>
                  <a:lnTo>
                    <a:pt x="398" y="559"/>
                  </a:lnTo>
                  <a:lnTo>
                    <a:pt x="407" y="562"/>
                  </a:lnTo>
                  <a:lnTo>
                    <a:pt x="410" y="561"/>
                  </a:lnTo>
                  <a:lnTo>
                    <a:pt x="417" y="557"/>
                  </a:lnTo>
                  <a:lnTo>
                    <a:pt x="417" y="550"/>
                  </a:lnTo>
                  <a:lnTo>
                    <a:pt x="414" y="536"/>
                  </a:lnTo>
                  <a:lnTo>
                    <a:pt x="408" y="527"/>
                  </a:lnTo>
                  <a:lnTo>
                    <a:pt x="400" y="518"/>
                  </a:lnTo>
                  <a:lnTo>
                    <a:pt x="406" y="510"/>
                  </a:lnTo>
                  <a:lnTo>
                    <a:pt x="409" y="500"/>
                  </a:lnTo>
                  <a:lnTo>
                    <a:pt x="412" y="496"/>
                  </a:lnTo>
                  <a:lnTo>
                    <a:pt x="419" y="493"/>
                  </a:lnTo>
                  <a:lnTo>
                    <a:pt x="422" y="497"/>
                  </a:lnTo>
                  <a:lnTo>
                    <a:pt x="427" y="515"/>
                  </a:lnTo>
                  <a:lnTo>
                    <a:pt x="426" y="525"/>
                  </a:lnTo>
                  <a:lnTo>
                    <a:pt x="430" y="541"/>
                  </a:lnTo>
                  <a:lnTo>
                    <a:pt x="433" y="544"/>
                  </a:lnTo>
                  <a:lnTo>
                    <a:pt x="438" y="545"/>
                  </a:lnTo>
                  <a:lnTo>
                    <a:pt x="449" y="555"/>
                  </a:lnTo>
                  <a:lnTo>
                    <a:pt x="447" y="544"/>
                  </a:lnTo>
                  <a:lnTo>
                    <a:pt x="448" y="537"/>
                  </a:lnTo>
                  <a:lnTo>
                    <a:pt x="450" y="535"/>
                  </a:lnTo>
                  <a:lnTo>
                    <a:pt x="459" y="541"/>
                  </a:lnTo>
                  <a:lnTo>
                    <a:pt x="464" y="550"/>
                  </a:lnTo>
                  <a:lnTo>
                    <a:pt x="463" y="560"/>
                  </a:lnTo>
                  <a:lnTo>
                    <a:pt x="463" y="572"/>
                  </a:lnTo>
                  <a:lnTo>
                    <a:pt x="461" y="583"/>
                  </a:lnTo>
                  <a:lnTo>
                    <a:pt x="457" y="589"/>
                  </a:lnTo>
                  <a:lnTo>
                    <a:pt x="453" y="591"/>
                  </a:lnTo>
                  <a:lnTo>
                    <a:pt x="448" y="591"/>
                  </a:lnTo>
                  <a:lnTo>
                    <a:pt x="438" y="593"/>
                  </a:lnTo>
                  <a:lnTo>
                    <a:pt x="432" y="592"/>
                  </a:lnTo>
                  <a:lnTo>
                    <a:pt x="421" y="588"/>
                  </a:lnTo>
                  <a:lnTo>
                    <a:pt x="418" y="587"/>
                  </a:lnTo>
                  <a:lnTo>
                    <a:pt x="411" y="594"/>
                  </a:lnTo>
                  <a:lnTo>
                    <a:pt x="405" y="598"/>
                  </a:lnTo>
                  <a:lnTo>
                    <a:pt x="400" y="602"/>
                  </a:lnTo>
                  <a:lnTo>
                    <a:pt x="394" y="608"/>
                  </a:lnTo>
                  <a:lnTo>
                    <a:pt x="385" y="614"/>
                  </a:lnTo>
                  <a:lnTo>
                    <a:pt x="377" y="619"/>
                  </a:lnTo>
                  <a:lnTo>
                    <a:pt x="365" y="618"/>
                  </a:lnTo>
                  <a:lnTo>
                    <a:pt x="361" y="617"/>
                  </a:lnTo>
                  <a:lnTo>
                    <a:pt x="352" y="610"/>
                  </a:lnTo>
                  <a:lnTo>
                    <a:pt x="351" y="602"/>
                  </a:lnTo>
                  <a:lnTo>
                    <a:pt x="354" y="599"/>
                  </a:lnTo>
                  <a:lnTo>
                    <a:pt x="361" y="598"/>
                  </a:lnTo>
                  <a:lnTo>
                    <a:pt x="366" y="595"/>
                  </a:lnTo>
                  <a:lnTo>
                    <a:pt x="371" y="593"/>
                  </a:lnTo>
                  <a:lnTo>
                    <a:pt x="378" y="592"/>
                  </a:lnTo>
                  <a:lnTo>
                    <a:pt x="381" y="592"/>
                  </a:lnTo>
                  <a:lnTo>
                    <a:pt x="388" y="589"/>
                  </a:lnTo>
                  <a:lnTo>
                    <a:pt x="391" y="576"/>
                  </a:lnTo>
                  <a:lnTo>
                    <a:pt x="374" y="574"/>
                  </a:lnTo>
                  <a:lnTo>
                    <a:pt x="369" y="573"/>
                  </a:lnTo>
                  <a:lnTo>
                    <a:pt x="360" y="579"/>
                  </a:lnTo>
                  <a:lnTo>
                    <a:pt x="350" y="583"/>
                  </a:lnTo>
                  <a:lnTo>
                    <a:pt x="342" y="584"/>
                  </a:lnTo>
                  <a:lnTo>
                    <a:pt x="338" y="586"/>
                  </a:lnTo>
                  <a:lnTo>
                    <a:pt x="328" y="578"/>
                  </a:lnTo>
                  <a:lnTo>
                    <a:pt x="325" y="582"/>
                  </a:lnTo>
                  <a:lnTo>
                    <a:pt x="320" y="584"/>
                  </a:lnTo>
                  <a:lnTo>
                    <a:pt x="314" y="581"/>
                  </a:lnTo>
                  <a:lnTo>
                    <a:pt x="309" y="573"/>
                  </a:lnTo>
                  <a:lnTo>
                    <a:pt x="309" y="571"/>
                  </a:lnTo>
                  <a:lnTo>
                    <a:pt x="314" y="560"/>
                  </a:lnTo>
                  <a:lnTo>
                    <a:pt x="321" y="559"/>
                  </a:lnTo>
                  <a:lnTo>
                    <a:pt x="333" y="559"/>
                  </a:lnTo>
                  <a:lnTo>
                    <a:pt x="338" y="555"/>
                  </a:lnTo>
                  <a:close/>
                  <a:moveTo>
                    <a:pt x="615" y="520"/>
                  </a:moveTo>
                  <a:lnTo>
                    <a:pt x="608" y="518"/>
                  </a:lnTo>
                  <a:lnTo>
                    <a:pt x="595" y="514"/>
                  </a:lnTo>
                  <a:lnTo>
                    <a:pt x="592" y="516"/>
                  </a:lnTo>
                  <a:lnTo>
                    <a:pt x="590" y="514"/>
                  </a:lnTo>
                  <a:lnTo>
                    <a:pt x="585" y="501"/>
                  </a:lnTo>
                  <a:lnTo>
                    <a:pt x="578" y="490"/>
                  </a:lnTo>
                  <a:lnTo>
                    <a:pt x="579" y="484"/>
                  </a:lnTo>
                  <a:lnTo>
                    <a:pt x="593" y="483"/>
                  </a:lnTo>
                  <a:lnTo>
                    <a:pt x="603" y="490"/>
                  </a:lnTo>
                  <a:lnTo>
                    <a:pt x="611" y="491"/>
                  </a:lnTo>
                  <a:lnTo>
                    <a:pt x="612" y="491"/>
                  </a:lnTo>
                  <a:lnTo>
                    <a:pt x="617" y="501"/>
                  </a:lnTo>
                  <a:lnTo>
                    <a:pt x="616" y="507"/>
                  </a:lnTo>
                  <a:lnTo>
                    <a:pt x="617" y="515"/>
                  </a:lnTo>
                  <a:lnTo>
                    <a:pt x="615" y="520"/>
                  </a:lnTo>
                  <a:close/>
                  <a:moveTo>
                    <a:pt x="269" y="544"/>
                  </a:moveTo>
                  <a:lnTo>
                    <a:pt x="266" y="540"/>
                  </a:lnTo>
                  <a:lnTo>
                    <a:pt x="260" y="529"/>
                  </a:lnTo>
                  <a:lnTo>
                    <a:pt x="258" y="526"/>
                  </a:lnTo>
                  <a:lnTo>
                    <a:pt x="256" y="527"/>
                  </a:lnTo>
                  <a:lnTo>
                    <a:pt x="253" y="532"/>
                  </a:lnTo>
                  <a:lnTo>
                    <a:pt x="245" y="534"/>
                  </a:lnTo>
                  <a:lnTo>
                    <a:pt x="240" y="527"/>
                  </a:lnTo>
                  <a:lnTo>
                    <a:pt x="239" y="519"/>
                  </a:lnTo>
                  <a:lnTo>
                    <a:pt x="240" y="512"/>
                  </a:lnTo>
                  <a:lnTo>
                    <a:pt x="247" y="510"/>
                  </a:lnTo>
                  <a:lnTo>
                    <a:pt x="250" y="506"/>
                  </a:lnTo>
                  <a:lnTo>
                    <a:pt x="254" y="503"/>
                  </a:lnTo>
                  <a:lnTo>
                    <a:pt x="260" y="493"/>
                  </a:lnTo>
                  <a:lnTo>
                    <a:pt x="265" y="487"/>
                  </a:lnTo>
                  <a:lnTo>
                    <a:pt x="269" y="482"/>
                  </a:lnTo>
                  <a:lnTo>
                    <a:pt x="273" y="473"/>
                  </a:lnTo>
                  <a:lnTo>
                    <a:pt x="279" y="467"/>
                  </a:lnTo>
                  <a:lnTo>
                    <a:pt x="286" y="465"/>
                  </a:lnTo>
                  <a:lnTo>
                    <a:pt x="301" y="461"/>
                  </a:lnTo>
                  <a:lnTo>
                    <a:pt x="311" y="461"/>
                  </a:lnTo>
                  <a:lnTo>
                    <a:pt x="316" y="454"/>
                  </a:lnTo>
                  <a:lnTo>
                    <a:pt x="322" y="451"/>
                  </a:lnTo>
                  <a:lnTo>
                    <a:pt x="331" y="463"/>
                  </a:lnTo>
                  <a:lnTo>
                    <a:pt x="327" y="466"/>
                  </a:lnTo>
                  <a:lnTo>
                    <a:pt x="322" y="472"/>
                  </a:lnTo>
                  <a:lnTo>
                    <a:pt x="321" y="479"/>
                  </a:lnTo>
                  <a:lnTo>
                    <a:pt x="321" y="486"/>
                  </a:lnTo>
                  <a:lnTo>
                    <a:pt x="324" y="499"/>
                  </a:lnTo>
                  <a:lnTo>
                    <a:pt x="319" y="499"/>
                  </a:lnTo>
                  <a:lnTo>
                    <a:pt x="314" y="502"/>
                  </a:lnTo>
                  <a:lnTo>
                    <a:pt x="309" y="518"/>
                  </a:lnTo>
                  <a:lnTo>
                    <a:pt x="303" y="518"/>
                  </a:lnTo>
                  <a:lnTo>
                    <a:pt x="298" y="493"/>
                  </a:lnTo>
                  <a:lnTo>
                    <a:pt x="294" y="489"/>
                  </a:lnTo>
                  <a:lnTo>
                    <a:pt x="291" y="489"/>
                  </a:lnTo>
                  <a:lnTo>
                    <a:pt x="290" y="497"/>
                  </a:lnTo>
                  <a:lnTo>
                    <a:pt x="286" y="506"/>
                  </a:lnTo>
                  <a:lnTo>
                    <a:pt x="283" y="521"/>
                  </a:lnTo>
                  <a:lnTo>
                    <a:pt x="279" y="525"/>
                  </a:lnTo>
                  <a:lnTo>
                    <a:pt x="278" y="534"/>
                  </a:lnTo>
                  <a:lnTo>
                    <a:pt x="274" y="543"/>
                  </a:lnTo>
                  <a:lnTo>
                    <a:pt x="269" y="544"/>
                  </a:lnTo>
                  <a:close/>
                  <a:moveTo>
                    <a:pt x="410" y="428"/>
                  </a:moveTo>
                  <a:lnTo>
                    <a:pt x="401" y="446"/>
                  </a:lnTo>
                  <a:lnTo>
                    <a:pt x="397" y="454"/>
                  </a:lnTo>
                  <a:lnTo>
                    <a:pt x="387" y="455"/>
                  </a:lnTo>
                  <a:lnTo>
                    <a:pt x="381" y="457"/>
                  </a:lnTo>
                  <a:lnTo>
                    <a:pt x="369" y="453"/>
                  </a:lnTo>
                  <a:lnTo>
                    <a:pt x="366" y="450"/>
                  </a:lnTo>
                  <a:lnTo>
                    <a:pt x="364" y="438"/>
                  </a:lnTo>
                  <a:lnTo>
                    <a:pt x="366" y="430"/>
                  </a:lnTo>
                  <a:lnTo>
                    <a:pt x="374" y="425"/>
                  </a:lnTo>
                  <a:lnTo>
                    <a:pt x="379" y="427"/>
                  </a:lnTo>
                  <a:lnTo>
                    <a:pt x="393" y="424"/>
                  </a:lnTo>
                  <a:lnTo>
                    <a:pt x="396" y="424"/>
                  </a:lnTo>
                  <a:lnTo>
                    <a:pt x="410" y="428"/>
                  </a:lnTo>
                  <a:close/>
                  <a:moveTo>
                    <a:pt x="580" y="425"/>
                  </a:moveTo>
                  <a:lnTo>
                    <a:pt x="574" y="424"/>
                  </a:lnTo>
                  <a:lnTo>
                    <a:pt x="570" y="419"/>
                  </a:lnTo>
                  <a:lnTo>
                    <a:pt x="563" y="405"/>
                  </a:lnTo>
                  <a:lnTo>
                    <a:pt x="557" y="383"/>
                  </a:lnTo>
                  <a:lnTo>
                    <a:pt x="556" y="376"/>
                  </a:lnTo>
                  <a:lnTo>
                    <a:pt x="558" y="373"/>
                  </a:lnTo>
                  <a:lnTo>
                    <a:pt x="571" y="372"/>
                  </a:lnTo>
                  <a:lnTo>
                    <a:pt x="582" y="381"/>
                  </a:lnTo>
                  <a:lnTo>
                    <a:pt x="600" y="397"/>
                  </a:lnTo>
                  <a:lnTo>
                    <a:pt x="600" y="407"/>
                  </a:lnTo>
                  <a:lnTo>
                    <a:pt x="598" y="417"/>
                  </a:lnTo>
                  <a:lnTo>
                    <a:pt x="596" y="418"/>
                  </a:lnTo>
                  <a:lnTo>
                    <a:pt x="587" y="423"/>
                  </a:lnTo>
                  <a:lnTo>
                    <a:pt x="580" y="425"/>
                  </a:lnTo>
                  <a:close/>
                  <a:moveTo>
                    <a:pt x="540" y="438"/>
                  </a:moveTo>
                  <a:lnTo>
                    <a:pt x="534" y="437"/>
                  </a:lnTo>
                  <a:lnTo>
                    <a:pt x="530" y="432"/>
                  </a:lnTo>
                  <a:lnTo>
                    <a:pt x="525" y="414"/>
                  </a:lnTo>
                  <a:lnTo>
                    <a:pt x="521" y="408"/>
                  </a:lnTo>
                  <a:lnTo>
                    <a:pt x="503" y="406"/>
                  </a:lnTo>
                  <a:lnTo>
                    <a:pt x="494" y="408"/>
                  </a:lnTo>
                  <a:lnTo>
                    <a:pt x="490" y="408"/>
                  </a:lnTo>
                  <a:lnTo>
                    <a:pt x="482" y="406"/>
                  </a:lnTo>
                  <a:lnTo>
                    <a:pt x="477" y="402"/>
                  </a:lnTo>
                  <a:lnTo>
                    <a:pt x="471" y="391"/>
                  </a:lnTo>
                  <a:lnTo>
                    <a:pt x="470" y="384"/>
                  </a:lnTo>
                  <a:lnTo>
                    <a:pt x="472" y="380"/>
                  </a:lnTo>
                  <a:lnTo>
                    <a:pt x="477" y="380"/>
                  </a:lnTo>
                  <a:lnTo>
                    <a:pt x="487" y="387"/>
                  </a:lnTo>
                  <a:lnTo>
                    <a:pt x="492" y="386"/>
                  </a:lnTo>
                  <a:lnTo>
                    <a:pt x="492" y="379"/>
                  </a:lnTo>
                  <a:lnTo>
                    <a:pt x="490" y="371"/>
                  </a:lnTo>
                  <a:lnTo>
                    <a:pt x="483" y="356"/>
                  </a:lnTo>
                  <a:lnTo>
                    <a:pt x="479" y="353"/>
                  </a:lnTo>
                  <a:lnTo>
                    <a:pt x="473" y="350"/>
                  </a:lnTo>
                  <a:lnTo>
                    <a:pt x="465" y="344"/>
                  </a:lnTo>
                  <a:lnTo>
                    <a:pt x="465" y="331"/>
                  </a:lnTo>
                  <a:lnTo>
                    <a:pt x="478" y="328"/>
                  </a:lnTo>
                  <a:lnTo>
                    <a:pt x="492" y="332"/>
                  </a:lnTo>
                  <a:lnTo>
                    <a:pt x="497" y="344"/>
                  </a:lnTo>
                  <a:lnTo>
                    <a:pt x="503" y="359"/>
                  </a:lnTo>
                  <a:lnTo>
                    <a:pt x="514" y="364"/>
                  </a:lnTo>
                  <a:lnTo>
                    <a:pt x="527" y="368"/>
                  </a:lnTo>
                  <a:lnTo>
                    <a:pt x="534" y="375"/>
                  </a:lnTo>
                  <a:lnTo>
                    <a:pt x="538" y="383"/>
                  </a:lnTo>
                  <a:lnTo>
                    <a:pt x="544" y="404"/>
                  </a:lnTo>
                  <a:lnTo>
                    <a:pt x="548" y="417"/>
                  </a:lnTo>
                  <a:lnTo>
                    <a:pt x="549" y="429"/>
                  </a:lnTo>
                  <a:lnTo>
                    <a:pt x="546" y="434"/>
                  </a:lnTo>
                  <a:lnTo>
                    <a:pt x="540" y="438"/>
                  </a:lnTo>
                  <a:close/>
                  <a:moveTo>
                    <a:pt x="664" y="236"/>
                  </a:moveTo>
                  <a:lnTo>
                    <a:pt x="669" y="233"/>
                  </a:lnTo>
                  <a:lnTo>
                    <a:pt x="675" y="240"/>
                  </a:lnTo>
                  <a:lnTo>
                    <a:pt x="676" y="258"/>
                  </a:lnTo>
                  <a:lnTo>
                    <a:pt x="679" y="275"/>
                  </a:lnTo>
                  <a:lnTo>
                    <a:pt x="682" y="277"/>
                  </a:lnTo>
                  <a:lnTo>
                    <a:pt x="688" y="279"/>
                  </a:lnTo>
                  <a:lnTo>
                    <a:pt x="688" y="271"/>
                  </a:lnTo>
                  <a:lnTo>
                    <a:pt x="688" y="256"/>
                  </a:lnTo>
                  <a:lnTo>
                    <a:pt x="691" y="252"/>
                  </a:lnTo>
                  <a:lnTo>
                    <a:pt x="695" y="259"/>
                  </a:lnTo>
                  <a:lnTo>
                    <a:pt x="699" y="270"/>
                  </a:lnTo>
                  <a:lnTo>
                    <a:pt x="702" y="281"/>
                  </a:lnTo>
                  <a:lnTo>
                    <a:pt x="701" y="287"/>
                  </a:lnTo>
                  <a:lnTo>
                    <a:pt x="702" y="314"/>
                  </a:lnTo>
                  <a:lnTo>
                    <a:pt x="706" y="328"/>
                  </a:lnTo>
                  <a:lnTo>
                    <a:pt x="712" y="328"/>
                  </a:lnTo>
                  <a:lnTo>
                    <a:pt x="719" y="326"/>
                  </a:lnTo>
                  <a:lnTo>
                    <a:pt x="729" y="341"/>
                  </a:lnTo>
                  <a:lnTo>
                    <a:pt x="722" y="333"/>
                  </a:lnTo>
                  <a:lnTo>
                    <a:pt x="713" y="344"/>
                  </a:lnTo>
                  <a:lnTo>
                    <a:pt x="704" y="351"/>
                  </a:lnTo>
                  <a:lnTo>
                    <a:pt x="699" y="362"/>
                  </a:lnTo>
                  <a:lnTo>
                    <a:pt x="697" y="369"/>
                  </a:lnTo>
                  <a:lnTo>
                    <a:pt x="696" y="378"/>
                  </a:lnTo>
                  <a:lnTo>
                    <a:pt x="693" y="379"/>
                  </a:lnTo>
                  <a:lnTo>
                    <a:pt x="684" y="367"/>
                  </a:lnTo>
                  <a:lnTo>
                    <a:pt x="681" y="377"/>
                  </a:lnTo>
                  <a:lnTo>
                    <a:pt x="683" y="389"/>
                  </a:lnTo>
                  <a:lnTo>
                    <a:pt x="683" y="397"/>
                  </a:lnTo>
                  <a:lnTo>
                    <a:pt x="681" y="402"/>
                  </a:lnTo>
                  <a:lnTo>
                    <a:pt x="678" y="403"/>
                  </a:lnTo>
                  <a:lnTo>
                    <a:pt x="672" y="394"/>
                  </a:lnTo>
                  <a:lnTo>
                    <a:pt x="666" y="385"/>
                  </a:lnTo>
                  <a:lnTo>
                    <a:pt x="665" y="404"/>
                  </a:lnTo>
                  <a:lnTo>
                    <a:pt x="664" y="406"/>
                  </a:lnTo>
                  <a:lnTo>
                    <a:pt x="664" y="407"/>
                  </a:lnTo>
                  <a:lnTo>
                    <a:pt x="658" y="409"/>
                  </a:lnTo>
                  <a:lnTo>
                    <a:pt x="648" y="406"/>
                  </a:lnTo>
                  <a:lnTo>
                    <a:pt x="640" y="401"/>
                  </a:lnTo>
                  <a:lnTo>
                    <a:pt x="634" y="397"/>
                  </a:lnTo>
                  <a:lnTo>
                    <a:pt x="631" y="397"/>
                  </a:lnTo>
                  <a:lnTo>
                    <a:pt x="613" y="358"/>
                  </a:lnTo>
                  <a:lnTo>
                    <a:pt x="612" y="349"/>
                  </a:lnTo>
                  <a:lnTo>
                    <a:pt x="624" y="342"/>
                  </a:lnTo>
                  <a:lnTo>
                    <a:pt x="643" y="345"/>
                  </a:lnTo>
                  <a:lnTo>
                    <a:pt x="648" y="348"/>
                  </a:lnTo>
                  <a:lnTo>
                    <a:pt x="658" y="351"/>
                  </a:lnTo>
                  <a:lnTo>
                    <a:pt x="643" y="329"/>
                  </a:lnTo>
                  <a:lnTo>
                    <a:pt x="625" y="322"/>
                  </a:lnTo>
                  <a:lnTo>
                    <a:pt x="619" y="326"/>
                  </a:lnTo>
                  <a:lnTo>
                    <a:pt x="610" y="325"/>
                  </a:lnTo>
                  <a:lnTo>
                    <a:pt x="607" y="331"/>
                  </a:lnTo>
                  <a:lnTo>
                    <a:pt x="601" y="332"/>
                  </a:lnTo>
                  <a:lnTo>
                    <a:pt x="597" y="326"/>
                  </a:lnTo>
                  <a:lnTo>
                    <a:pt x="591" y="309"/>
                  </a:lnTo>
                  <a:lnTo>
                    <a:pt x="583" y="293"/>
                  </a:lnTo>
                  <a:lnTo>
                    <a:pt x="581" y="281"/>
                  </a:lnTo>
                  <a:lnTo>
                    <a:pt x="592" y="285"/>
                  </a:lnTo>
                  <a:lnTo>
                    <a:pt x="606" y="279"/>
                  </a:lnTo>
                  <a:lnTo>
                    <a:pt x="598" y="270"/>
                  </a:lnTo>
                  <a:lnTo>
                    <a:pt x="594" y="258"/>
                  </a:lnTo>
                  <a:lnTo>
                    <a:pt x="596" y="247"/>
                  </a:lnTo>
                  <a:lnTo>
                    <a:pt x="600" y="242"/>
                  </a:lnTo>
                  <a:lnTo>
                    <a:pt x="605" y="242"/>
                  </a:lnTo>
                  <a:lnTo>
                    <a:pt x="610" y="243"/>
                  </a:lnTo>
                  <a:lnTo>
                    <a:pt x="611" y="235"/>
                  </a:lnTo>
                  <a:lnTo>
                    <a:pt x="601" y="206"/>
                  </a:lnTo>
                  <a:lnTo>
                    <a:pt x="607" y="202"/>
                  </a:lnTo>
                  <a:lnTo>
                    <a:pt x="614" y="194"/>
                  </a:lnTo>
                  <a:lnTo>
                    <a:pt x="621" y="198"/>
                  </a:lnTo>
                  <a:lnTo>
                    <a:pt x="624" y="196"/>
                  </a:lnTo>
                  <a:lnTo>
                    <a:pt x="625" y="189"/>
                  </a:lnTo>
                  <a:lnTo>
                    <a:pt x="622" y="171"/>
                  </a:lnTo>
                  <a:lnTo>
                    <a:pt x="630" y="176"/>
                  </a:lnTo>
                  <a:lnTo>
                    <a:pt x="636" y="178"/>
                  </a:lnTo>
                  <a:lnTo>
                    <a:pt x="640" y="186"/>
                  </a:lnTo>
                  <a:lnTo>
                    <a:pt x="650" y="219"/>
                  </a:lnTo>
                  <a:lnTo>
                    <a:pt x="654" y="229"/>
                  </a:lnTo>
                  <a:lnTo>
                    <a:pt x="658" y="238"/>
                  </a:lnTo>
                  <a:lnTo>
                    <a:pt x="662" y="238"/>
                  </a:lnTo>
                  <a:lnTo>
                    <a:pt x="664" y="236"/>
                  </a:lnTo>
                  <a:close/>
                  <a:moveTo>
                    <a:pt x="664" y="170"/>
                  </a:moveTo>
                  <a:lnTo>
                    <a:pt x="659" y="170"/>
                  </a:lnTo>
                  <a:lnTo>
                    <a:pt x="653" y="162"/>
                  </a:lnTo>
                  <a:lnTo>
                    <a:pt x="651" y="135"/>
                  </a:lnTo>
                  <a:lnTo>
                    <a:pt x="656" y="122"/>
                  </a:lnTo>
                  <a:lnTo>
                    <a:pt x="660" y="119"/>
                  </a:lnTo>
                  <a:lnTo>
                    <a:pt x="664" y="118"/>
                  </a:lnTo>
                  <a:lnTo>
                    <a:pt x="685" y="113"/>
                  </a:lnTo>
                  <a:lnTo>
                    <a:pt x="692" y="107"/>
                  </a:lnTo>
                  <a:lnTo>
                    <a:pt x="700" y="106"/>
                  </a:lnTo>
                  <a:lnTo>
                    <a:pt x="710" y="120"/>
                  </a:lnTo>
                  <a:lnTo>
                    <a:pt x="712" y="116"/>
                  </a:lnTo>
                  <a:lnTo>
                    <a:pt x="715" y="100"/>
                  </a:lnTo>
                  <a:lnTo>
                    <a:pt x="723" y="88"/>
                  </a:lnTo>
                  <a:lnTo>
                    <a:pt x="733" y="83"/>
                  </a:lnTo>
                  <a:lnTo>
                    <a:pt x="745" y="92"/>
                  </a:lnTo>
                  <a:lnTo>
                    <a:pt x="749" y="92"/>
                  </a:lnTo>
                  <a:lnTo>
                    <a:pt x="764" y="98"/>
                  </a:lnTo>
                  <a:lnTo>
                    <a:pt x="779" y="112"/>
                  </a:lnTo>
                  <a:lnTo>
                    <a:pt x="788" y="116"/>
                  </a:lnTo>
                  <a:lnTo>
                    <a:pt x="796" y="123"/>
                  </a:lnTo>
                  <a:lnTo>
                    <a:pt x="799" y="116"/>
                  </a:lnTo>
                  <a:lnTo>
                    <a:pt x="790" y="98"/>
                  </a:lnTo>
                  <a:lnTo>
                    <a:pt x="781" y="82"/>
                  </a:lnTo>
                  <a:lnTo>
                    <a:pt x="776" y="63"/>
                  </a:lnTo>
                  <a:lnTo>
                    <a:pt x="778" y="52"/>
                  </a:lnTo>
                  <a:lnTo>
                    <a:pt x="786" y="45"/>
                  </a:lnTo>
                  <a:lnTo>
                    <a:pt x="792" y="34"/>
                  </a:lnTo>
                  <a:lnTo>
                    <a:pt x="801" y="29"/>
                  </a:lnTo>
                  <a:lnTo>
                    <a:pt x="814" y="19"/>
                  </a:lnTo>
                  <a:lnTo>
                    <a:pt x="824" y="25"/>
                  </a:lnTo>
                  <a:lnTo>
                    <a:pt x="836" y="34"/>
                  </a:lnTo>
                  <a:lnTo>
                    <a:pt x="842" y="46"/>
                  </a:lnTo>
                  <a:lnTo>
                    <a:pt x="849" y="67"/>
                  </a:lnTo>
                  <a:lnTo>
                    <a:pt x="851" y="69"/>
                  </a:lnTo>
                  <a:lnTo>
                    <a:pt x="852" y="53"/>
                  </a:lnTo>
                  <a:lnTo>
                    <a:pt x="847" y="29"/>
                  </a:lnTo>
                  <a:lnTo>
                    <a:pt x="842" y="15"/>
                  </a:lnTo>
                  <a:lnTo>
                    <a:pt x="845" y="3"/>
                  </a:lnTo>
                  <a:lnTo>
                    <a:pt x="853" y="8"/>
                  </a:lnTo>
                  <a:lnTo>
                    <a:pt x="864" y="17"/>
                  </a:lnTo>
                  <a:lnTo>
                    <a:pt x="874" y="20"/>
                  </a:lnTo>
                  <a:lnTo>
                    <a:pt x="883" y="42"/>
                  </a:lnTo>
                  <a:lnTo>
                    <a:pt x="886" y="43"/>
                  </a:lnTo>
                  <a:lnTo>
                    <a:pt x="886" y="34"/>
                  </a:lnTo>
                  <a:lnTo>
                    <a:pt x="884" y="8"/>
                  </a:lnTo>
                  <a:lnTo>
                    <a:pt x="895" y="8"/>
                  </a:lnTo>
                  <a:lnTo>
                    <a:pt x="903" y="10"/>
                  </a:lnTo>
                  <a:lnTo>
                    <a:pt x="908" y="23"/>
                  </a:lnTo>
                  <a:lnTo>
                    <a:pt x="913" y="39"/>
                  </a:lnTo>
                  <a:lnTo>
                    <a:pt x="916" y="39"/>
                  </a:lnTo>
                  <a:lnTo>
                    <a:pt x="916" y="26"/>
                  </a:lnTo>
                  <a:lnTo>
                    <a:pt x="914" y="4"/>
                  </a:lnTo>
                  <a:lnTo>
                    <a:pt x="921" y="0"/>
                  </a:lnTo>
                  <a:lnTo>
                    <a:pt x="942" y="19"/>
                  </a:lnTo>
                  <a:lnTo>
                    <a:pt x="958" y="33"/>
                  </a:lnTo>
                  <a:lnTo>
                    <a:pt x="970" y="29"/>
                  </a:lnTo>
                  <a:lnTo>
                    <a:pt x="987" y="30"/>
                  </a:lnTo>
                  <a:lnTo>
                    <a:pt x="993" y="32"/>
                  </a:lnTo>
                  <a:lnTo>
                    <a:pt x="997" y="38"/>
                  </a:lnTo>
                  <a:lnTo>
                    <a:pt x="998" y="38"/>
                  </a:lnTo>
                  <a:lnTo>
                    <a:pt x="1006" y="42"/>
                  </a:lnTo>
                  <a:lnTo>
                    <a:pt x="1013" y="51"/>
                  </a:lnTo>
                  <a:lnTo>
                    <a:pt x="1017" y="56"/>
                  </a:lnTo>
                  <a:lnTo>
                    <a:pt x="1027" y="58"/>
                  </a:lnTo>
                  <a:lnTo>
                    <a:pt x="1035" y="74"/>
                  </a:lnTo>
                  <a:lnTo>
                    <a:pt x="1033" y="90"/>
                  </a:lnTo>
                  <a:lnTo>
                    <a:pt x="1026" y="95"/>
                  </a:lnTo>
                  <a:lnTo>
                    <a:pt x="1018" y="110"/>
                  </a:lnTo>
                  <a:lnTo>
                    <a:pt x="1008" y="119"/>
                  </a:lnTo>
                  <a:lnTo>
                    <a:pt x="1002" y="117"/>
                  </a:lnTo>
                  <a:lnTo>
                    <a:pt x="989" y="110"/>
                  </a:lnTo>
                  <a:lnTo>
                    <a:pt x="976" y="110"/>
                  </a:lnTo>
                  <a:lnTo>
                    <a:pt x="971" y="116"/>
                  </a:lnTo>
                  <a:lnTo>
                    <a:pt x="960" y="123"/>
                  </a:lnTo>
                  <a:lnTo>
                    <a:pt x="956" y="143"/>
                  </a:lnTo>
                  <a:lnTo>
                    <a:pt x="961" y="158"/>
                  </a:lnTo>
                  <a:lnTo>
                    <a:pt x="965" y="159"/>
                  </a:lnTo>
                  <a:lnTo>
                    <a:pt x="971" y="157"/>
                  </a:lnTo>
                  <a:lnTo>
                    <a:pt x="981" y="146"/>
                  </a:lnTo>
                  <a:lnTo>
                    <a:pt x="986" y="147"/>
                  </a:lnTo>
                  <a:lnTo>
                    <a:pt x="991" y="164"/>
                  </a:lnTo>
                  <a:lnTo>
                    <a:pt x="990" y="169"/>
                  </a:lnTo>
                  <a:lnTo>
                    <a:pt x="982" y="175"/>
                  </a:lnTo>
                  <a:lnTo>
                    <a:pt x="974" y="182"/>
                  </a:lnTo>
                  <a:lnTo>
                    <a:pt x="967" y="194"/>
                  </a:lnTo>
                  <a:lnTo>
                    <a:pt x="955" y="214"/>
                  </a:lnTo>
                  <a:lnTo>
                    <a:pt x="947" y="222"/>
                  </a:lnTo>
                  <a:lnTo>
                    <a:pt x="940" y="235"/>
                  </a:lnTo>
                  <a:lnTo>
                    <a:pt x="935" y="245"/>
                  </a:lnTo>
                  <a:lnTo>
                    <a:pt x="922" y="245"/>
                  </a:lnTo>
                  <a:lnTo>
                    <a:pt x="925" y="277"/>
                  </a:lnTo>
                  <a:lnTo>
                    <a:pt x="923" y="284"/>
                  </a:lnTo>
                  <a:lnTo>
                    <a:pt x="909" y="299"/>
                  </a:lnTo>
                  <a:lnTo>
                    <a:pt x="905" y="299"/>
                  </a:lnTo>
                  <a:lnTo>
                    <a:pt x="895" y="298"/>
                  </a:lnTo>
                  <a:lnTo>
                    <a:pt x="887" y="290"/>
                  </a:lnTo>
                  <a:lnTo>
                    <a:pt x="873" y="284"/>
                  </a:lnTo>
                  <a:lnTo>
                    <a:pt x="869" y="296"/>
                  </a:lnTo>
                  <a:lnTo>
                    <a:pt x="884" y="319"/>
                  </a:lnTo>
                  <a:lnTo>
                    <a:pt x="880" y="323"/>
                  </a:lnTo>
                  <a:lnTo>
                    <a:pt x="874" y="322"/>
                  </a:lnTo>
                  <a:lnTo>
                    <a:pt x="867" y="323"/>
                  </a:lnTo>
                  <a:lnTo>
                    <a:pt x="861" y="323"/>
                  </a:lnTo>
                  <a:lnTo>
                    <a:pt x="846" y="316"/>
                  </a:lnTo>
                  <a:lnTo>
                    <a:pt x="834" y="319"/>
                  </a:lnTo>
                  <a:lnTo>
                    <a:pt x="833" y="340"/>
                  </a:lnTo>
                  <a:lnTo>
                    <a:pt x="840" y="337"/>
                  </a:lnTo>
                  <a:lnTo>
                    <a:pt x="846" y="337"/>
                  </a:lnTo>
                  <a:lnTo>
                    <a:pt x="860" y="346"/>
                  </a:lnTo>
                  <a:lnTo>
                    <a:pt x="863" y="351"/>
                  </a:lnTo>
                  <a:lnTo>
                    <a:pt x="864" y="372"/>
                  </a:lnTo>
                  <a:lnTo>
                    <a:pt x="862" y="378"/>
                  </a:lnTo>
                  <a:lnTo>
                    <a:pt x="856" y="381"/>
                  </a:lnTo>
                  <a:lnTo>
                    <a:pt x="853" y="402"/>
                  </a:lnTo>
                  <a:lnTo>
                    <a:pt x="847" y="403"/>
                  </a:lnTo>
                  <a:lnTo>
                    <a:pt x="844" y="401"/>
                  </a:lnTo>
                  <a:lnTo>
                    <a:pt x="842" y="406"/>
                  </a:lnTo>
                  <a:lnTo>
                    <a:pt x="843" y="413"/>
                  </a:lnTo>
                  <a:lnTo>
                    <a:pt x="848" y="421"/>
                  </a:lnTo>
                  <a:lnTo>
                    <a:pt x="846" y="425"/>
                  </a:lnTo>
                  <a:lnTo>
                    <a:pt x="837" y="427"/>
                  </a:lnTo>
                  <a:lnTo>
                    <a:pt x="831" y="426"/>
                  </a:lnTo>
                  <a:lnTo>
                    <a:pt x="821" y="421"/>
                  </a:lnTo>
                  <a:lnTo>
                    <a:pt x="819" y="423"/>
                  </a:lnTo>
                  <a:lnTo>
                    <a:pt x="821" y="445"/>
                  </a:lnTo>
                  <a:lnTo>
                    <a:pt x="821" y="452"/>
                  </a:lnTo>
                  <a:lnTo>
                    <a:pt x="817" y="460"/>
                  </a:lnTo>
                  <a:lnTo>
                    <a:pt x="813" y="464"/>
                  </a:lnTo>
                  <a:lnTo>
                    <a:pt x="804" y="461"/>
                  </a:lnTo>
                  <a:lnTo>
                    <a:pt x="792" y="458"/>
                  </a:lnTo>
                  <a:lnTo>
                    <a:pt x="783" y="451"/>
                  </a:lnTo>
                  <a:lnTo>
                    <a:pt x="777" y="454"/>
                  </a:lnTo>
                  <a:lnTo>
                    <a:pt x="770" y="467"/>
                  </a:lnTo>
                  <a:lnTo>
                    <a:pt x="776" y="470"/>
                  </a:lnTo>
                  <a:lnTo>
                    <a:pt x="778" y="472"/>
                  </a:lnTo>
                  <a:lnTo>
                    <a:pt x="791" y="475"/>
                  </a:lnTo>
                  <a:lnTo>
                    <a:pt x="801" y="478"/>
                  </a:lnTo>
                  <a:lnTo>
                    <a:pt x="810" y="482"/>
                  </a:lnTo>
                  <a:lnTo>
                    <a:pt x="822" y="484"/>
                  </a:lnTo>
                  <a:lnTo>
                    <a:pt x="826" y="492"/>
                  </a:lnTo>
                  <a:lnTo>
                    <a:pt x="826" y="502"/>
                  </a:lnTo>
                  <a:lnTo>
                    <a:pt x="821" y="512"/>
                  </a:lnTo>
                  <a:lnTo>
                    <a:pt x="805" y="518"/>
                  </a:lnTo>
                  <a:lnTo>
                    <a:pt x="800" y="521"/>
                  </a:lnTo>
                  <a:lnTo>
                    <a:pt x="793" y="527"/>
                  </a:lnTo>
                  <a:lnTo>
                    <a:pt x="787" y="529"/>
                  </a:lnTo>
                  <a:lnTo>
                    <a:pt x="784" y="522"/>
                  </a:lnTo>
                  <a:lnTo>
                    <a:pt x="780" y="506"/>
                  </a:lnTo>
                  <a:lnTo>
                    <a:pt x="776" y="507"/>
                  </a:lnTo>
                  <a:lnTo>
                    <a:pt x="772" y="507"/>
                  </a:lnTo>
                  <a:lnTo>
                    <a:pt x="764" y="499"/>
                  </a:lnTo>
                  <a:lnTo>
                    <a:pt x="764" y="503"/>
                  </a:lnTo>
                  <a:lnTo>
                    <a:pt x="766" y="516"/>
                  </a:lnTo>
                  <a:lnTo>
                    <a:pt x="757" y="515"/>
                  </a:lnTo>
                  <a:lnTo>
                    <a:pt x="748" y="512"/>
                  </a:lnTo>
                  <a:lnTo>
                    <a:pt x="743" y="504"/>
                  </a:lnTo>
                  <a:lnTo>
                    <a:pt x="737" y="492"/>
                  </a:lnTo>
                  <a:lnTo>
                    <a:pt x="735" y="494"/>
                  </a:lnTo>
                  <a:lnTo>
                    <a:pt x="738" y="512"/>
                  </a:lnTo>
                  <a:lnTo>
                    <a:pt x="736" y="516"/>
                  </a:lnTo>
                  <a:lnTo>
                    <a:pt x="732" y="520"/>
                  </a:lnTo>
                  <a:lnTo>
                    <a:pt x="721" y="517"/>
                  </a:lnTo>
                  <a:lnTo>
                    <a:pt x="708" y="516"/>
                  </a:lnTo>
                  <a:lnTo>
                    <a:pt x="703" y="514"/>
                  </a:lnTo>
                  <a:lnTo>
                    <a:pt x="694" y="504"/>
                  </a:lnTo>
                  <a:lnTo>
                    <a:pt x="691" y="501"/>
                  </a:lnTo>
                  <a:lnTo>
                    <a:pt x="689" y="512"/>
                  </a:lnTo>
                  <a:lnTo>
                    <a:pt x="685" y="516"/>
                  </a:lnTo>
                  <a:lnTo>
                    <a:pt x="675" y="508"/>
                  </a:lnTo>
                  <a:lnTo>
                    <a:pt x="675" y="493"/>
                  </a:lnTo>
                  <a:lnTo>
                    <a:pt x="677" y="487"/>
                  </a:lnTo>
                  <a:lnTo>
                    <a:pt x="686" y="484"/>
                  </a:lnTo>
                  <a:lnTo>
                    <a:pt x="689" y="478"/>
                  </a:lnTo>
                  <a:lnTo>
                    <a:pt x="695" y="473"/>
                  </a:lnTo>
                  <a:lnTo>
                    <a:pt x="702" y="474"/>
                  </a:lnTo>
                  <a:lnTo>
                    <a:pt x="705" y="469"/>
                  </a:lnTo>
                  <a:lnTo>
                    <a:pt x="699" y="458"/>
                  </a:lnTo>
                  <a:lnTo>
                    <a:pt x="692" y="441"/>
                  </a:lnTo>
                  <a:lnTo>
                    <a:pt x="693" y="436"/>
                  </a:lnTo>
                  <a:lnTo>
                    <a:pt x="696" y="433"/>
                  </a:lnTo>
                  <a:lnTo>
                    <a:pt x="703" y="434"/>
                  </a:lnTo>
                  <a:lnTo>
                    <a:pt x="714" y="437"/>
                  </a:lnTo>
                  <a:lnTo>
                    <a:pt x="719" y="443"/>
                  </a:lnTo>
                  <a:lnTo>
                    <a:pt x="725" y="457"/>
                  </a:lnTo>
                  <a:lnTo>
                    <a:pt x="733" y="466"/>
                  </a:lnTo>
                  <a:lnTo>
                    <a:pt x="739" y="468"/>
                  </a:lnTo>
                  <a:lnTo>
                    <a:pt x="749" y="467"/>
                  </a:lnTo>
                  <a:lnTo>
                    <a:pt x="754" y="464"/>
                  </a:lnTo>
                  <a:lnTo>
                    <a:pt x="755" y="457"/>
                  </a:lnTo>
                  <a:lnTo>
                    <a:pt x="758" y="448"/>
                  </a:lnTo>
                  <a:lnTo>
                    <a:pt x="740" y="448"/>
                  </a:lnTo>
                  <a:lnTo>
                    <a:pt x="734" y="443"/>
                  </a:lnTo>
                  <a:lnTo>
                    <a:pt x="733" y="419"/>
                  </a:lnTo>
                  <a:lnTo>
                    <a:pt x="734" y="415"/>
                  </a:lnTo>
                  <a:lnTo>
                    <a:pt x="724" y="411"/>
                  </a:lnTo>
                  <a:lnTo>
                    <a:pt x="712" y="406"/>
                  </a:lnTo>
                  <a:lnTo>
                    <a:pt x="711" y="406"/>
                  </a:lnTo>
                  <a:lnTo>
                    <a:pt x="707" y="410"/>
                  </a:lnTo>
                  <a:lnTo>
                    <a:pt x="708" y="388"/>
                  </a:lnTo>
                  <a:lnTo>
                    <a:pt x="715" y="371"/>
                  </a:lnTo>
                  <a:lnTo>
                    <a:pt x="722" y="366"/>
                  </a:lnTo>
                  <a:lnTo>
                    <a:pt x="732" y="366"/>
                  </a:lnTo>
                  <a:lnTo>
                    <a:pt x="739" y="367"/>
                  </a:lnTo>
                  <a:lnTo>
                    <a:pt x="747" y="369"/>
                  </a:lnTo>
                  <a:lnTo>
                    <a:pt x="759" y="379"/>
                  </a:lnTo>
                  <a:lnTo>
                    <a:pt x="767" y="382"/>
                  </a:lnTo>
                  <a:lnTo>
                    <a:pt x="770" y="377"/>
                  </a:lnTo>
                  <a:lnTo>
                    <a:pt x="777" y="376"/>
                  </a:lnTo>
                  <a:lnTo>
                    <a:pt x="757" y="352"/>
                  </a:lnTo>
                  <a:lnTo>
                    <a:pt x="747" y="342"/>
                  </a:lnTo>
                  <a:lnTo>
                    <a:pt x="726" y="301"/>
                  </a:lnTo>
                  <a:lnTo>
                    <a:pt x="723" y="308"/>
                  </a:lnTo>
                  <a:lnTo>
                    <a:pt x="715" y="279"/>
                  </a:lnTo>
                  <a:lnTo>
                    <a:pt x="715" y="270"/>
                  </a:lnTo>
                  <a:lnTo>
                    <a:pt x="717" y="266"/>
                  </a:lnTo>
                  <a:lnTo>
                    <a:pt x="727" y="270"/>
                  </a:lnTo>
                  <a:lnTo>
                    <a:pt x="738" y="270"/>
                  </a:lnTo>
                  <a:lnTo>
                    <a:pt x="750" y="272"/>
                  </a:lnTo>
                  <a:lnTo>
                    <a:pt x="760" y="285"/>
                  </a:lnTo>
                  <a:lnTo>
                    <a:pt x="775" y="311"/>
                  </a:lnTo>
                  <a:lnTo>
                    <a:pt x="783" y="310"/>
                  </a:lnTo>
                  <a:lnTo>
                    <a:pt x="788" y="313"/>
                  </a:lnTo>
                  <a:lnTo>
                    <a:pt x="780" y="295"/>
                  </a:lnTo>
                  <a:lnTo>
                    <a:pt x="768" y="284"/>
                  </a:lnTo>
                  <a:lnTo>
                    <a:pt x="775" y="258"/>
                  </a:lnTo>
                  <a:lnTo>
                    <a:pt x="784" y="247"/>
                  </a:lnTo>
                  <a:lnTo>
                    <a:pt x="794" y="245"/>
                  </a:lnTo>
                  <a:lnTo>
                    <a:pt x="803" y="238"/>
                  </a:lnTo>
                  <a:lnTo>
                    <a:pt x="815" y="235"/>
                  </a:lnTo>
                  <a:lnTo>
                    <a:pt x="822" y="231"/>
                  </a:lnTo>
                  <a:lnTo>
                    <a:pt x="830" y="229"/>
                  </a:lnTo>
                  <a:lnTo>
                    <a:pt x="819" y="211"/>
                  </a:lnTo>
                  <a:lnTo>
                    <a:pt x="811" y="205"/>
                  </a:lnTo>
                  <a:lnTo>
                    <a:pt x="796" y="206"/>
                  </a:lnTo>
                  <a:lnTo>
                    <a:pt x="789" y="216"/>
                  </a:lnTo>
                  <a:lnTo>
                    <a:pt x="781" y="222"/>
                  </a:lnTo>
                  <a:lnTo>
                    <a:pt x="773" y="229"/>
                  </a:lnTo>
                  <a:lnTo>
                    <a:pt x="765" y="231"/>
                  </a:lnTo>
                  <a:lnTo>
                    <a:pt x="761" y="233"/>
                  </a:lnTo>
                  <a:lnTo>
                    <a:pt x="752" y="217"/>
                  </a:lnTo>
                  <a:lnTo>
                    <a:pt x="751" y="221"/>
                  </a:lnTo>
                  <a:lnTo>
                    <a:pt x="748" y="227"/>
                  </a:lnTo>
                  <a:lnTo>
                    <a:pt x="735" y="226"/>
                  </a:lnTo>
                  <a:lnTo>
                    <a:pt x="726" y="240"/>
                  </a:lnTo>
                  <a:lnTo>
                    <a:pt x="727" y="209"/>
                  </a:lnTo>
                  <a:lnTo>
                    <a:pt x="733" y="198"/>
                  </a:lnTo>
                  <a:lnTo>
                    <a:pt x="733" y="190"/>
                  </a:lnTo>
                  <a:lnTo>
                    <a:pt x="730" y="181"/>
                  </a:lnTo>
                  <a:lnTo>
                    <a:pt x="721" y="175"/>
                  </a:lnTo>
                  <a:lnTo>
                    <a:pt x="714" y="175"/>
                  </a:lnTo>
                  <a:lnTo>
                    <a:pt x="689" y="194"/>
                  </a:lnTo>
                  <a:lnTo>
                    <a:pt x="677" y="220"/>
                  </a:lnTo>
                  <a:lnTo>
                    <a:pt x="675" y="215"/>
                  </a:lnTo>
                  <a:lnTo>
                    <a:pt x="671" y="206"/>
                  </a:lnTo>
                  <a:lnTo>
                    <a:pt x="673" y="201"/>
                  </a:lnTo>
                  <a:lnTo>
                    <a:pt x="678" y="200"/>
                  </a:lnTo>
                  <a:lnTo>
                    <a:pt x="677" y="188"/>
                  </a:lnTo>
                  <a:lnTo>
                    <a:pt x="673" y="173"/>
                  </a:lnTo>
                  <a:lnTo>
                    <a:pt x="666" y="170"/>
                  </a:lnTo>
                  <a:lnTo>
                    <a:pt x="664" y="170"/>
                  </a:lnTo>
                  <a:close/>
                  <a:moveTo>
                    <a:pt x="730" y="1039"/>
                  </a:moveTo>
                  <a:lnTo>
                    <a:pt x="726" y="1038"/>
                  </a:lnTo>
                  <a:lnTo>
                    <a:pt x="727" y="1027"/>
                  </a:lnTo>
                  <a:lnTo>
                    <a:pt x="724" y="1022"/>
                  </a:lnTo>
                  <a:lnTo>
                    <a:pt x="719" y="1025"/>
                  </a:lnTo>
                  <a:lnTo>
                    <a:pt x="705" y="1028"/>
                  </a:lnTo>
                  <a:lnTo>
                    <a:pt x="705" y="1022"/>
                  </a:lnTo>
                  <a:lnTo>
                    <a:pt x="709" y="1018"/>
                  </a:lnTo>
                  <a:lnTo>
                    <a:pt x="718" y="1011"/>
                  </a:lnTo>
                  <a:lnTo>
                    <a:pt x="717" y="1004"/>
                  </a:lnTo>
                  <a:lnTo>
                    <a:pt x="716" y="998"/>
                  </a:lnTo>
                  <a:lnTo>
                    <a:pt x="717" y="993"/>
                  </a:lnTo>
                  <a:lnTo>
                    <a:pt x="719" y="981"/>
                  </a:lnTo>
                  <a:lnTo>
                    <a:pt x="721" y="973"/>
                  </a:lnTo>
                  <a:lnTo>
                    <a:pt x="723" y="964"/>
                  </a:lnTo>
                  <a:lnTo>
                    <a:pt x="725" y="958"/>
                  </a:lnTo>
                  <a:lnTo>
                    <a:pt x="732" y="965"/>
                  </a:lnTo>
                  <a:lnTo>
                    <a:pt x="730" y="973"/>
                  </a:lnTo>
                  <a:lnTo>
                    <a:pt x="734" y="978"/>
                  </a:lnTo>
                  <a:lnTo>
                    <a:pt x="737" y="979"/>
                  </a:lnTo>
                  <a:lnTo>
                    <a:pt x="740" y="972"/>
                  </a:lnTo>
                  <a:lnTo>
                    <a:pt x="744" y="974"/>
                  </a:lnTo>
                  <a:lnTo>
                    <a:pt x="748" y="978"/>
                  </a:lnTo>
                  <a:lnTo>
                    <a:pt x="754" y="985"/>
                  </a:lnTo>
                  <a:lnTo>
                    <a:pt x="757" y="989"/>
                  </a:lnTo>
                  <a:lnTo>
                    <a:pt x="770" y="995"/>
                  </a:lnTo>
                  <a:lnTo>
                    <a:pt x="772" y="999"/>
                  </a:lnTo>
                  <a:lnTo>
                    <a:pt x="774" y="1003"/>
                  </a:lnTo>
                  <a:lnTo>
                    <a:pt x="773" y="1015"/>
                  </a:lnTo>
                  <a:lnTo>
                    <a:pt x="776" y="1016"/>
                  </a:lnTo>
                  <a:lnTo>
                    <a:pt x="780" y="1015"/>
                  </a:lnTo>
                  <a:lnTo>
                    <a:pt x="785" y="1016"/>
                  </a:lnTo>
                  <a:lnTo>
                    <a:pt x="789" y="1018"/>
                  </a:lnTo>
                  <a:lnTo>
                    <a:pt x="795" y="1023"/>
                  </a:lnTo>
                  <a:lnTo>
                    <a:pt x="793" y="1024"/>
                  </a:lnTo>
                  <a:lnTo>
                    <a:pt x="791" y="1026"/>
                  </a:lnTo>
                  <a:lnTo>
                    <a:pt x="789" y="1030"/>
                  </a:lnTo>
                  <a:lnTo>
                    <a:pt x="783" y="1029"/>
                  </a:lnTo>
                  <a:lnTo>
                    <a:pt x="779" y="1027"/>
                  </a:lnTo>
                  <a:lnTo>
                    <a:pt x="771" y="1026"/>
                  </a:lnTo>
                  <a:lnTo>
                    <a:pt x="769" y="1024"/>
                  </a:lnTo>
                  <a:lnTo>
                    <a:pt x="765" y="1017"/>
                  </a:lnTo>
                  <a:lnTo>
                    <a:pt x="762" y="1013"/>
                  </a:lnTo>
                  <a:lnTo>
                    <a:pt x="756" y="1010"/>
                  </a:lnTo>
                  <a:lnTo>
                    <a:pt x="753" y="1010"/>
                  </a:lnTo>
                  <a:lnTo>
                    <a:pt x="751" y="1013"/>
                  </a:lnTo>
                  <a:lnTo>
                    <a:pt x="753" y="1021"/>
                  </a:lnTo>
                  <a:lnTo>
                    <a:pt x="752" y="1022"/>
                  </a:lnTo>
                  <a:lnTo>
                    <a:pt x="744" y="1025"/>
                  </a:lnTo>
                  <a:lnTo>
                    <a:pt x="740" y="1031"/>
                  </a:lnTo>
                  <a:lnTo>
                    <a:pt x="737" y="1035"/>
                  </a:lnTo>
                  <a:lnTo>
                    <a:pt x="730" y="1039"/>
                  </a:lnTo>
                  <a:close/>
                  <a:moveTo>
                    <a:pt x="1048" y="1441"/>
                  </a:moveTo>
                  <a:lnTo>
                    <a:pt x="1045" y="1440"/>
                  </a:lnTo>
                  <a:lnTo>
                    <a:pt x="1042" y="1438"/>
                  </a:lnTo>
                  <a:lnTo>
                    <a:pt x="1041" y="1433"/>
                  </a:lnTo>
                  <a:lnTo>
                    <a:pt x="1041" y="1428"/>
                  </a:lnTo>
                  <a:lnTo>
                    <a:pt x="1045" y="1421"/>
                  </a:lnTo>
                  <a:lnTo>
                    <a:pt x="1051" y="1412"/>
                  </a:lnTo>
                  <a:lnTo>
                    <a:pt x="1056" y="1416"/>
                  </a:lnTo>
                  <a:lnTo>
                    <a:pt x="1053" y="1420"/>
                  </a:lnTo>
                  <a:lnTo>
                    <a:pt x="1053" y="1424"/>
                  </a:lnTo>
                  <a:lnTo>
                    <a:pt x="1051" y="1427"/>
                  </a:lnTo>
                  <a:lnTo>
                    <a:pt x="1050" y="1428"/>
                  </a:lnTo>
                  <a:lnTo>
                    <a:pt x="1046" y="1430"/>
                  </a:lnTo>
                  <a:lnTo>
                    <a:pt x="1045" y="1434"/>
                  </a:lnTo>
                  <a:lnTo>
                    <a:pt x="1048" y="1436"/>
                  </a:lnTo>
                  <a:lnTo>
                    <a:pt x="1049" y="1436"/>
                  </a:lnTo>
                  <a:lnTo>
                    <a:pt x="1051" y="1434"/>
                  </a:lnTo>
                  <a:lnTo>
                    <a:pt x="1053" y="1431"/>
                  </a:lnTo>
                  <a:lnTo>
                    <a:pt x="1057" y="1428"/>
                  </a:lnTo>
                  <a:lnTo>
                    <a:pt x="1059" y="1429"/>
                  </a:lnTo>
                  <a:lnTo>
                    <a:pt x="1062" y="1433"/>
                  </a:lnTo>
                  <a:lnTo>
                    <a:pt x="1060" y="1436"/>
                  </a:lnTo>
                  <a:lnTo>
                    <a:pt x="1059" y="1437"/>
                  </a:lnTo>
                  <a:lnTo>
                    <a:pt x="1052" y="1441"/>
                  </a:lnTo>
                  <a:lnTo>
                    <a:pt x="1048" y="1441"/>
                  </a:lnTo>
                  <a:close/>
                  <a:moveTo>
                    <a:pt x="1083" y="1384"/>
                  </a:moveTo>
                  <a:lnTo>
                    <a:pt x="1076" y="1382"/>
                  </a:lnTo>
                  <a:lnTo>
                    <a:pt x="1080" y="1375"/>
                  </a:lnTo>
                  <a:lnTo>
                    <a:pt x="1082" y="1374"/>
                  </a:lnTo>
                  <a:lnTo>
                    <a:pt x="1084" y="1375"/>
                  </a:lnTo>
                  <a:lnTo>
                    <a:pt x="1085" y="1375"/>
                  </a:lnTo>
                  <a:lnTo>
                    <a:pt x="1087" y="1372"/>
                  </a:lnTo>
                  <a:lnTo>
                    <a:pt x="1083" y="1366"/>
                  </a:lnTo>
                  <a:lnTo>
                    <a:pt x="1084" y="1364"/>
                  </a:lnTo>
                  <a:lnTo>
                    <a:pt x="1087" y="1356"/>
                  </a:lnTo>
                  <a:lnTo>
                    <a:pt x="1093" y="1344"/>
                  </a:lnTo>
                  <a:lnTo>
                    <a:pt x="1102" y="1331"/>
                  </a:lnTo>
                  <a:lnTo>
                    <a:pt x="1106" y="1327"/>
                  </a:lnTo>
                  <a:lnTo>
                    <a:pt x="1109" y="1325"/>
                  </a:lnTo>
                  <a:lnTo>
                    <a:pt x="1117" y="1324"/>
                  </a:lnTo>
                  <a:lnTo>
                    <a:pt x="1118" y="1324"/>
                  </a:lnTo>
                  <a:lnTo>
                    <a:pt x="1119" y="1327"/>
                  </a:lnTo>
                  <a:lnTo>
                    <a:pt x="1117" y="1328"/>
                  </a:lnTo>
                  <a:lnTo>
                    <a:pt x="1113" y="1329"/>
                  </a:lnTo>
                  <a:lnTo>
                    <a:pt x="1112" y="1330"/>
                  </a:lnTo>
                  <a:lnTo>
                    <a:pt x="1114" y="1334"/>
                  </a:lnTo>
                  <a:lnTo>
                    <a:pt x="1110" y="1342"/>
                  </a:lnTo>
                  <a:lnTo>
                    <a:pt x="1102" y="1355"/>
                  </a:lnTo>
                  <a:lnTo>
                    <a:pt x="1101" y="1360"/>
                  </a:lnTo>
                  <a:lnTo>
                    <a:pt x="1102" y="1362"/>
                  </a:lnTo>
                  <a:lnTo>
                    <a:pt x="1102" y="1362"/>
                  </a:lnTo>
                  <a:lnTo>
                    <a:pt x="1105" y="1361"/>
                  </a:lnTo>
                  <a:lnTo>
                    <a:pt x="1108" y="1355"/>
                  </a:lnTo>
                  <a:lnTo>
                    <a:pt x="1110" y="1354"/>
                  </a:lnTo>
                  <a:lnTo>
                    <a:pt x="1117" y="1357"/>
                  </a:lnTo>
                  <a:lnTo>
                    <a:pt x="1111" y="1363"/>
                  </a:lnTo>
                  <a:lnTo>
                    <a:pt x="1113" y="1365"/>
                  </a:lnTo>
                  <a:lnTo>
                    <a:pt x="1114" y="1365"/>
                  </a:lnTo>
                  <a:lnTo>
                    <a:pt x="1123" y="1370"/>
                  </a:lnTo>
                  <a:lnTo>
                    <a:pt x="1127" y="1370"/>
                  </a:lnTo>
                  <a:lnTo>
                    <a:pt x="1129" y="1367"/>
                  </a:lnTo>
                  <a:lnTo>
                    <a:pt x="1131" y="1366"/>
                  </a:lnTo>
                  <a:lnTo>
                    <a:pt x="1135" y="1366"/>
                  </a:lnTo>
                  <a:lnTo>
                    <a:pt x="1140" y="1368"/>
                  </a:lnTo>
                  <a:lnTo>
                    <a:pt x="1144" y="1370"/>
                  </a:lnTo>
                  <a:lnTo>
                    <a:pt x="1142" y="1373"/>
                  </a:lnTo>
                  <a:lnTo>
                    <a:pt x="1140" y="1375"/>
                  </a:lnTo>
                  <a:lnTo>
                    <a:pt x="1135" y="1379"/>
                  </a:lnTo>
                  <a:lnTo>
                    <a:pt x="1138" y="1382"/>
                  </a:lnTo>
                  <a:lnTo>
                    <a:pt x="1140" y="1385"/>
                  </a:lnTo>
                  <a:lnTo>
                    <a:pt x="1142" y="1386"/>
                  </a:lnTo>
                  <a:lnTo>
                    <a:pt x="1144" y="1384"/>
                  </a:lnTo>
                  <a:lnTo>
                    <a:pt x="1147" y="1383"/>
                  </a:lnTo>
                  <a:lnTo>
                    <a:pt x="1149" y="1384"/>
                  </a:lnTo>
                  <a:lnTo>
                    <a:pt x="1149" y="1385"/>
                  </a:lnTo>
                  <a:lnTo>
                    <a:pt x="1147" y="1388"/>
                  </a:lnTo>
                  <a:lnTo>
                    <a:pt x="1145" y="1390"/>
                  </a:lnTo>
                  <a:lnTo>
                    <a:pt x="1140" y="1391"/>
                  </a:lnTo>
                  <a:lnTo>
                    <a:pt x="1139" y="1392"/>
                  </a:lnTo>
                  <a:lnTo>
                    <a:pt x="1140" y="1395"/>
                  </a:lnTo>
                  <a:lnTo>
                    <a:pt x="1141" y="1399"/>
                  </a:lnTo>
                  <a:lnTo>
                    <a:pt x="1143" y="1401"/>
                  </a:lnTo>
                  <a:lnTo>
                    <a:pt x="1144" y="1399"/>
                  </a:lnTo>
                  <a:lnTo>
                    <a:pt x="1146" y="1397"/>
                  </a:lnTo>
                  <a:lnTo>
                    <a:pt x="1149" y="1398"/>
                  </a:lnTo>
                  <a:lnTo>
                    <a:pt x="1148" y="1402"/>
                  </a:lnTo>
                  <a:lnTo>
                    <a:pt x="1149" y="1405"/>
                  </a:lnTo>
                  <a:lnTo>
                    <a:pt x="1153" y="1405"/>
                  </a:lnTo>
                  <a:lnTo>
                    <a:pt x="1154" y="1405"/>
                  </a:lnTo>
                  <a:lnTo>
                    <a:pt x="1154" y="1406"/>
                  </a:lnTo>
                  <a:lnTo>
                    <a:pt x="1153" y="1409"/>
                  </a:lnTo>
                  <a:lnTo>
                    <a:pt x="1152" y="1415"/>
                  </a:lnTo>
                  <a:lnTo>
                    <a:pt x="1149" y="1420"/>
                  </a:lnTo>
                  <a:lnTo>
                    <a:pt x="1148" y="1420"/>
                  </a:lnTo>
                  <a:lnTo>
                    <a:pt x="1144" y="1418"/>
                  </a:lnTo>
                  <a:lnTo>
                    <a:pt x="1142" y="1417"/>
                  </a:lnTo>
                  <a:lnTo>
                    <a:pt x="1142" y="1412"/>
                  </a:lnTo>
                  <a:lnTo>
                    <a:pt x="1138" y="1415"/>
                  </a:lnTo>
                  <a:lnTo>
                    <a:pt x="1136" y="1415"/>
                  </a:lnTo>
                  <a:lnTo>
                    <a:pt x="1136" y="1413"/>
                  </a:lnTo>
                  <a:lnTo>
                    <a:pt x="1138" y="1407"/>
                  </a:lnTo>
                  <a:lnTo>
                    <a:pt x="1138" y="1405"/>
                  </a:lnTo>
                  <a:lnTo>
                    <a:pt x="1136" y="1400"/>
                  </a:lnTo>
                  <a:lnTo>
                    <a:pt x="1134" y="1400"/>
                  </a:lnTo>
                  <a:lnTo>
                    <a:pt x="1132" y="1403"/>
                  </a:lnTo>
                  <a:lnTo>
                    <a:pt x="1130" y="1406"/>
                  </a:lnTo>
                  <a:lnTo>
                    <a:pt x="1128" y="1407"/>
                  </a:lnTo>
                  <a:lnTo>
                    <a:pt x="1125" y="1409"/>
                  </a:lnTo>
                  <a:lnTo>
                    <a:pt x="1122" y="1413"/>
                  </a:lnTo>
                  <a:lnTo>
                    <a:pt x="1119" y="1416"/>
                  </a:lnTo>
                  <a:lnTo>
                    <a:pt x="1114" y="1416"/>
                  </a:lnTo>
                  <a:lnTo>
                    <a:pt x="1113" y="1414"/>
                  </a:lnTo>
                  <a:lnTo>
                    <a:pt x="1113" y="1413"/>
                  </a:lnTo>
                  <a:lnTo>
                    <a:pt x="1120" y="1409"/>
                  </a:lnTo>
                  <a:lnTo>
                    <a:pt x="1123" y="1405"/>
                  </a:lnTo>
                  <a:lnTo>
                    <a:pt x="1127" y="1402"/>
                  </a:lnTo>
                  <a:lnTo>
                    <a:pt x="1123" y="1400"/>
                  </a:lnTo>
                  <a:lnTo>
                    <a:pt x="1119" y="1400"/>
                  </a:lnTo>
                  <a:lnTo>
                    <a:pt x="1117" y="1404"/>
                  </a:lnTo>
                  <a:lnTo>
                    <a:pt x="1115" y="1404"/>
                  </a:lnTo>
                  <a:lnTo>
                    <a:pt x="1114" y="1403"/>
                  </a:lnTo>
                  <a:lnTo>
                    <a:pt x="1114" y="1398"/>
                  </a:lnTo>
                  <a:lnTo>
                    <a:pt x="1110" y="1399"/>
                  </a:lnTo>
                  <a:lnTo>
                    <a:pt x="1109" y="1401"/>
                  </a:lnTo>
                  <a:lnTo>
                    <a:pt x="1107" y="1403"/>
                  </a:lnTo>
                  <a:lnTo>
                    <a:pt x="1101" y="1403"/>
                  </a:lnTo>
                  <a:lnTo>
                    <a:pt x="1096" y="1403"/>
                  </a:lnTo>
                  <a:lnTo>
                    <a:pt x="1090" y="1401"/>
                  </a:lnTo>
                  <a:lnTo>
                    <a:pt x="1084" y="1400"/>
                  </a:lnTo>
                  <a:lnTo>
                    <a:pt x="1076" y="1401"/>
                  </a:lnTo>
                  <a:lnTo>
                    <a:pt x="1070" y="1402"/>
                  </a:lnTo>
                  <a:lnTo>
                    <a:pt x="1069" y="1400"/>
                  </a:lnTo>
                  <a:lnTo>
                    <a:pt x="1068" y="1396"/>
                  </a:lnTo>
                  <a:lnTo>
                    <a:pt x="1069" y="1395"/>
                  </a:lnTo>
                  <a:lnTo>
                    <a:pt x="1072" y="1392"/>
                  </a:lnTo>
                  <a:lnTo>
                    <a:pt x="1077" y="1388"/>
                  </a:lnTo>
                  <a:lnTo>
                    <a:pt x="1080" y="1387"/>
                  </a:lnTo>
                  <a:lnTo>
                    <a:pt x="1083" y="1384"/>
                  </a:lnTo>
                  <a:close/>
                  <a:moveTo>
                    <a:pt x="224" y="1387"/>
                  </a:moveTo>
                  <a:lnTo>
                    <a:pt x="216" y="1384"/>
                  </a:lnTo>
                  <a:lnTo>
                    <a:pt x="208" y="1380"/>
                  </a:lnTo>
                  <a:lnTo>
                    <a:pt x="207" y="1379"/>
                  </a:lnTo>
                  <a:lnTo>
                    <a:pt x="207" y="1377"/>
                  </a:lnTo>
                  <a:lnTo>
                    <a:pt x="210" y="1373"/>
                  </a:lnTo>
                  <a:lnTo>
                    <a:pt x="204" y="1373"/>
                  </a:lnTo>
                  <a:lnTo>
                    <a:pt x="201" y="1375"/>
                  </a:lnTo>
                  <a:lnTo>
                    <a:pt x="199" y="1374"/>
                  </a:lnTo>
                  <a:lnTo>
                    <a:pt x="197" y="1373"/>
                  </a:lnTo>
                  <a:lnTo>
                    <a:pt x="198" y="1369"/>
                  </a:lnTo>
                  <a:lnTo>
                    <a:pt x="195" y="1366"/>
                  </a:lnTo>
                  <a:lnTo>
                    <a:pt x="193" y="1365"/>
                  </a:lnTo>
                  <a:lnTo>
                    <a:pt x="189" y="1364"/>
                  </a:lnTo>
                  <a:lnTo>
                    <a:pt x="188" y="1362"/>
                  </a:lnTo>
                  <a:lnTo>
                    <a:pt x="190" y="1360"/>
                  </a:lnTo>
                  <a:lnTo>
                    <a:pt x="184" y="1355"/>
                  </a:lnTo>
                  <a:lnTo>
                    <a:pt x="181" y="1356"/>
                  </a:lnTo>
                  <a:lnTo>
                    <a:pt x="178" y="1355"/>
                  </a:lnTo>
                  <a:lnTo>
                    <a:pt x="173" y="1350"/>
                  </a:lnTo>
                  <a:lnTo>
                    <a:pt x="166" y="1342"/>
                  </a:lnTo>
                  <a:lnTo>
                    <a:pt x="165" y="1340"/>
                  </a:lnTo>
                  <a:lnTo>
                    <a:pt x="165" y="1339"/>
                  </a:lnTo>
                  <a:lnTo>
                    <a:pt x="170" y="1338"/>
                  </a:lnTo>
                  <a:lnTo>
                    <a:pt x="172" y="1338"/>
                  </a:lnTo>
                  <a:lnTo>
                    <a:pt x="184" y="1344"/>
                  </a:lnTo>
                  <a:lnTo>
                    <a:pt x="190" y="1346"/>
                  </a:lnTo>
                  <a:lnTo>
                    <a:pt x="200" y="1348"/>
                  </a:lnTo>
                  <a:lnTo>
                    <a:pt x="202" y="1350"/>
                  </a:lnTo>
                  <a:lnTo>
                    <a:pt x="206" y="1355"/>
                  </a:lnTo>
                  <a:lnTo>
                    <a:pt x="208" y="1361"/>
                  </a:lnTo>
                  <a:lnTo>
                    <a:pt x="211" y="1364"/>
                  </a:lnTo>
                  <a:lnTo>
                    <a:pt x="213" y="1366"/>
                  </a:lnTo>
                  <a:lnTo>
                    <a:pt x="223" y="1371"/>
                  </a:lnTo>
                  <a:lnTo>
                    <a:pt x="225" y="1373"/>
                  </a:lnTo>
                  <a:lnTo>
                    <a:pt x="227" y="1380"/>
                  </a:lnTo>
                  <a:lnTo>
                    <a:pt x="228" y="1383"/>
                  </a:lnTo>
                  <a:lnTo>
                    <a:pt x="226" y="1387"/>
                  </a:lnTo>
                  <a:lnTo>
                    <a:pt x="224" y="138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36" name="Freeform 8">
              <a:extLst>
                <a:ext uri="{FF2B5EF4-FFF2-40B4-BE49-F238E27FC236}">
                  <a16:creationId xmlns:a16="http://schemas.microsoft.com/office/drawing/2014/main" id="{82A6F975-C5C0-A481-A933-5C0DA95B6C5C}"/>
                </a:ext>
              </a:extLst>
            </p:cNvPr>
            <p:cNvSpPr>
              <a:spLocks noEditPoints="1"/>
            </p:cNvSpPr>
            <p:nvPr/>
          </p:nvSpPr>
          <p:spPr bwMode="auto">
            <a:xfrm>
              <a:off x="3779421" y="1811338"/>
              <a:ext cx="1244600" cy="1871663"/>
            </a:xfrm>
            <a:custGeom>
              <a:avLst/>
              <a:gdLst/>
              <a:ahLst/>
              <a:cxnLst>
                <a:cxn ang="0">
                  <a:pos x="583" y="848"/>
                </a:cxn>
                <a:cxn ang="0">
                  <a:pos x="658" y="857"/>
                </a:cxn>
                <a:cxn ang="0">
                  <a:pos x="579" y="917"/>
                </a:cxn>
                <a:cxn ang="0">
                  <a:pos x="530" y="916"/>
                </a:cxn>
                <a:cxn ang="0">
                  <a:pos x="498" y="987"/>
                </a:cxn>
                <a:cxn ang="0">
                  <a:pos x="457" y="989"/>
                </a:cxn>
                <a:cxn ang="0">
                  <a:pos x="426" y="1032"/>
                </a:cxn>
                <a:cxn ang="0">
                  <a:pos x="414" y="1060"/>
                </a:cxn>
                <a:cxn ang="0">
                  <a:pos x="400" y="1089"/>
                </a:cxn>
                <a:cxn ang="0">
                  <a:pos x="393" y="1138"/>
                </a:cxn>
                <a:cxn ang="0">
                  <a:pos x="386" y="1177"/>
                </a:cxn>
                <a:cxn ang="0">
                  <a:pos x="353" y="1151"/>
                </a:cxn>
                <a:cxn ang="0">
                  <a:pos x="323" y="1152"/>
                </a:cxn>
                <a:cxn ang="0">
                  <a:pos x="293" y="1109"/>
                </a:cxn>
                <a:cxn ang="0">
                  <a:pos x="277" y="1069"/>
                </a:cxn>
                <a:cxn ang="0">
                  <a:pos x="278" y="1048"/>
                </a:cxn>
                <a:cxn ang="0">
                  <a:pos x="254" y="1003"/>
                </a:cxn>
                <a:cxn ang="0">
                  <a:pos x="257" y="969"/>
                </a:cxn>
                <a:cxn ang="0">
                  <a:pos x="249" y="947"/>
                </a:cxn>
                <a:cxn ang="0">
                  <a:pos x="290" y="936"/>
                </a:cxn>
                <a:cxn ang="0">
                  <a:pos x="282" y="913"/>
                </a:cxn>
                <a:cxn ang="0">
                  <a:pos x="280" y="861"/>
                </a:cxn>
                <a:cxn ang="0">
                  <a:pos x="260" y="833"/>
                </a:cxn>
                <a:cxn ang="0">
                  <a:pos x="268" y="800"/>
                </a:cxn>
                <a:cxn ang="0">
                  <a:pos x="223" y="800"/>
                </a:cxn>
                <a:cxn ang="0">
                  <a:pos x="225" y="719"/>
                </a:cxn>
                <a:cxn ang="0">
                  <a:pos x="155" y="582"/>
                </a:cxn>
                <a:cxn ang="0">
                  <a:pos x="78" y="592"/>
                </a:cxn>
                <a:cxn ang="0">
                  <a:pos x="20" y="530"/>
                </a:cxn>
                <a:cxn ang="0">
                  <a:pos x="75" y="485"/>
                </a:cxn>
                <a:cxn ang="0">
                  <a:pos x="11" y="477"/>
                </a:cxn>
                <a:cxn ang="0">
                  <a:pos x="60" y="397"/>
                </a:cxn>
                <a:cxn ang="0">
                  <a:pos x="80" y="335"/>
                </a:cxn>
                <a:cxn ang="0">
                  <a:pos x="151" y="232"/>
                </a:cxn>
                <a:cxn ang="0">
                  <a:pos x="188" y="164"/>
                </a:cxn>
                <a:cxn ang="0">
                  <a:pos x="264" y="154"/>
                </a:cxn>
                <a:cxn ang="0">
                  <a:pos x="322" y="145"/>
                </a:cxn>
                <a:cxn ang="0">
                  <a:pos x="393" y="40"/>
                </a:cxn>
                <a:cxn ang="0">
                  <a:pos x="509" y="11"/>
                </a:cxn>
                <a:cxn ang="0">
                  <a:pos x="625" y="77"/>
                </a:cxn>
                <a:cxn ang="0">
                  <a:pos x="590" y="139"/>
                </a:cxn>
                <a:cxn ang="0">
                  <a:pos x="547" y="183"/>
                </a:cxn>
                <a:cxn ang="0">
                  <a:pos x="663" y="188"/>
                </a:cxn>
                <a:cxn ang="0">
                  <a:pos x="681" y="218"/>
                </a:cxn>
                <a:cxn ang="0">
                  <a:pos x="775" y="196"/>
                </a:cxn>
                <a:cxn ang="0">
                  <a:pos x="712" y="302"/>
                </a:cxn>
                <a:cxn ang="0">
                  <a:pos x="695" y="367"/>
                </a:cxn>
                <a:cxn ang="0">
                  <a:pos x="672" y="483"/>
                </a:cxn>
                <a:cxn ang="0">
                  <a:pos x="695" y="514"/>
                </a:cxn>
                <a:cxn ang="0">
                  <a:pos x="666" y="546"/>
                </a:cxn>
                <a:cxn ang="0">
                  <a:pos x="695" y="627"/>
                </a:cxn>
                <a:cxn ang="0">
                  <a:pos x="701" y="668"/>
                </a:cxn>
                <a:cxn ang="0">
                  <a:pos x="683" y="705"/>
                </a:cxn>
                <a:cxn ang="0">
                  <a:pos x="621" y="714"/>
                </a:cxn>
                <a:cxn ang="0">
                  <a:pos x="611" y="752"/>
                </a:cxn>
                <a:cxn ang="0">
                  <a:pos x="666" y="811"/>
                </a:cxn>
                <a:cxn ang="0">
                  <a:pos x="629" y="812"/>
                </a:cxn>
                <a:cxn ang="0">
                  <a:pos x="233" y="870"/>
                </a:cxn>
                <a:cxn ang="0">
                  <a:pos x="269" y="877"/>
                </a:cxn>
                <a:cxn ang="0">
                  <a:pos x="645" y="749"/>
                </a:cxn>
              </a:cxnLst>
              <a:rect l="0" t="0" r="r" b="b"/>
              <a:pathLst>
                <a:path w="784" h="1179">
                  <a:moveTo>
                    <a:pt x="598" y="797"/>
                  </a:moveTo>
                  <a:lnTo>
                    <a:pt x="610" y="802"/>
                  </a:lnTo>
                  <a:lnTo>
                    <a:pt x="612" y="809"/>
                  </a:lnTo>
                  <a:lnTo>
                    <a:pt x="607" y="812"/>
                  </a:lnTo>
                  <a:lnTo>
                    <a:pt x="604" y="815"/>
                  </a:lnTo>
                  <a:lnTo>
                    <a:pt x="594" y="816"/>
                  </a:lnTo>
                  <a:lnTo>
                    <a:pt x="587" y="817"/>
                  </a:lnTo>
                  <a:lnTo>
                    <a:pt x="583" y="820"/>
                  </a:lnTo>
                  <a:lnTo>
                    <a:pt x="581" y="824"/>
                  </a:lnTo>
                  <a:lnTo>
                    <a:pt x="579" y="835"/>
                  </a:lnTo>
                  <a:lnTo>
                    <a:pt x="577" y="841"/>
                  </a:lnTo>
                  <a:lnTo>
                    <a:pt x="583" y="848"/>
                  </a:lnTo>
                  <a:lnTo>
                    <a:pt x="589" y="851"/>
                  </a:lnTo>
                  <a:lnTo>
                    <a:pt x="601" y="852"/>
                  </a:lnTo>
                  <a:lnTo>
                    <a:pt x="605" y="852"/>
                  </a:lnTo>
                  <a:lnTo>
                    <a:pt x="615" y="848"/>
                  </a:lnTo>
                  <a:lnTo>
                    <a:pt x="627" y="847"/>
                  </a:lnTo>
                  <a:lnTo>
                    <a:pt x="632" y="850"/>
                  </a:lnTo>
                  <a:lnTo>
                    <a:pt x="637" y="854"/>
                  </a:lnTo>
                  <a:lnTo>
                    <a:pt x="640" y="856"/>
                  </a:lnTo>
                  <a:lnTo>
                    <a:pt x="641" y="855"/>
                  </a:lnTo>
                  <a:lnTo>
                    <a:pt x="647" y="855"/>
                  </a:lnTo>
                  <a:lnTo>
                    <a:pt x="655" y="856"/>
                  </a:lnTo>
                  <a:lnTo>
                    <a:pt x="658" y="857"/>
                  </a:lnTo>
                  <a:lnTo>
                    <a:pt x="651" y="868"/>
                  </a:lnTo>
                  <a:lnTo>
                    <a:pt x="642" y="875"/>
                  </a:lnTo>
                  <a:lnTo>
                    <a:pt x="630" y="884"/>
                  </a:lnTo>
                  <a:lnTo>
                    <a:pt x="627" y="884"/>
                  </a:lnTo>
                  <a:lnTo>
                    <a:pt x="623" y="882"/>
                  </a:lnTo>
                  <a:lnTo>
                    <a:pt x="617" y="893"/>
                  </a:lnTo>
                  <a:lnTo>
                    <a:pt x="611" y="901"/>
                  </a:lnTo>
                  <a:lnTo>
                    <a:pt x="603" y="909"/>
                  </a:lnTo>
                  <a:lnTo>
                    <a:pt x="597" y="914"/>
                  </a:lnTo>
                  <a:lnTo>
                    <a:pt x="596" y="914"/>
                  </a:lnTo>
                  <a:lnTo>
                    <a:pt x="582" y="915"/>
                  </a:lnTo>
                  <a:lnTo>
                    <a:pt x="579" y="917"/>
                  </a:lnTo>
                  <a:lnTo>
                    <a:pt x="576" y="917"/>
                  </a:lnTo>
                  <a:lnTo>
                    <a:pt x="571" y="921"/>
                  </a:lnTo>
                  <a:lnTo>
                    <a:pt x="567" y="923"/>
                  </a:lnTo>
                  <a:lnTo>
                    <a:pt x="564" y="924"/>
                  </a:lnTo>
                  <a:lnTo>
                    <a:pt x="558" y="917"/>
                  </a:lnTo>
                  <a:lnTo>
                    <a:pt x="556" y="918"/>
                  </a:lnTo>
                  <a:lnTo>
                    <a:pt x="552" y="933"/>
                  </a:lnTo>
                  <a:lnTo>
                    <a:pt x="546" y="935"/>
                  </a:lnTo>
                  <a:lnTo>
                    <a:pt x="543" y="933"/>
                  </a:lnTo>
                  <a:lnTo>
                    <a:pt x="538" y="930"/>
                  </a:lnTo>
                  <a:lnTo>
                    <a:pt x="534" y="923"/>
                  </a:lnTo>
                  <a:lnTo>
                    <a:pt x="530" y="916"/>
                  </a:lnTo>
                  <a:lnTo>
                    <a:pt x="526" y="913"/>
                  </a:lnTo>
                  <a:lnTo>
                    <a:pt x="525" y="913"/>
                  </a:lnTo>
                  <a:lnTo>
                    <a:pt x="525" y="916"/>
                  </a:lnTo>
                  <a:lnTo>
                    <a:pt x="529" y="933"/>
                  </a:lnTo>
                  <a:lnTo>
                    <a:pt x="528" y="936"/>
                  </a:lnTo>
                  <a:lnTo>
                    <a:pt x="526" y="937"/>
                  </a:lnTo>
                  <a:lnTo>
                    <a:pt x="522" y="941"/>
                  </a:lnTo>
                  <a:lnTo>
                    <a:pt x="517" y="945"/>
                  </a:lnTo>
                  <a:lnTo>
                    <a:pt x="514" y="950"/>
                  </a:lnTo>
                  <a:lnTo>
                    <a:pt x="508" y="964"/>
                  </a:lnTo>
                  <a:lnTo>
                    <a:pt x="504" y="974"/>
                  </a:lnTo>
                  <a:lnTo>
                    <a:pt x="498" y="987"/>
                  </a:lnTo>
                  <a:lnTo>
                    <a:pt x="493" y="990"/>
                  </a:lnTo>
                  <a:lnTo>
                    <a:pt x="487" y="992"/>
                  </a:lnTo>
                  <a:lnTo>
                    <a:pt x="481" y="988"/>
                  </a:lnTo>
                  <a:lnTo>
                    <a:pt x="480" y="996"/>
                  </a:lnTo>
                  <a:lnTo>
                    <a:pt x="478" y="1004"/>
                  </a:lnTo>
                  <a:lnTo>
                    <a:pt x="473" y="1008"/>
                  </a:lnTo>
                  <a:lnTo>
                    <a:pt x="467" y="1007"/>
                  </a:lnTo>
                  <a:lnTo>
                    <a:pt x="464" y="1007"/>
                  </a:lnTo>
                  <a:lnTo>
                    <a:pt x="457" y="1014"/>
                  </a:lnTo>
                  <a:lnTo>
                    <a:pt x="462" y="989"/>
                  </a:lnTo>
                  <a:lnTo>
                    <a:pt x="462" y="989"/>
                  </a:lnTo>
                  <a:lnTo>
                    <a:pt x="457" y="989"/>
                  </a:lnTo>
                  <a:lnTo>
                    <a:pt x="451" y="986"/>
                  </a:lnTo>
                  <a:lnTo>
                    <a:pt x="452" y="992"/>
                  </a:lnTo>
                  <a:lnTo>
                    <a:pt x="452" y="999"/>
                  </a:lnTo>
                  <a:lnTo>
                    <a:pt x="450" y="1005"/>
                  </a:lnTo>
                  <a:lnTo>
                    <a:pt x="445" y="1010"/>
                  </a:lnTo>
                  <a:lnTo>
                    <a:pt x="438" y="1013"/>
                  </a:lnTo>
                  <a:lnTo>
                    <a:pt x="433" y="1013"/>
                  </a:lnTo>
                  <a:lnTo>
                    <a:pt x="425" y="1014"/>
                  </a:lnTo>
                  <a:lnTo>
                    <a:pt x="428" y="1020"/>
                  </a:lnTo>
                  <a:lnTo>
                    <a:pt x="429" y="1025"/>
                  </a:lnTo>
                  <a:lnTo>
                    <a:pt x="429" y="1031"/>
                  </a:lnTo>
                  <a:lnTo>
                    <a:pt x="426" y="1032"/>
                  </a:lnTo>
                  <a:lnTo>
                    <a:pt x="425" y="1031"/>
                  </a:lnTo>
                  <a:lnTo>
                    <a:pt x="422" y="1032"/>
                  </a:lnTo>
                  <a:lnTo>
                    <a:pt x="411" y="1029"/>
                  </a:lnTo>
                  <a:lnTo>
                    <a:pt x="414" y="1034"/>
                  </a:lnTo>
                  <a:lnTo>
                    <a:pt x="419" y="1040"/>
                  </a:lnTo>
                  <a:lnTo>
                    <a:pt x="420" y="1045"/>
                  </a:lnTo>
                  <a:lnTo>
                    <a:pt x="420" y="1048"/>
                  </a:lnTo>
                  <a:lnTo>
                    <a:pt x="419" y="1050"/>
                  </a:lnTo>
                  <a:lnTo>
                    <a:pt x="412" y="1051"/>
                  </a:lnTo>
                  <a:lnTo>
                    <a:pt x="406" y="1053"/>
                  </a:lnTo>
                  <a:lnTo>
                    <a:pt x="411" y="1058"/>
                  </a:lnTo>
                  <a:lnTo>
                    <a:pt x="414" y="1060"/>
                  </a:lnTo>
                  <a:lnTo>
                    <a:pt x="416" y="1063"/>
                  </a:lnTo>
                  <a:lnTo>
                    <a:pt x="419" y="1067"/>
                  </a:lnTo>
                  <a:lnTo>
                    <a:pt x="415" y="1074"/>
                  </a:lnTo>
                  <a:lnTo>
                    <a:pt x="414" y="1075"/>
                  </a:lnTo>
                  <a:lnTo>
                    <a:pt x="410" y="1074"/>
                  </a:lnTo>
                  <a:lnTo>
                    <a:pt x="407" y="1075"/>
                  </a:lnTo>
                  <a:lnTo>
                    <a:pt x="409" y="1081"/>
                  </a:lnTo>
                  <a:lnTo>
                    <a:pt x="409" y="1083"/>
                  </a:lnTo>
                  <a:lnTo>
                    <a:pt x="407" y="1089"/>
                  </a:lnTo>
                  <a:lnTo>
                    <a:pt x="404" y="1088"/>
                  </a:lnTo>
                  <a:lnTo>
                    <a:pt x="400" y="1087"/>
                  </a:lnTo>
                  <a:lnTo>
                    <a:pt x="400" y="1089"/>
                  </a:lnTo>
                  <a:lnTo>
                    <a:pt x="402" y="1095"/>
                  </a:lnTo>
                  <a:lnTo>
                    <a:pt x="401" y="1099"/>
                  </a:lnTo>
                  <a:lnTo>
                    <a:pt x="399" y="1099"/>
                  </a:lnTo>
                  <a:lnTo>
                    <a:pt x="396" y="1098"/>
                  </a:lnTo>
                  <a:lnTo>
                    <a:pt x="395" y="1098"/>
                  </a:lnTo>
                  <a:lnTo>
                    <a:pt x="389" y="1099"/>
                  </a:lnTo>
                  <a:lnTo>
                    <a:pt x="383" y="1100"/>
                  </a:lnTo>
                  <a:lnTo>
                    <a:pt x="387" y="1106"/>
                  </a:lnTo>
                  <a:lnTo>
                    <a:pt x="393" y="1110"/>
                  </a:lnTo>
                  <a:lnTo>
                    <a:pt x="396" y="1113"/>
                  </a:lnTo>
                  <a:lnTo>
                    <a:pt x="395" y="1126"/>
                  </a:lnTo>
                  <a:lnTo>
                    <a:pt x="393" y="1138"/>
                  </a:lnTo>
                  <a:lnTo>
                    <a:pt x="390" y="1139"/>
                  </a:lnTo>
                  <a:lnTo>
                    <a:pt x="386" y="1138"/>
                  </a:lnTo>
                  <a:lnTo>
                    <a:pt x="389" y="1145"/>
                  </a:lnTo>
                  <a:lnTo>
                    <a:pt x="388" y="1151"/>
                  </a:lnTo>
                  <a:lnTo>
                    <a:pt x="389" y="1154"/>
                  </a:lnTo>
                  <a:lnTo>
                    <a:pt x="389" y="1158"/>
                  </a:lnTo>
                  <a:lnTo>
                    <a:pt x="387" y="1159"/>
                  </a:lnTo>
                  <a:lnTo>
                    <a:pt x="384" y="1159"/>
                  </a:lnTo>
                  <a:lnTo>
                    <a:pt x="380" y="1160"/>
                  </a:lnTo>
                  <a:lnTo>
                    <a:pt x="384" y="1164"/>
                  </a:lnTo>
                  <a:lnTo>
                    <a:pt x="386" y="1172"/>
                  </a:lnTo>
                  <a:lnTo>
                    <a:pt x="386" y="1177"/>
                  </a:lnTo>
                  <a:lnTo>
                    <a:pt x="384" y="1177"/>
                  </a:lnTo>
                  <a:lnTo>
                    <a:pt x="378" y="1174"/>
                  </a:lnTo>
                  <a:lnTo>
                    <a:pt x="372" y="1168"/>
                  </a:lnTo>
                  <a:lnTo>
                    <a:pt x="369" y="1172"/>
                  </a:lnTo>
                  <a:lnTo>
                    <a:pt x="367" y="1179"/>
                  </a:lnTo>
                  <a:lnTo>
                    <a:pt x="363" y="1172"/>
                  </a:lnTo>
                  <a:lnTo>
                    <a:pt x="364" y="1165"/>
                  </a:lnTo>
                  <a:lnTo>
                    <a:pt x="362" y="1163"/>
                  </a:lnTo>
                  <a:lnTo>
                    <a:pt x="355" y="1160"/>
                  </a:lnTo>
                  <a:lnTo>
                    <a:pt x="352" y="1157"/>
                  </a:lnTo>
                  <a:lnTo>
                    <a:pt x="352" y="1154"/>
                  </a:lnTo>
                  <a:lnTo>
                    <a:pt x="353" y="1151"/>
                  </a:lnTo>
                  <a:lnTo>
                    <a:pt x="354" y="1149"/>
                  </a:lnTo>
                  <a:lnTo>
                    <a:pt x="352" y="1145"/>
                  </a:lnTo>
                  <a:lnTo>
                    <a:pt x="350" y="1143"/>
                  </a:lnTo>
                  <a:lnTo>
                    <a:pt x="346" y="1148"/>
                  </a:lnTo>
                  <a:lnTo>
                    <a:pt x="344" y="1148"/>
                  </a:lnTo>
                  <a:lnTo>
                    <a:pt x="342" y="1149"/>
                  </a:lnTo>
                  <a:lnTo>
                    <a:pt x="340" y="1149"/>
                  </a:lnTo>
                  <a:lnTo>
                    <a:pt x="334" y="1150"/>
                  </a:lnTo>
                  <a:lnTo>
                    <a:pt x="332" y="1150"/>
                  </a:lnTo>
                  <a:lnTo>
                    <a:pt x="328" y="1154"/>
                  </a:lnTo>
                  <a:lnTo>
                    <a:pt x="326" y="1157"/>
                  </a:lnTo>
                  <a:lnTo>
                    <a:pt x="323" y="1152"/>
                  </a:lnTo>
                  <a:lnTo>
                    <a:pt x="322" y="1148"/>
                  </a:lnTo>
                  <a:lnTo>
                    <a:pt x="321" y="1145"/>
                  </a:lnTo>
                  <a:lnTo>
                    <a:pt x="318" y="1142"/>
                  </a:lnTo>
                  <a:lnTo>
                    <a:pt x="313" y="1139"/>
                  </a:lnTo>
                  <a:lnTo>
                    <a:pt x="309" y="1134"/>
                  </a:lnTo>
                  <a:lnTo>
                    <a:pt x="306" y="1125"/>
                  </a:lnTo>
                  <a:lnTo>
                    <a:pt x="306" y="1116"/>
                  </a:lnTo>
                  <a:lnTo>
                    <a:pt x="305" y="1114"/>
                  </a:lnTo>
                  <a:lnTo>
                    <a:pt x="302" y="1113"/>
                  </a:lnTo>
                  <a:lnTo>
                    <a:pt x="300" y="1113"/>
                  </a:lnTo>
                  <a:lnTo>
                    <a:pt x="294" y="1110"/>
                  </a:lnTo>
                  <a:lnTo>
                    <a:pt x="293" y="1109"/>
                  </a:lnTo>
                  <a:lnTo>
                    <a:pt x="293" y="1106"/>
                  </a:lnTo>
                  <a:lnTo>
                    <a:pt x="293" y="1100"/>
                  </a:lnTo>
                  <a:lnTo>
                    <a:pt x="296" y="1095"/>
                  </a:lnTo>
                  <a:lnTo>
                    <a:pt x="296" y="1091"/>
                  </a:lnTo>
                  <a:lnTo>
                    <a:pt x="295" y="1091"/>
                  </a:lnTo>
                  <a:lnTo>
                    <a:pt x="292" y="1090"/>
                  </a:lnTo>
                  <a:lnTo>
                    <a:pt x="288" y="1089"/>
                  </a:lnTo>
                  <a:lnTo>
                    <a:pt x="287" y="1086"/>
                  </a:lnTo>
                  <a:lnTo>
                    <a:pt x="287" y="1078"/>
                  </a:lnTo>
                  <a:lnTo>
                    <a:pt x="284" y="1076"/>
                  </a:lnTo>
                  <a:lnTo>
                    <a:pt x="280" y="1077"/>
                  </a:lnTo>
                  <a:lnTo>
                    <a:pt x="277" y="1069"/>
                  </a:lnTo>
                  <a:lnTo>
                    <a:pt x="277" y="1067"/>
                  </a:lnTo>
                  <a:lnTo>
                    <a:pt x="278" y="1063"/>
                  </a:lnTo>
                  <a:lnTo>
                    <a:pt x="282" y="1058"/>
                  </a:lnTo>
                  <a:lnTo>
                    <a:pt x="289" y="1054"/>
                  </a:lnTo>
                  <a:lnTo>
                    <a:pt x="291" y="1050"/>
                  </a:lnTo>
                  <a:lnTo>
                    <a:pt x="294" y="1048"/>
                  </a:lnTo>
                  <a:lnTo>
                    <a:pt x="294" y="1043"/>
                  </a:lnTo>
                  <a:lnTo>
                    <a:pt x="293" y="1038"/>
                  </a:lnTo>
                  <a:lnTo>
                    <a:pt x="290" y="1040"/>
                  </a:lnTo>
                  <a:lnTo>
                    <a:pt x="284" y="1041"/>
                  </a:lnTo>
                  <a:lnTo>
                    <a:pt x="282" y="1043"/>
                  </a:lnTo>
                  <a:lnTo>
                    <a:pt x="278" y="1048"/>
                  </a:lnTo>
                  <a:lnTo>
                    <a:pt x="275" y="1050"/>
                  </a:lnTo>
                  <a:lnTo>
                    <a:pt x="271" y="1054"/>
                  </a:lnTo>
                  <a:lnTo>
                    <a:pt x="269" y="1050"/>
                  </a:lnTo>
                  <a:lnTo>
                    <a:pt x="269" y="1041"/>
                  </a:lnTo>
                  <a:lnTo>
                    <a:pt x="269" y="1030"/>
                  </a:lnTo>
                  <a:lnTo>
                    <a:pt x="267" y="1024"/>
                  </a:lnTo>
                  <a:lnTo>
                    <a:pt x="267" y="1019"/>
                  </a:lnTo>
                  <a:lnTo>
                    <a:pt x="266" y="1014"/>
                  </a:lnTo>
                  <a:lnTo>
                    <a:pt x="263" y="1016"/>
                  </a:lnTo>
                  <a:lnTo>
                    <a:pt x="261" y="1015"/>
                  </a:lnTo>
                  <a:lnTo>
                    <a:pt x="257" y="1010"/>
                  </a:lnTo>
                  <a:lnTo>
                    <a:pt x="254" y="1003"/>
                  </a:lnTo>
                  <a:lnTo>
                    <a:pt x="254" y="998"/>
                  </a:lnTo>
                  <a:lnTo>
                    <a:pt x="259" y="990"/>
                  </a:lnTo>
                  <a:lnTo>
                    <a:pt x="260" y="990"/>
                  </a:lnTo>
                  <a:lnTo>
                    <a:pt x="257" y="987"/>
                  </a:lnTo>
                  <a:lnTo>
                    <a:pt x="251" y="989"/>
                  </a:lnTo>
                  <a:lnTo>
                    <a:pt x="250" y="984"/>
                  </a:lnTo>
                  <a:lnTo>
                    <a:pt x="252" y="982"/>
                  </a:lnTo>
                  <a:lnTo>
                    <a:pt x="257" y="981"/>
                  </a:lnTo>
                  <a:lnTo>
                    <a:pt x="260" y="981"/>
                  </a:lnTo>
                  <a:lnTo>
                    <a:pt x="263" y="979"/>
                  </a:lnTo>
                  <a:lnTo>
                    <a:pt x="264" y="969"/>
                  </a:lnTo>
                  <a:lnTo>
                    <a:pt x="257" y="969"/>
                  </a:lnTo>
                  <a:lnTo>
                    <a:pt x="254" y="969"/>
                  </a:lnTo>
                  <a:lnTo>
                    <a:pt x="252" y="969"/>
                  </a:lnTo>
                  <a:lnTo>
                    <a:pt x="250" y="966"/>
                  </a:lnTo>
                  <a:lnTo>
                    <a:pt x="249" y="963"/>
                  </a:lnTo>
                  <a:lnTo>
                    <a:pt x="251" y="959"/>
                  </a:lnTo>
                  <a:lnTo>
                    <a:pt x="252" y="959"/>
                  </a:lnTo>
                  <a:lnTo>
                    <a:pt x="253" y="957"/>
                  </a:lnTo>
                  <a:lnTo>
                    <a:pt x="255" y="956"/>
                  </a:lnTo>
                  <a:lnTo>
                    <a:pt x="254" y="953"/>
                  </a:lnTo>
                  <a:lnTo>
                    <a:pt x="250" y="954"/>
                  </a:lnTo>
                  <a:lnTo>
                    <a:pt x="249" y="950"/>
                  </a:lnTo>
                  <a:lnTo>
                    <a:pt x="249" y="947"/>
                  </a:lnTo>
                  <a:lnTo>
                    <a:pt x="250" y="945"/>
                  </a:lnTo>
                  <a:lnTo>
                    <a:pt x="251" y="945"/>
                  </a:lnTo>
                  <a:lnTo>
                    <a:pt x="253" y="944"/>
                  </a:lnTo>
                  <a:lnTo>
                    <a:pt x="258" y="940"/>
                  </a:lnTo>
                  <a:lnTo>
                    <a:pt x="265" y="941"/>
                  </a:lnTo>
                  <a:lnTo>
                    <a:pt x="270" y="944"/>
                  </a:lnTo>
                  <a:lnTo>
                    <a:pt x="275" y="944"/>
                  </a:lnTo>
                  <a:lnTo>
                    <a:pt x="277" y="946"/>
                  </a:lnTo>
                  <a:lnTo>
                    <a:pt x="282" y="948"/>
                  </a:lnTo>
                  <a:lnTo>
                    <a:pt x="288" y="950"/>
                  </a:lnTo>
                  <a:lnTo>
                    <a:pt x="288" y="944"/>
                  </a:lnTo>
                  <a:lnTo>
                    <a:pt x="290" y="936"/>
                  </a:lnTo>
                  <a:lnTo>
                    <a:pt x="288" y="933"/>
                  </a:lnTo>
                  <a:lnTo>
                    <a:pt x="282" y="929"/>
                  </a:lnTo>
                  <a:lnTo>
                    <a:pt x="274" y="924"/>
                  </a:lnTo>
                  <a:lnTo>
                    <a:pt x="269" y="921"/>
                  </a:lnTo>
                  <a:lnTo>
                    <a:pt x="260" y="916"/>
                  </a:lnTo>
                  <a:lnTo>
                    <a:pt x="257" y="914"/>
                  </a:lnTo>
                  <a:lnTo>
                    <a:pt x="259" y="909"/>
                  </a:lnTo>
                  <a:lnTo>
                    <a:pt x="264" y="909"/>
                  </a:lnTo>
                  <a:lnTo>
                    <a:pt x="273" y="914"/>
                  </a:lnTo>
                  <a:lnTo>
                    <a:pt x="279" y="915"/>
                  </a:lnTo>
                  <a:lnTo>
                    <a:pt x="281" y="914"/>
                  </a:lnTo>
                  <a:lnTo>
                    <a:pt x="282" y="913"/>
                  </a:lnTo>
                  <a:lnTo>
                    <a:pt x="282" y="903"/>
                  </a:lnTo>
                  <a:lnTo>
                    <a:pt x="283" y="899"/>
                  </a:lnTo>
                  <a:lnTo>
                    <a:pt x="287" y="898"/>
                  </a:lnTo>
                  <a:lnTo>
                    <a:pt x="290" y="900"/>
                  </a:lnTo>
                  <a:lnTo>
                    <a:pt x="291" y="898"/>
                  </a:lnTo>
                  <a:lnTo>
                    <a:pt x="291" y="892"/>
                  </a:lnTo>
                  <a:lnTo>
                    <a:pt x="290" y="889"/>
                  </a:lnTo>
                  <a:lnTo>
                    <a:pt x="284" y="884"/>
                  </a:lnTo>
                  <a:lnTo>
                    <a:pt x="285" y="877"/>
                  </a:lnTo>
                  <a:lnTo>
                    <a:pt x="288" y="869"/>
                  </a:lnTo>
                  <a:lnTo>
                    <a:pt x="287" y="864"/>
                  </a:lnTo>
                  <a:lnTo>
                    <a:pt x="280" y="861"/>
                  </a:lnTo>
                  <a:lnTo>
                    <a:pt x="273" y="861"/>
                  </a:lnTo>
                  <a:lnTo>
                    <a:pt x="266" y="857"/>
                  </a:lnTo>
                  <a:lnTo>
                    <a:pt x="257" y="848"/>
                  </a:lnTo>
                  <a:lnTo>
                    <a:pt x="252" y="846"/>
                  </a:lnTo>
                  <a:lnTo>
                    <a:pt x="246" y="845"/>
                  </a:lnTo>
                  <a:lnTo>
                    <a:pt x="242" y="839"/>
                  </a:lnTo>
                  <a:lnTo>
                    <a:pt x="237" y="831"/>
                  </a:lnTo>
                  <a:lnTo>
                    <a:pt x="238" y="830"/>
                  </a:lnTo>
                  <a:lnTo>
                    <a:pt x="240" y="827"/>
                  </a:lnTo>
                  <a:lnTo>
                    <a:pt x="244" y="827"/>
                  </a:lnTo>
                  <a:lnTo>
                    <a:pt x="247" y="827"/>
                  </a:lnTo>
                  <a:lnTo>
                    <a:pt x="260" y="833"/>
                  </a:lnTo>
                  <a:lnTo>
                    <a:pt x="264" y="833"/>
                  </a:lnTo>
                  <a:lnTo>
                    <a:pt x="271" y="839"/>
                  </a:lnTo>
                  <a:lnTo>
                    <a:pt x="279" y="846"/>
                  </a:lnTo>
                  <a:lnTo>
                    <a:pt x="284" y="849"/>
                  </a:lnTo>
                  <a:lnTo>
                    <a:pt x="284" y="844"/>
                  </a:lnTo>
                  <a:lnTo>
                    <a:pt x="282" y="837"/>
                  </a:lnTo>
                  <a:lnTo>
                    <a:pt x="277" y="827"/>
                  </a:lnTo>
                  <a:lnTo>
                    <a:pt x="276" y="819"/>
                  </a:lnTo>
                  <a:lnTo>
                    <a:pt x="273" y="811"/>
                  </a:lnTo>
                  <a:lnTo>
                    <a:pt x="270" y="810"/>
                  </a:lnTo>
                  <a:lnTo>
                    <a:pt x="266" y="806"/>
                  </a:lnTo>
                  <a:lnTo>
                    <a:pt x="268" y="800"/>
                  </a:lnTo>
                  <a:lnTo>
                    <a:pt x="271" y="798"/>
                  </a:lnTo>
                  <a:lnTo>
                    <a:pt x="272" y="796"/>
                  </a:lnTo>
                  <a:lnTo>
                    <a:pt x="268" y="791"/>
                  </a:lnTo>
                  <a:lnTo>
                    <a:pt x="261" y="791"/>
                  </a:lnTo>
                  <a:lnTo>
                    <a:pt x="258" y="789"/>
                  </a:lnTo>
                  <a:lnTo>
                    <a:pt x="251" y="783"/>
                  </a:lnTo>
                  <a:lnTo>
                    <a:pt x="246" y="795"/>
                  </a:lnTo>
                  <a:lnTo>
                    <a:pt x="244" y="798"/>
                  </a:lnTo>
                  <a:lnTo>
                    <a:pt x="242" y="803"/>
                  </a:lnTo>
                  <a:lnTo>
                    <a:pt x="237" y="807"/>
                  </a:lnTo>
                  <a:lnTo>
                    <a:pt x="229" y="806"/>
                  </a:lnTo>
                  <a:lnTo>
                    <a:pt x="223" y="800"/>
                  </a:lnTo>
                  <a:lnTo>
                    <a:pt x="221" y="795"/>
                  </a:lnTo>
                  <a:lnTo>
                    <a:pt x="221" y="790"/>
                  </a:lnTo>
                  <a:lnTo>
                    <a:pt x="224" y="784"/>
                  </a:lnTo>
                  <a:lnTo>
                    <a:pt x="225" y="772"/>
                  </a:lnTo>
                  <a:lnTo>
                    <a:pt x="224" y="747"/>
                  </a:lnTo>
                  <a:lnTo>
                    <a:pt x="228" y="746"/>
                  </a:lnTo>
                  <a:lnTo>
                    <a:pt x="232" y="750"/>
                  </a:lnTo>
                  <a:lnTo>
                    <a:pt x="234" y="747"/>
                  </a:lnTo>
                  <a:lnTo>
                    <a:pt x="235" y="741"/>
                  </a:lnTo>
                  <a:lnTo>
                    <a:pt x="233" y="734"/>
                  </a:lnTo>
                  <a:lnTo>
                    <a:pt x="227" y="722"/>
                  </a:lnTo>
                  <a:lnTo>
                    <a:pt x="225" y="719"/>
                  </a:lnTo>
                  <a:lnTo>
                    <a:pt x="219" y="703"/>
                  </a:lnTo>
                  <a:lnTo>
                    <a:pt x="214" y="683"/>
                  </a:lnTo>
                  <a:lnTo>
                    <a:pt x="207" y="655"/>
                  </a:lnTo>
                  <a:lnTo>
                    <a:pt x="204" y="644"/>
                  </a:lnTo>
                  <a:lnTo>
                    <a:pt x="193" y="636"/>
                  </a:lnTo>
                  <a:lnTo>
                    <a:pt x="189" y="630"/>
                  </a:lnTo>
                  <a:lnTo>
                    <a:pt x="187" y="625"/>
                  </a:lnTo>
                  <a:lnTo>
                    <a:pt x="187" y="609"/>
                  </a:lnTo>
                  <a:lnTo>
                    <a:pt x="182" y="599"/>
                  </a:lnTo>
                  <a:lnTo>
                    <a:pt x="176" y="596"/>
                  </a:lnTo>
                  <a:lnTo>
                    <a:pt x="167" y="592"/>
                  </a:lnTo>
                  <a:lnTo>
                    <a:pt x="155" y="582"/>
                  </a:lnTo>
                  <a:lnTo>
                    <a:pt x="144" y="574"/>
                  </a:lnTo>
                  <a:lnTo>
                    <a:pt x="132" y="569"/>
                  </a:lnTo>
                  <a:lnTo>
                    <a:pt x="126" y="568"/>
                  </a:lnTo>
                  <a:lnTo>
                    <a:pt x="116" y="567"/>
                  </a:lnTo>
                  <a:lnTo>
                    <a:pt x="111" y="572"/>
                  </a:lnTo>
                  <a:lnTo>
                    <a:pt x="105" y="574"/>
                  </a:lnTo>
                  <a:lnTo>
                    <a:pt x="101" y="579"/>
                  </a:lnTo>
                  <a:lnTo>
                    <a:pt x="92" y="582"/>
                  </a:lnTo>
                  <a:lnTo>
                    <a:pt x="85" y="578"/>
                  </a:lnTo>
                  <a:lnTo>
                    <a:pt x="77" y="571"/>
                  </a:lnTo>
                  <a:lnTo>
                    <a:pt x="78" y="590"/>
                  </a:lnTo>
                  <a:lnTo>
                    <a:pt x="78" y="592"/>
                  </a:lnTo>
                  <a:lnTo>
                    <a:pt x="72" y="591"/>
                  </a:lnTo>
                  <a:lnTo>
                    <a:pt x="64" y="587"/>
                  </a:lnTo>
                  <a:lnTo>
                    <a:pt x="46" y="572"/>
                  </a:lnTo>
                  <a:lnTo>
                    <a:pt x="55" y="558"/>
                  </a:lnTo>
                  <a:lnTo>
                    <a:pt x="57" y="555"/>
                  </a:lnTo>
                  <a:lnTo>
                    <a:pt x="57" y="549"/>
                  </a:lnTo>
                  <a:lnTo>
                    <a:pt x="54" y="545"/>
                  </a:lnTo>
                  <a:lnTo>
                    <a:pt x="48" y="544"/>
                  </a:lnTo>
                  <a:lnTo>
                    <a:pt x="35" y="544"/>
                  </a:lnTo>
                  <a:lnTo>
                    <a:pt x="30" y="542"/>
                  </a:lnTo>
                  <a:lnTo>
                    <a:pt x="27" y="542"/>
                  </a:lnTo>
                  <a:lnTo>
                    <a:pt x="20" y="530"/>
                  </a:lnTo>
                  <a:lnTo>
                    <a:pt x="14" y="525"/>
                  </a:lnTo>
                  <a:lnTo>
                    <a:pt x="18" y="516"/>
                  </a:lnTo>
                  <a:lnTo>
                    <a:pt x="25" y="515"/>
                  </a:lnTo>
                  <a:lnTo>
                    <a:pt x="43" y="519"/>
                  </a:lnTo>
                  <a:lnTo>
                    <a:pt x="55" y="520"/>
                  </a:lnTo>
                  <a:lnTo>
                    <a:pt x="63" y="521"/>
                  </a:lnTo>
                  <a:lnTo>
                    <a:pt x="75" y="516"/>
                  </a:lnTo>
                  <a:lnTo>
                    <a:pt x="81" y="511"/>
                  </a:lnTo>
                  <a:lnTo>
                    <a:pt x="83" y="508"/>
                  </a:lnTo>
                  <a:lnTo>
                    <a:pt x="83" y="499"/>
                  </a:lnTo>
                  <a:lnTo>
                    <a:pt x="80" y="491"/>
                  </a:lnTo>
                  <a:lnTo>
                    <a:pt x="75" y="485"/>
                  </a:lnTo>
                  <a:lnTo>
                    <a:pt x="68" y="489"/>
                  </a:lnTo>
                  <a:lnTo>
                    <a:pt x="61" y="497"/>
                  </a:lnTo>
                  <a:lnTo>
                    <a:pt x="54" y="497"/>
                  </a:lnTo>
                  <a:lnTo>
                    <a:pt x="47" y="494"/>
                  </a:lnTo>
                  <a:lnTo>
                    <a:pt x="42" y="496"/>
                  </a:lnTo>
                  <a:lnTo>
                    <a:pt x="37" y="499"/>
                  </a:lnTo>
                  <a:lnTo>
                    <a:pt x="33" y="497"/>
                  </a:lnTo>
                  <a:lnTo>
                    <a:pt x="28" y="492"/>
                  </a:lnTo>
                  <a:lnTo>
                    <a:pt x="24" y="482"/>
                  </a:lnTo>
                  <a:lnTo>
                    <a:pt x="20" y="477"/>
                  </a:lnTo>
                  <a:lnTo>
                    <a:pt x="16" y="475"/>
                  </a:lnTo>
                  <a:lnTo>
                    <a:pt x="11" y="477"/>
                  </a:lnTo>
                  <a:lnTo>
                    <a:pt x="9" y="474"/>
                  </a:lnTo>
                  <a:lnTo>
                    <a:pt x="0" y="461"/>
                  </a:lnTo>
                  <a:lnTo>
                    <a:pt x="0" y="451"/>
                  </a:lnTo>
                  <a:lnTo>
                    <a:pt x="2" y="437"/>
                  </a:lnTo>
                  <a:lnTo>
                    <a:pt x="7" y="434"/>
                  </a:lnTo>
                  <a:lnTo>
                    <a:pt x="14" y="431"/>
                  </a:lnTo>
                  <a:lnTo>
                    <a:pt x="23" y="427"/>
                  </a:lnTo>
                  <a:lnTo>
                    <a:pt x="35" y="422"/>
                  </a:lnTo>
                  <a:lnTo>
                    <a:pt x="43" y="419"/>
                  </a:lnTo>
                  <a:lnTo>
                    <a:pt x="48" y="407"/>
                  </a:lnTo>
                  <a:lnTo>
                    <a:pt x="55" y="399"/>
                  </a:lnTo>
                  <a:lnTo>
                    <a:pt x="60" y="397"/>
                  </a:lnTo>
                  <a:lnTo>
                    <a:pt x="74" y="397"/>
                  </a:lnTo>
                  <a:lnTo>
                    <a:pt x="81" y="393"/>
                  </a:lnTo>
                  <a:lnTo>
                    <a:pt x="92" y="395"/>
                  </a:lnTo>
                  <a:lnTo>
                    <a:pt x="95" y="390"/>
                  </a:lnTo>
                  <a:lnTo>
                    <a:pt x="96" y="384"/>
                  </a:lnTo>
                  <a:lnTo>
                    <a:pt x="100" y="379"/>
                  </a:lnTo>
                  <a:lnTo>
                    <a:pt x="101" y="357"/>
                  </a:lnTo>
                  <a:lnTo>
                    <a:pt x="103" y="341"/>
                  </a:lnTo>
                  <a:lnTo>
                    <a:pt x="104" y="338"/>
                  </a:lnTo>
                  <a:lnTo>
                    <a:pt x="98" y="330"/>
                  </a:lnTo>
                  <a:lnTo>
                    <a:pt x="87" y="329"/>
                  </a:lnTo>
                  <a:lnTo>
                    <a:pt x="80" y="335"/>
                  </a:lnTo>
                  <a:lnTo>
                    <a:pt x="74" y="331"/>
                  </a:lnTo>
                  <a:lnTo>
                    <a:pt x="67" y="318"/>
                  </a:lnTo>
                  <a:lnTo>
                    <a:pt x="71" y="290"/>
                  </a:lnTo>
                  <a:lnTo>
                    <a:pt x="79" y="278"/>
                  </a:lnTo>
                  <a:lnTo>
                    <a:pt x="95" y="265"/>
                  </a:lnTo>
                  <a:lnTo>
                    <a:pt x="104" y="257"/>
                  </a:lnTo>
                  <a:lnTo>
                    <a:pt x="115" y="247"/>
                  </a:lnTo>
                  <a:lnTo>
                    <a:pt x="128" y="241"/>
                  </a:lnTo>
                  <a:lnTo>
                    <a:pt x="134" y="244"/>
                  </a:lnTo>
                  <a:lnTo>
                    <a:pt x="141" y="242"/>
                  </a:lnTo>
                  <a:lnTo>
                    <a:pt x="149" y="239"/>
                  </a:lnTo>
                  <a:lnTo>
                    <a:pt x="151" y="232"/>
                  </a:lnTo>
                  <a:lnTo>
                    <a:pt x="152" y="223"/>
                  </a:lnTo>
                  <a:lnTo>
                    <a:pt x="149" y="193"/>
                  </a:lnTo>
                  <a:lnTo>
                    <a:pt x="149" y="185"/>
                  </a:lnTo>
                  <a:lnTo>
                    <a:pt x="152" y="179"/>
                  </a:lnTo>
                  <a:lnTo>
                    <a:pt x="163" y="177"/>
                  </a:lnTo>
                  <a:lnTo>
                    <a:pt x="172" y="185"/>
                  </a:lnTo>
                  <a:lnTo>
                    <a:pt x="185" y="202"/>
                  </a:lnTo>
                  <a:lnTo>
                    <a:pt x="192" y="211"/>
                  </a:lnTo>
                  <a:lnTo>
                    <a:pt x="197" y="218"/>
                  </a:lnTo>
                  <a:lnTo>
                    <a:pt x="202" y="207"/>
                  </a:lnTo>
                  <a:lnTo>
                    <a:pt x="192" y="186"/>
                  </a:lnTo>
                  <a:lnTo>
                    <a:pt x="188" y="164"/>
                  </a:lnTo>
                  <a:lnTo>
                    <a:pt x="189" y="162"/>
                  </a:lnTo>
                  <a:lnTo>
                    <a:pt x="202" y="157"/>
                  </a:lnTo>
                  <a:lnTo>
                    <a:pt x="209" y="152"/>
                  </a:lnTo>
                  <a:lnTo>
                    <a:pt x="220" y="143"/>
                  </a:lnTo>
                  <a:lnTo>
                    <a:pt x="235" y="134"/>
                  </a:lnTo>
                  <a:lnTo>
                    <a:pt x="239" y="137"/>
                  </a:lnTo>
                  <a:lnTo>
                    <a:pt x="245" y="142"/>
                  </a:lnTo>
                  <a:lnTo>
                    <a:pt x="247" y="215"/>
                  </a:lnTo>
                  <a:lnTo>
                    <a:pt x="252" y="208"/>
                  </a:lnTo>
                  <a:lnTo>
                    <a:pt x="255" y="195"/>
                  </a:lnTo>
                  <a:lnTo>
                    <a:pt x="258" y="153"/>
                  </a:lnTo>
                  <a:lnTo>
                    <a:pt x="264" y="154"/>
                  </a:lnTo>
                  <a:lnTo>
                    <a:pt x="275" y="168"/>
                  </a:lnTo>
                  <a:lnTo>
                    <a:pt x="286" y="185"/>
                  </a:lnTo>
                  <a:lnTo>
                    <a:pt x="295" y="195"/>
                  </a:lnTo>
                  <a:lnTo>
                    <a:pt x="297" y="183"/>
                  </a:lnTo>
                  <a:lnTo>
                    <a:pt x="293" y="171"/>
                  </a:lnTo>
                  <a:lnTo>
                    <a:pt x="288" y="148"/>
                  </a:lnTo>
                  <a:lnTo>
                    <a:pt x="283" y="130"/>
                  </a:lnTo>
                  <a:lnTo>
                    <a:pt x="284" y="117"/>
                  </a:lnTo>
                  <a:lnTo>
                    <a:pt x="289" y="119"/>
                  </a:lnTo>
                  <a:lnTo>
                    <a:pt x="299" y="119"/>
                  </a:lnTo>
                  <a:lnTo>
                    <a:pt x="306" y="129"/>
                  </a:lnTo>
                  <a:lnTo>
                    <a:pt x="322" y="145"/>
                  </a:lnTo>
                  <a:lnTo>
                    <a:pt x="330" y="157"/>
                  </a:lnTo>
                  <a:lnTo>
                    <a:pt x="342" y="171"/>
                  </a:lnTo>
                  <a:lnTo>
                    <a:pt x="353" y="182"/>
                  </a:lnTo>
                  <a:lnTo>
                    <a:pt x="364" y="191"/>
                  </a:lnTo>
                  <a:lnTo>
                    <a:pt x="369" y="182"/>
                  </a:lnTo>
                  <a:lnTo>
                    <a:pt x="374" y="118"/>
                  </a:lnTo>
                  <a:lnTo>
                    <a:pt x="372" y="110"/>
                  </a:lnTo>
                  <a:lnTo>
                    <a:pt x="364" y="94"/>
                  </a:lnTo>
                  <a:lnTo>
                    <a:pt x="357" y="69"/>
                  </a:lnTo>
                  <a:lnTo>
                    <a:pt x="361" y="57"/>
                  </a:lnTo>
                  <a:lnTo>
                    <a:pt x="375" y="57"/>
                  </a:lnTo>
                  <a:lnTo>
                    <a:pt x="393" y="40"/>
                  </a:lnTo>
                  <a:lnTo>
                    <a:pt x="401" y="36"/>
                  </a:lnTo>
                  <a:lnTo>
                    <a:pt x="410" y="45"/>
                  </a:lnTo>
                  <a:lnTo>
                    <a:pt x="423" y="69"/>
                  </a:lnTo>
                  <a:lnTo>
                    <a:pt x="432" y="77"/>
                  </a:lnTo>
                  <a:lnTo>
                    <a:pt x="444" y="83"/>
                  </a:lnTo>
                  <a:lnTo>
                    <a:pt x="446" y="47"/>
                  </a:lnTo>
                  <a:lnTo>
                    <a:pt x="444" y="23"/>
                  </a:lnTo>
                  <a:lnTo>
                    <a:pt x="459" y="12"/>
                  </a:lnTo>
                  <a:lnTo>
                    <a:pt x="471" y="8"/>
                  </a:lnTo>
                  <a:lnTo>
                    <a:pt x="486" y="13"/>
                  </a:lnTo>
                  <a:lnTo>
                    <a:pt x="498" y="21"/>
                  </a:lnTo>
                  <a:lnTo>
                    <a:pt x="509" y="11"/>
                  </a:lnTo>
                  <a:lnTo>
                    <a:pt x="523" y="0"/>
                  </a:lnTo>
                  <a:lnTo>
                    <a:pt x="535" y="0"/>
                  </a:lnTo>
                  <a:lnTo>
                    <a:pt x="546" y="12"/>
                  </a:lnTo>
                  <a:lnTo>
                    <a:pt x="557" y="9"/>
                  </a:lnTo>
                  <a:lnTo>
                    <a:pt x="564" y="13"/>
                  </a:lnTo>
                  <a:lnTo>
                    <a:pt x="568" y="18"/>
                  </a:lnTo>
                  <a:lnTo>
                    <a:pt x="571" y="13"/>
                  </a:lnTo>
                  <a:lnTo>
                    <a:pt x="583" y="20"/>
                  </a:lnTo>
                  <a:lnTo>
                    <a:pt x="593" y="23"/>
                  </a:lnTo>
                  <a:lnTo>
                    <a:pt x="603" y="27"/>
                  </a:lnTo>
                  <a:lnTo>
                    <a:pt x="617" y="65"/>
                  </a:lnTo>
                  <a:lnTo>
                    <a:pt x="625" y="77"/>
                  </a:lnTo>
                  <a:lnTo>
                    <a:pt x="633" y="73"/>
                  </a:lnTo>
                  <a:lnTo>
                    <a:pt x="639" y="81"/>
                  </a:lnTo>
                  <a:lnTo>
                    <a:pt x="655" y="92"/>
                  </a:lnTo>
                  <a:lnTo>
                    <a:pt x="657" y="111"/>
                  </a:lnTo>
                  <a:lnTo>
                    <a:pt x="656" y="117"/>
                  </a:lnTo>
                  <a:lnTo>
                    <a:pt x="653" y="125"/>
                  </a:lnTo>
                  <a:lnTo>
                    <a:pt x="643" y="132"/>
                  </a:lnTo>
                  <a:lnTo>
                    <a:pt x="629" y="137"/>
                  </a:lnTo>
                  <a:lnTo>
                    <a:pt x="623" y="143"/>
                  </a:lnTo>
                  <a:lnTo>
                    <a:pt x="615" y="144"/>
                  </a:lnTo>
                  <a:lnTo>
                    <a:pt x="606" y="142"/>
                  </a:lnTo>
                  <a:lnTo>
                    <a:pt x="590" y="139"/>
                  </a:lnTo>
                  <a:lnTo>
                    <a:pt x="577" y="136"/>
                  </a:lnTo>
                  <a:lnTo>
                    <a:pt x="569" y="143"/>
                  </a:lnTo>
                  <a:lnTo>
                    <a:pt x="559" y="144"/>
                  </a:lnTo>
                  <a:lnTo>
                    <a:pt x="548" y="146"/>
                  </a:lnTo>
                  <a:lnTo>
                    <a:pt x="541" y="147"/>
                  </a:lnTo>
                  <a:lnTo>
                    <a:pt x="532" y="154"/>
                  </a:lnTo>
                  <a:lnTo>
                    <a:pt x="530" y="159"/>
                  </a:lnTo>
                  <a:lnTo>
                    <a:pt x="522" y="168"/>
                  </a:lnTo>
                  <a:lnTo>
                    <a:pt x="520" y="188"/>
                  </a:lnTo>
                  <a:lnTo>
                    <a:pt x="524" y="198"/>
                  </a:lnTo>
                  <a:lnTo>
                    <a:pt x="539" y="186"/>
                  </a:lnTo>
                  <a:lnTo>
                    <a:pt x="547" y="183"/>
                  </a:lnTo>
                  <a:lnTo>
                    <a:pt x="570" y="185"/>
                  </a:lnTo>
                  <a:lnTo>
                    <a:pt x="584" y="180"/>
                  </a:lnTo>
                  <a:lnTo>
                    <a:pt x="597" y="180"/>
                  </a:lnTo>
                  <a:lnTo>
                    <a:pt x="603" y="179"/>
                  </a:lnTo>
                  <a:lnTo>
                    <a:pt x="608" y="182"/>
                  </a:lnTo>
                  <a:lnTo>
                    <a:pt x="619" y="199"/>
                  </a:lnTo>
                  <a:lnTo>
                    <a:pt x="623" y="203"/>
                  </a:lnTo>
                  <a:lnTo>
                    <a:pt x="629" y="195"/>
                  </a:lnTo>
                  <a:lnTo>
                    <a:pt x="639" y="187"/>
                  </a:lnTo>
                  <a:lnTo>
                    <a:pt x="648" y="175"/>
                  </a:lnTo>
                  <a:lnTo>
                    <a:pt x="660" y="169"/>
                  </a:lnTo>
                  <a:lnTo>
                    <a:pt x="663" y="188"/>
                  </a:lnTo>
                  <a:lnTo>
                    <a:pt x="660" y="208"/>
                  </a:lnTo>
                  <a:lnTo>
                    <a:pt x="646" y="233"/>
                  </a:lnTo>
                  <a:lnTo>
                    <a:pt x="640" y="246"/>
                  </a:lnTo>
                  <a:lnTo>
                    <a:pt x="633" y="273"/>
                  </a:lnTo>
                  <a:lnTo>
                    <a:pt x="633" y="285"/>
                  </a:lnTo>
                  <a:lnTo>
                    <a:pt x="635" y="290"/>
                  </a:lnTo>
                  <a:lnTo>
                    <a:pt x="640" y="287"/>
                  </a:lnTo>
                  <a:lnTo>
                    <a:pt x="643" y="285"/>
                  </a:lnTo>
                  <a:lnTo>
                    <a:pt x="653" y="265"/>
                  </a:lnTo>
                  <a:lnTo>
                    <a:pt x="663" y="245"/>
                  </a:lnTo>
                  <a:lnTo>
                    <a:pt x="671" y="230"/>
                  </a:lnTo>
                  <a:lnTo>
                    <a:pt x="681" y="218"/>
                  </a:lnTo>
                  <a:lnTo>
                    <a:pt x="686" y="209"/>
                  </a:lnTo>
                  <a:lnTo>
                    <a:pt x="695" y="203"/>
                  </a:lnTo>
                  <a:lnTo>
                    <a:pt x="705" y="207"/>
                  </a:lnTo>
                  <a:lnTo>
                    <a:pt x="713" y="210"/>
                  </a:lnTo>
                  <a:lnTo>
                    <a:pt x="722" y="198"/>
                  </a:lnTo>
                  <a:lnTo>
                    <a:pt x="726" y="185"/>
                  </a:lnTo>
                  <a:lnTo>
                    <a:pt x="733" y="175"/>
                  </a:lnTo>
                  <a:lnTo>
                    <a:pt x="745" y="174"/>
                  </a:lnTo>
                  <a:lnTo>
                    <a:pt x="755" y="179"/>
                  </a:lnTo>
                  <a:lnTo>
                    <a:pt x="762" y="181"/>
                  </a:lnTo>
                  <a:lnTo>
                    <a:pt x="769" y="186"/>
                  </a:lnTo>
                  <a:lnTo>
                    <a:pt x="775" y="196"/>
                  </a:lnTo>
                  <a:lnTo>
                    <a:pt x="782" y="200"/>
                  </a:lnTo>
                  <a:lnTo>
                    <a:pt x="784" y="210"/>
                  </a:lnTo>
                  <a:lnTo>
                    <a:pt x="783" y="221"/>
                  </a:lnTo>
                  <a:lnTo>
                    <a:pt x="771" y="231"/>
                  </a:lnTo>
                  <a:lnTo>
                    <a:pt x="762" y="237"/>
                  </a:lnTo>
                  <a:lnTo>
                    <a:pt x="755" y="255"/>
                  </a:lnTo>
                  <a:lnTo>
                    <a:pt x="752" y="266"/>
                  </a:lnTo>
                  <a:lnTo>
                    <a:pt x="742" y="279"/>
                  </a:lnTo>
                  <a:lnTo>
                    <a:pt x="733" y="299"/>
                  </a:lnTo>
                  <a:lnTo>
                    <a:pt x="727" y="302"/>
                  </a:lnTo>
                  <a:lnTo>
                    <a:pt x="721" y="301"/>
                  </a:lnTo>
                  <a:lnTo>
                    <a:pt x="712" y="302"/>
                  </a:lnTo>
                  <a:lnTo>
                    <a:pt x="699" y="301"/>
                  </a:lnTo>
                  <a:lnTo>
                    <a:pt x="690" y="308"/>
                  </a:lnTo>
                  <a:lnTo>
                    <a:pt x="686" y="315"/>
                  </a:lnTo>
                  <a:lnTo>
                    <a:pt x="683" y="334"/>
                  </a:lnTo>
                  <a:lnTo>
                    <a:pt x="684" y="345"/>
                  </a:lnTo>
                  <a:lnTo>
                    <a:pt x="695" y="335"/>
                  </a:lnTo>
                  <a:lnTo>
                    <a:pt x="705" y="333"/>
                  </a:lnTo>
                  <a:lnTo>
                    <a:pt x="716" y="336"/>
                  </a:lnTo>
                  <a:lnTo>
                    <a:pt x="716" y="350"/>
                  </a:lnTo>
                  <a:lnTo>
                    <a:pt x="711" y="358"/>
                  </a:lnTo>
                  <a:lnTo>
                    <a:pt x="697" y="362"/>
                  </a:lnTo>
                  <a:lnTo>
                    <a:pt x="695" y="367"/>
                  </a:lnTo>
                  <a:lnTo>
                    <a:pt x="693" y="373"/>
                  </a:lnTo>
                  <a:lnTo>
                    <a:pt x="692" y="392"/>
                  </a:lnTo>
                  <a:lnTo>
                    <a:pt x="690" y="414"/>
                  </a:lnTo>
                  <a:lnTo>
                    <a:pt x="686" y="419"/>
                  </a:lnTo>
                  <a:lnTo>
                    <a:pt x="680" y="417"/>
                  </a:lnTo>
                  <a:lnTo>
                    <a:pt x="675" y="418"/>
                  </a:lnTo>
                  <a:lnTo>
                    <a:pt x="670" y="445"/>
                  </a:lnTo>
                  <a:lnTo>
                    <a:pt x="664" y="476"/>
                  </a:lnTo>
                  <a:lnTo>
                    <a:pt x="663" y="486"/>
                  </a:lnTo>
                  <a:lnTo>
                    <a:pt x="666" y="494"/>
                  </a:lnTo>
                  <a:lnTo>
                    <a:pt x="668" y="497"/>
                  </a:lnTo>
                  <a:lnTo>
                    <a:pt x="672" y="483"/>
                  </a:lnTo>
                  <a:lnTo>
                    <a:pt x="676" y="473"/>
                  </a:lnTo>
                  <a:lnTo>
                    <a:pt x="681" y="472"/>
                  </a:lnTo>
                  <a:lnTo>
                    <a:pt x="695" y="480"/>
                  </a:lnTo>
                  <a:lnTo>
                    <a:pt x="697" y="482"/>
                  </a:lnTo>
                  <a:lnTo>
                    <a:pt x="699" y="490"/>
                  </a:lnTo>
                  <a:lnTo>
                    <a:pt x="698" y="496"/>
                  </a:lnTo>
                  <a:lnTo>
                    <a:pt x="691" y="494"/>
                  </a:lnTo>
                  <a:lnTo>
                    <a:pt x="687" y="494"/>
                  </a:lnTo>
                  <a:lnTo>
                    <a:pt x="684" y="496"/>
                  </a:lnTo>
                  <a:lnTo>
                    <a:pt x="683" y="501"/>
                  </a:lnTo>
                  <a:lnTo>
                    <a:pt x="685" y="509"/>
                  </a:lnTo>
                  <a:lnTo>
                    <a:pt x="695" y="514"/>
                  </a:lnTo>
                  <a:lnTo>
                    <a:pt x="699" y="518"/>
                  </a:lnTo>
                  <a:lnTo>
                    <a:pt x="709" y="514"/>
                  </a:lnTo>
                  <a:lnTo>
                    <a:pt x="713" y="520"/>
                  </a:lnTo>
                  <a:lnTo>
                    <a:pt x="714" y="528"/>
                  </a:lnTo>
                  <a:lnTo>
                    <a:pt x="713" y="540"/>
                  </a:lnTo>
                  <a:lnTo>
                    <a:pt x="712" y="543"/>
                  </a:lnTo>
                  <a:lnTo>
                    <a:pt x="701" y="538"/>
                  </a:lnTo>
                  <a:lnTo>
                    <a:pt x="692" y="537"/>
                  </a:lnTo>
                  <a:lnTo>
                    <a:pt x="687" y="535"/>
                  </a:lnTo>
                  <a:lnTo>
                    <a:pt x="679" y="537"/>
                  </a:lnTo>
                  <a:lnTo>
                    <a:pt x="671" y="549"/>
                  </a:lnTo>
                  <a:lnTo>
                    <a:pt x="666" y="546"/>
                  </a:lnTo>
                  <a:lnTo>
                    <a:pt x="663" y="542"/>
                  </a:lnTo>
                  <a:lnTo>
                    <a:pt x="657" y="543"/>
                  </a:lnTo>
                  <a:lnTo>
                    <a:pt x="656" y="553"/>
                  </a:lnTo>
                  <a:lnTo>
                    <a:pt x="664" y="568"/>
                  </a:lnTo>
                  <a:lnTo>
                    <a:pt x="671" y="573"/>
                  </a:lnTo>
                  <a:lnTo>
                    <a:pt x="678" y="576"/>
                  </a:lnTo>
                  <a:lnTo>
                    <a:pt x="688" y="578"/>
                  </a:lnTo>
                  <a:lnTo>
                    <a:pt x="692" y="582"/>
                  </a:lnTo>
                  <a:lnTo>
                    <a:pt x="695" y="594"/>
                  </a:lnTo>
                  <a:lnTo>
                    <a:pt x="697" y="604"/>
                  </a:lnTo>
                  <a:lnTo>
                    <a:pt x="697" y="617"/>
                  </a:lnTo>
                  <a:lnTo>
                    <a:pt x="695" y="627"/>
                  </a:lnTo>
                  <a:lnTo>
                    <a:pt x="692" y="629"/>
                  </a:lnTo>
                  <a:lnTo>
                    <a:pt x="685" y="624"/>
                  </a:lnTo>
                  <a:lnTo>
                    <a:pt x="680" y="622"/>
                  </a:lnTo>
                  <a:lnTo>
                    <a:pt x="678" y="624"/>
                  </a:lnTo>
                  <a:lnTo>
                    <a:pt x="678" y="637"/>
                  </a:lnTo>
                  <a:lnTo>
                    <a:pt x="678" y="642"/>
                  </a:lnTo>
                  <a:lnTo>
                    <a:pt x="681" y="646"/>
                  </a:lnTo>
                  <a:lnTo>
                    <a:pt x="684" y="648"/>
                  </a:lnTo>
                  <a:lnTo>
                    <a:pt x="689" y="653"/>
                  </a:lnTo>
                  <a:lnTo>
                    <a:pt x="694" y="656"/>
                  </a:lnTo>
                  <a:lnTo>
                    <a:pt x="699" y="660"/>
                  </a:lnTo>
                  <a:lnTo>
                    <a:pt x="701" y="668"/>
                  </a:lnTo>
                  <a:lnTo>
                    <a:pt x="699" y="673"/>
                  </a:lnTo>
                  <a:lnTo>
                    <a:pt x="694" y="676"/>
                  </a:lnTo>
                  <a:lnTo>
                    <a:pt x="690" y="679"/>
                  </a:lnTo>
                  <a:lnTo>
                    <a:pt x="680" y="678"/>
                  </a:lnTo>
                  <a:lnTo>
                    <a:pt x="673" y="676"/>
                  </a:lnTo>
                  <a:lnTo>
                    <a:pt x="663" y="674"/>
                  </a:lnTo>
                  <a:lnTo>
                    <a:pt x="660" y="684"/>
                  </a:lnTo>
                  <a:lnTo>
                    <a:pt x="663" y="688"/>
                  </a:lnTo>
                  <a:lnTo>
                    <a:pt x="671" y="689"/>
                  </a:lnTo>
                  <a:lnTo>
                    <a:pt x="678" y="693"/>
                  </a:lnTo>
                  <a:lnTo>
                    <a:pt x="682" y="698"/>
                  </a:lnTo>
                  <a:lnTo>
                    <a:pt x="683" y="705"/>
                  </a:lnTo>
                  <a:lnTo>
                    <a:pt x="682" y="716"/>
                  </a:lnTo>
                  <a:lnTo>
                    <a:pt x="681" y="716"/>
                  </a:lnTo>
                  <a:lnTo>
                    <a:pt x="675" y="715"/>
                  </a:lnTo>
                  <a:lnTo>
                    <a:pt x="668" y="717"/>
                  </a:lnTo>
                  <a:lnTo>
                    <a:pt x="664" y="723"/>
                  </a:lnTo>
                  <a:lnTo>
                    <a:pt x="657" y="723"/>
                  </a:lnTo>
                  <a:lnTo>
                    <a:pt x="650" y="720"/>
                  </a:lnTo>
                  <a:lnTo>
                    <a:pt x="641" y="712"/>
                  </a:lnTo>
                  <a:lnTo>
                    <a:pt x="635" y="702"/>
                  </a:lnTo>
                  <a:lnTo>
                    <a:pt x="633" y="701"/>
                  </a:lnTo>
                  <a:lnTo>
                    <a:pt x="627" y="707"/>
                  </a:lnTo>
                  <a:lnTo>
                    <a:pt x="621" y="714"/>
                  </a:lnTo>
                  <a:lnTo>
                    <a:pt x="615" y="716"/>
                  </a:lnTo>
                  <a:lnTo>
                    <a:pt x="611" y="719"/>
                  </a:lnTo>
                  <a:lnTo>
                    <a:pt x="603" y="719"/>
                  </a:lnTo>
                  <a:lnTo>
                    <a:pt x="597" y="717"/>
                  </a:lnTo>
                  <a:lnTo>
                    <a:pt x="591" y="720"/>
                  </a:lnTo>
                  <a:lnTo>
                    <a:pt x="589" y="722"/>
                  </a:lnTo>
                  <a:lnTo>
                    <a:pt x="588" y="728"/>
                  </a:lnTo>
                  <a:lnTo>
                    <a:pt x="588" y="731"/>
                  </a:lnTo>
                  <a:lnTo>
                    <a:pt x="590" y="741"/>
                  </a:lnTo>
                  <a:lnTo>
                    <a:pt x="594" y="746"/>
                  </a:lnTo>
                  <a:lnTo>
                    <a:pt x="602" y="747"/>
                  </a:lnTo>
                  <a:lnTo>
                    <a:pt x="611" y="752"/>
                  </a:lnTo>
                  <a:lnTo>
                    <a:pt x="620" y="751"/>
                  </a:lnTo>
                  <a:lnTo>
                    <a:pt x="628" y="762"/>
                  </a:lnTo>
                  <a:lnTo>
                    <a:pt x="632" y="766"/>
                  </a:lnTo>
                  <a:lnTo>
                    <a:pt x="635" y="771"/>
                  </a:lnTo>
                  <a:lnTo>
                    <a:pt x="642" y="777"/>
                  </a:lnTo>
                  <a:lnTo>
                    <a:pt x="650" y="784"/>
                  </a:lnTo>
                  <a:lnTo>
                    <a:pt x="652" y="789"/>
                  </a:lnTo>
                  <a:lnTo>
                    <a:pt x="655" y="806"/>
                  </a:lnTo>
                  <a:lnTo>
                    <a:pt x="660" y="802"/>
                  </a:lnTo>
                  <a:lnTo>
                    <a:pt x="662" y="800"/>
                  </a:lnTo>
                  <a:lnTo>
                    <a:pt x="664" y="803"/>
                  </a:lnTo>
                  <a:lnTo>
                    <a:pt x="666" y="811"/>
                  </a:lnTo>
                  <a:lnTo>
                    <a:pt x="666" y="818"/>
                  </a:lnTo>
                  <a:lnTo>
                    <a:pt x="667" y="839"/>
                  </a:lnTo>
                  <a:lnTo>
                    <a:pt x="666" y="842"/>
                  </a:lnTo>
                  <a:lnTo>
                    <a:pt x="664" y="844"/>
                  </a:lnTo>
                  <a:lnTo>
                    <a:pt x="661" y="842"/>
                  </a:lnTo>
                  <a:lnTo>
                    <a:pt x="658" y="840"/>
                  </a:lnTo>
                  <a:lnTo>
                    <a:pt x="652" y="840"/>
                  </a:lnTo>
                  <a:lnTo>
                    <a:pt x="646" y="841"/>
                  </a:lnTo>
                  <a:lnTo>
                    <a:pt x="638" y="836"/>
                  </a:lnTo>
                  <a:lnTo>
                    <a:pt x="634" y="829"/>
                  </a:lnTo>
                  <a:lnTo>
                    <a:pt x="631" y="818"/>
                  </a:lnTo>
                  <a:lnTo>
                    <a:pt x="629" y="812"/>
                  </a:lnTo>
                  <a:lnTo>
                    <a:pt x="622" y="802"/>
                  </a:lnTo>
                  <a:lnTo>
                    <a:pt x="617" y="797"/>
                  </a:lnTo>
                  <a:lnTo>
                    <a:pt x="613" y="794"/>
                  </a:lnTo>
                  <a:lnTo>
                    <a:pt x="606" y="792"/>
                  </a:lnTo>
                  <a:lnTo>
                    <a:pt x="603" y="795"/>
                  </a:lnTo>
                  <a:lnTo>
                    <a:pt x="598" y="797"/>
                  </a:lnTo>
                  <a:close/>
                  <a:moveTo>
                    <a:pt x="248" y="886"/>
                  </a:moveTo>
                  <a:lnTo>
                    <a:pt x="245" y="884"/>
                  </a:lnTo>
                  <a:lnTo>
                    <a:pt x="240" y="879"/>
                  </a:lnTo>
                  <a:lnTo>
                    <a:pt x="236" y="876"/>
                  </a:lnTo>
                  <a:lnTo>
                    <a:pt x="235" y="874"/>
                  </a:lnTo>
                  <a:lnTo>
                    <a:pt x="233" y="870"/>
                  </a:lnTo>
                  <a:lnTo>
                    <a:pt x="233" y="856"/>
                  </a:lnTo>
                  <a:lnTo>
                    <a:pt x="234" y="850"/>
                  </a:lnTo>
                  <a:lnTo>
                    <a:pt x="237" y="849"/>
                  </a:lnTo>
                  <a:lnTo>
                    <a:pt x="240" y="852"/>
                  </a:lnTo>
                  <a:lnTo>
                    <a:pt x="247" y="853"/>
                  </a:lnTo>
                  <a:lnTo>
                    <a:pt x="255" y="858"/>
                  </a:lnTo>
                  <a:lnTo>
                    <a:pt x="259" y="862"/>
                  </a:lnTo>
                  <a:lnTo>
                    <a:pt x="263" y="864"/>
                  </a:lnTo>
                  <a:lnTo>
                    <a:pt x="267" y="868"/>
                  </a:lnTo>
                  <a:lnTo>
                    <a:pt x="271" y="873"/>
                  </a:lnTo>
                  <a:lnTo>
                    <a:pt x="270" y="877"/>
                  </a:lnTo>
                  <a:lnTo>
                    <a:pt x="269" y="877"/>
                  </a:lnTo>
                  <a:lnTo>
                    <a:pt x="266" y="878"/>
                  </a:lnTo>
                  <a:lnTo>
                    <a:pt x="261" y="879"/>
                  </a:lnTo>
                  <a:lnTo>
                    <a:pt x="257" y="882"/>
                  </a:lnTo>
                  <a:lnTo>
                    <a:pt x="251" y="884"/>
                  </a:lnTo>
                  <a:lnTo>
                    <a:pt x="248" y="886"/>
                  </a:lnTo>
                  <a:close/>
                  <a:moveTo>
                    <a:pt x="659" y="777"/>
                  </a:moveTo>
                  <a:lnTo>
                    <a:pt x="650" y="767"/>
                  </a:lnTo>
                  <a:lnTo>
                    <a:pt x="644" y="763"/>
                  </a:lnTo>
                  <a:lnTo>
                    <a:pt x="640" y="760"/>
                  </a:lnTo>
                  <a:lnTo>
                    <a:pt x="639" y="758"/>
                  </a:lnTo>
                  <a:lnTo>
                    <a:pt x="637" y="750"/>
                  </a:lnTo>
                  <a:lnTo>
                    <a:pt x="645" y="749"/>
                  </a:lnTo>
                  <a:lnTo>
                    <a:pt x="651" y="752"/>
                  </a:lnTo>
                  <a:lnTo>
                    <a:pt x="657" y="757"/>
                  </a:lnTo>
                  <a:lnTo>
                    <a:pt x="662" y="763"/>
                  </a:lnTo>
                  <a:lnTo>
                    <a:pt x="663" y="773"/>
                  </a:lnTo>
                  <a:lnTo>
                    <a:pt x="662" y="776"/>
                  </a:lnTo>
                  <a:lnTo>
                    <a:pt x="659" y="77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37" name="Freeform 9">
              <a:extLst>
                <a:ext uri="{FF2B5EF4-FFF2-40B4-BE49-F238E27FC236}">
                  <a16:creationId xmlns:a16="http://schemas.microsoft.com/office/drawing/2014/main" id="{4A1B7BAD-1040-3C72-FB31-6C264271CC36}"/>
                </a:ext>
              </a:extLst>
            </p:cNvPr>
            <p:cNvSpPr>
              <a:spLocks noEditPoints="1"/>
            </p:cNvSpPr>
            <p:nvPr/>
          </p:nvSpPr>
          <p:spPr bwMode="auto">
            <a:xfrm>
              <a:off x="1715671" y="3090863"/>
              <a:ext cx="2179638" cy="1747838"/>
            </a:xfrm>
            <a:custGeom>
              <a:avLst/>
              <a:gdLst/>
              <a:ahLst/>
              <a:cxnLst>
                <a:cxn ang="0">
                  <a:pos x="246" y="432"/>
                </a:cxn>
                <a:cxn ang="0">
                  <a:pos x="516" y="449"/>
                </a:cxn>
                <a:cxn ang="0">
                  <a:pos x="476" y="406"/>
                </a:cxn>
                <a:cxn ang="0">
                  <a:pos x="407" y="372"/>
                </a:cxn>
                <a:cxn ang="0">
                  <a:pos x="312" y="337"/>
                </a:cxn>
                <a:cxn ang="0">
                  <a:pos x="265" y="368"/>
                </a:cxn>
                <a:cxn ang="0">
                  <a:pos x="247" y="373"/>
                </a:cxn>
                <a:cxn ang="0">
                  <a:pos x="196" y="444"/>
                </a:cxn>
                <a:cxn ang="0">
                  <a:pos x="188" y="427"/>
                </a:cxn>
                <a:cxn ang="0">
                  <a:pos x="147" y="395"/>
                </a:cxn>
                <a:cxn ang="0">
                  <a:pos x="110" y="351"/>
                </a:cxn>
                <a:cxn ang="0">
                  <a:pos x="105" y="279"/>
                </a:cxn>
                <a:cxn ang="0">
                  <a:pos x="106" y="237"/>
                </a:cxn>
                <a:cxn ang="0">
                  <a:pos x="99" y="174"/>
                </a:cxn>
                <a:cxn ang="0">
                  <a:pos x="107" y="145"/>
                </a:cxn>
                <a:cxn ang="0">
                  <a:pos x="159" y="30"/>
                </a:cxn>
                <a:cxn ang="0">
                  <a:pos x="253" y="21"/>
                </a:cxn>
                <a:cxn ang="0">
                  <a:pos x="406" y="158"/>
                </a:cxn>
                <a:cxn ang="0">
                  <a:pos x="484" y="383"/>
                </a:cxn>
                <a:cxn ang="0">
                  <a:pos x="206" y="1077"/>
                </a:cxn>
                <a:cxn ang="0">
                  <a:pos x="715" y="895"/>
                </a:cxn>
                <a:cxn ang="0">
                  <a:pos x="671" y="870"/>
                </a:cxn>
                <a:cxn ang="0">
                  <a:pos x="655" y="831"/>
                </a:cxn>
                <a:cxn ang="0">
                  <a:pos x="646" y="813"/>
                </a:cxn>
                <a:cxn ang="0">
                  <a:pos x="624" y="748"/>
                </a:cxn>
                <a:cxn ang="0">
                  <a:pos x="630" y="669"/>
                </a:cxn>
                <a:cxn ang="0">
                  <a:pos x="640" y="633"/>
                </a:cxn>
                <a:cxn ang="0">
                  <a:pos x="743" y="615"/>
                </a:cxn>
                <a:cxn ang="0">
                  <a:pos x="1016" y="616"/>
                </a:cxn>
                <a:cxn ang="0">
                  <a:pos x="1070" y="636"/>
                </a:cxn>
                <a:cxn ang="0">
                  <a:pos x="1171" y="733"/>
                </a:cxn>
                <a:cxn ang="0">
                  <a:pos x="1230" y="718"/>
                </a:cxn>
                <a:cxn ang="0">
                  <a:pos x="1350" y="650"/>
                </a:cxn>
                <a:cxn ang="0">
                  <a:pos x="1365" y="700"/>
                </a:cxn>
                <a:cxn ang="0">
                  <a:pos x="1338" y="713"/>
                </a:cxn>
                <a:cxn ang="0">
                  <a:pos x="1327" y="747"/>
                </a:cxn>
                <a:cxn ang="0">
                  <a:pos x="1318" y="753"/>
                </a:cxn>
                <a:cxn ang="0">
                  <a:pos x="1277" y="789"/>
                </a:cxn>
                <a:cxn ang="0">
                  <a:pos x="1267" y="807"/>
                </a:cxn>
                <a:cxn ang="0">
                  <a:pos x="1257" y="810"/>
                </a:cxn>
                <a:cxn ang="0">
                  <a:pos x="1251" y="795"/>
                </a:cxn>
                <a:cxn ang="0">
                  <a:pos x="1246" y="805"/>
                </a:cxn>
                <a:cxn ang="0">
                  <a:pos x="1251" y="820"/>
                </a:cxn>
                <a:cxn ang="0">
                  <a:pos x="1244" y="826"/>
                </a:cxn>
                <a:cxn ang="0">
                  <a:pos x="1258" y="846"/>
                </a:cxn>
                <a:cxn ang="0">
                  <a:pos x="1254" y="850"/>
                </a:cxn>
                <a:cxn ang="0">
                  <a:pos x="1243" y="856"/>
                </a:cxn>
                <a:cxn ang="0">
                  <a:pos x="1229" y="881"/>
                </a:cxn>
                <a:cxn ang="0">
                  <a:pos x="1201" y="985"/>
                </a:cxn>
                <a:cxn ang="0">
                  <a:pos x="1174" y="988"/>
                </a:cxn>
                <a:cxn ang="0">
                  <a:pos x="1132" y="945"/>
                </a:cxn>
                <a:cxn ang="0">
                  <a:pos x="1066" y="939"/>
                </a:cxn>
                <a:cxn ang="0">
                  <a:pos x="1069" y="954"/>
                </a:cxn>
                <a:cxn ang="0">
                  <a:pos x="999" y="960"/>
                </a:cxn>
                <a:cxn ang="0">
                  <a:pos x="966" y="1001"/>
                </a:cxn>
                <a:cxn ang="0">
                  <a:pos x="896" y="956"/>
                </a:cxn>
                <a:cxn ang="0">
                  <a:pos x="757" y="907"/>
                </a:cxn>
                <a:cxn ang="0">
                  <a:pos x="487" y="447"/>
                </a:cxn>
                <a:cxn ang="0">
                  <a:pos x="480" y="415"/>
                </a:cxn>
                <a:cxn ang="0">
                  <a:pos x="209" y="1093"/>
                </a:cxn>
                <a:cxn ang="0">
                  <a:pos x="46" y="526"/>
                </a:cxn>
                <a:cxn ang="0">
                  <a:pos x="99" y="502"/>
                </a:cxn>
                <a:cxn ang="0">
                  <a:pos x="128" y="477"/>
                </a:cxn>
              </a:cxnLst>
              <a:rect l="0" t="0" r="r" b="b"/>
              <a:pathLst>
                <a:path w="1373" h="1101">
                  <a:moveTo>
                    <a:pt x="246" y="433"/>
                  </a:moveTo>
                  <a:lnTo>
                    <a:pt x="245" y="435"/>
                  </a:lnTo>
                  <a:lnTo>
                    <a:pt x="242" y="441"/>
                  </a:lnTo>
                  <a:lnTo>
                    <a:pt x="240" y="442"/>
                  </a:lnTo>
                  <a:lnTo>
                    <a:pt x="237" y="443"/>
                  </a:lnTo>
                  <a:lnTo>
                    <a:pt x="234" y="442"/>
                  </a:lnTo>
                  <a:lnTo>
                    <a:pt x="228" y="438"/>
                  </a:lnTo>
                  <a:lnTo>
                    <a:pt x="227" y="436"/>
                  </a:lnTo>
                  <a:lnTo>
                    <a:pt x="228" y="433"/>
                  </a:lnTo>
                  <a:lnTo>
                    <a:pt x="231" y="430"/>
                  </a:lnTo>
                  <a:lnTo>
                    <a:pt x="233" y="426"/>
                  </a:lnTo>
                  <a:lnTo>
                    <a:pt x="237" y="430"/>
                  </a:lnTo>
                  <a:lnTo>
                    <a:pt x="239" y="431"/>
                  </a:lnTo>
                  <a:lnTo>
                    <a:pt x="242" y="429"/>
                  </a:lnTo>
                  <a:lnTo>
                    <a:pt x="243" y="426"/>
                  </a:lnTo>
                  <a:lnTo>
                    <a:pt x="244" y="422"/>
                  </a:lnTo>
                  <a:lnTo>
                    <a:pt x="246" y="421"/>
                  </a:lnTo>
                  <a:lnTo>
                    <a:pt x="253" y="423"/>
                  </a:lnTo>
                  <a:lnTo>
                    <a:pt x="256" y="427"/>
                  </a:lnTo>
                  <a:lnTo>
                    <a:pt x="257" y="429"/>
                  </a:lnTo>
                  <a:lnTo>
                    <a:pt x="252" y="430"/>
                  </a:lnTo>
                  <a:lnTo>
                    <a:pt x="250" y="430"/>
                  </a:lnTo>
                  <a:lnTo>
                    <a:pt x="246" y="432"/>
                  </a:lnTo>
                  <a:lnTo>
                    <a:pt x="246" y="433"/>
                  </a:lnTo>
                  <a:close/>
                  <a:moveTo>
                    <a:pt x="549" y="482"/>
                  </a:moveTo>
                  <a:lnTo>
                    <a:pt x="548" y="486"/>
                  </a:lnTo>
                  <a:lnTo>
                    <a:pt x="546" y="487"/>
                  </a:lnTo>
                  <a:lnTo>
                    <a:pt x="544" y="488"/>
                  </a:lnTo>
                  <a:lnTo>
                    <a:pt x="542" y="490"/>
                  </a:lnTo>
                  <a:lnTo>
                    <a:pt x="540" y="489"/>
                  </a:lnTo>
                  <a:lnTo>
                    <a:pt x="539" y="487"/>
                  </a:lnTo>
                  <a:lnTo>
                    <a:pt x="540" y="482"/>
                  </a:lnTo>
                  <a:lnTo>
                    <a:pt x="540" y="478"/>
                  </a:lnTo>
                  <a:lnTo>
                    <a:pt x="538" y="471"/>
                  </a:lnTo>
                  <a:lnTo>
                    <a:pt x="535" y="467"/>
                  </a:lnTo>
                  <a:lnTo>
                    <a:pt x="534" y="465"/>
                  </a:lnTo>
                  <a:lnTo>
                    <a:pt x="526" y="465"/>
                  </a:lnTo>
                  <a:lnTo>
                    <a:pt x="523" y="466"/>
                  </a:lnTo>
                  <a:lnTo>
                    <a:pt x="523" y="468"/>
                  </a:lnTo>
                  <a:lnTo>
                    <a:pt x="520" y="469"/>
                  </a:lnTo>
                  <a:lnTo>
                    <a:pt x="520" y="467"/>
                  </a:lnTo>
                  <a:lnTo>
                    <a:pt x="519" y="462"/>
                  </a:lnTo>
                  <a:lnTo>
                    <a:pt x="521" y="459"/>
                  </a:lnTo>
                  <a:lnTo>
                    <a:pt x="522" y="457"/>
                  </a:lnTo>
                  <a:lnTo>
                    <a:pt x="520" y="453"/>
                  </a:lnTo>
                  <a:lnTo>
                    <a:pt x="516" y="449"/>
                  </a:lnTo>
                  <a:lnTo>
                    <a:pt x="512" y="441"/>
                  </a:lnTo>
                  <a:lnTo>
                    <a:pt x="507" y="438"/>
                  </a:lnTo>
                  <a:lnTo>
                    <a:pt x="505" y="436"/>
                  </a:lnTo>
                  <a:lnTo>
                    <a:pt x="505" y="433"/>
                  </a:lnTo>
                  <a:lnTo>
                    <a:pt x="502" y="426"/>
                  </a:lnTo>
                  <a:lnTo>
                    <a:pt x="502" y="424"/>
                  </a:lnTo>
                  <a:lnTo>
                    <a:pt x="504" y="421"/>
                  </a:lnTo>
                  <a:lnTo>
                    <a:pt x="504" y="420"/>
                  </a:lnTo>
                  <a:lnTo>
                    <a:pt x="502" y="418"/>
                  </a:lnTo>
                  <a:lnTo>
                    <a:pt x="499" y="417"/>
                  </a:lnTo>
                  <a:lnTo>
                    <a:pt x="497" y="414"/>
                  </a:lnTo>
                  <a:lnTo>
                    <a:pt x="495" y="411"/>
                  </a:lnTo>
                  <a:lnTo>
                    <a:pt x="492" y="408"/>
                  </a:lnTo>
                  <a:lnTo>
                    <a:pt x="486" y="403"/>
                  </a:lnTo>
                  <a:lnTo>
                    <a:pt x="483" y="395"/>
                  </a:lnTo>
                  <a:lnTo>
                    <a:pt x="482" y="388"/>
                  </a:lnTo>
                  <a:lnTo>
                    <a:pt x="480" y="384"/>
                  </a:lnTo>
                  <a:lnTo>
                    <a:pt x="478" y="384"/>
                  </a:lnTo>
                  <a:lnTo>
                    <a:pt x="477" y="393"/>
                  </a:lnTo>
                  <a:lnTo>
                    <a:pt x="480" y="403"/>
                  </a:lnTo>
                  <a:lnTo>
                    <a:pt x="480" y="406"/>
                  </a:lnTo>
                  <a:lnTo>
                    <a:pt x="480" y="408"/>
                  </a:lnTo>
                  <a:lnTo>
                    <a:pt x="476" y="406"/>
                  </a:lnTo>
                  <a:lnTo>
                    <a:pt x="474" y="406"/>
                  </a:lnTo>
                  <a:lnTo>
                    <a:pt x="471" y="400"/>
                  </a:lnTo>
                  <a:lnTo>
                    <a:pt x="469" y="395"/>
                  </a:lnTo>
                  <a:lnTo>
                    <a:pt x="466" y="396"/>
                  </a:lnTo>
                  <a:lnTo>
                    <a:pt x="459" y="394"/>
                  </a:lnTo>
                  <a:lnTo>
                    <a:pt x="466" y="402"/>
                  </a:lnTo>
                  <a:lnTo>
                    <a:pt x="466" y="404"/>
                  </a:lnTo>
                  <a:lnTo>
                    <a:pt x="457" y="406"/>
                  </a:lnTo>
                  <a:lnTo>
                    <a:pt x="450" y="402"/>
                  </a:lnTo>
                  <a:lnTo>
                    <a:pt x="442" y="391"/>
                  </a:lnTo>
                  <a:lnTo>
                    <a:pt x="439" y="388"/>
                  </a:lnTo>
                  <a:lnTo>
                    <a:pt x="435" y="388"/>
                  </a:lnTo>
                  <a:lnTo>
                    <a:pt x="435" y="388"/>
                  </a:lnTo>
                  <a:lnTo>
                    <a:pt x="429" y="385"/>
                  </a:lnTo>
                  <a:lnTo>
                    <a:pt x="421" y="379"/>
                  </a:lnTo>
                  <a:lnTo>
                    <a:pt x="427" y="376"/>
                  </a:lnTo>
                  <a:lnTo>
                    <a:pt x="427" y="374"/>
                  </a:lnTo>
                  <a:lnTo>
                    <a:pt x="426" y="371"/>
                  </a:lnTo>
                  <a:lnTo>
                    <a:pt x="424" y="369"/>
                  </a:lnTo>
                  <a:lnTo>
                    <a:pt x="420" y="371"/>
                  </a:lnTo>
                  <a:lnTo>
                    <a:pt x="417" y="373"/>
                  </a:lnTo>
                  <a:lnTo>
                    <a:pt x="413" y="373"/>
                  </a:lnTo>
                  <a:lnTo>
                    <a:pt x="407" y="372"/>
                  </a:lnTo>
                  <a:lnTo>
                    <a:pt x="400" y="369"/>
                  </a:lnTo>
                  <a:lnTo>
                    <a:pt x="400" y="366"/>
                  </a:lnTo>
                  <a:lnTo>
                    <a:pt x="400" y="364"/>
                  </a:lnTo>
                  <a:lnTo>
                    <a:pt x="398" y="363"/>
                  </a:lnTo>
                  <a:lnTo>
                    <a:pt x="396" y="363"/>
                  </a:lnTo>
                  <a:lnTo>
                    <a:pt x="393" y="366"/>
                  </a:lnTo>
                  <a:lnTo>
                    <a:pt x="387" y="366"/>
                  </a:lnTo>
                  <a:lnTo>
                    <a:pt x="378" y="364"/>
                  </a:lnTo>
                  <a:lnTo>
                    <a:pt x="366" y="365"/>
                  </a:lnTo>
                  <a:lnTo>
                    <a:pt x="361" y="364"/>
                  </a:lnTo>
                  <a:lnTo>
                    <a:pt x="360" y="363"/>
                  </a:lnTo>
                  <a:lnTo>
                    <a:pt x="356" y="358"/>
                  </a:lnTo>
                  <a:lnTo>
                    <a:pt x="353" y="352"/>
                  </a:lnTo>
                  <a:lnTo>
                    <a:pt x="351" y="355"/>
                  </a:lnTo>
                  <a:lnTo>
                    <a:pt x="347" y="357"/>
                  </a:lnTo>
                  <a:lnTo>
                    <a:pt x="342" y="353"/>
                  </a:lnTo>
                  <a:lnTo>
                    <a:pt x="340" y="349"/>
                  </a:lnTo>
                  <a:lnTo>
                    <a:pt x="338" y="347"/>
                  </a:lnTo>
                  <a:lnTo>
                    <a:pt x="333" y="344"/>
                  </a:lnTo>
                  <a:lnTo>
                    <a:pt x="324" y="342"/>
                  </a:lnTo>
                  <a:lnTo>
                    <a:pt x="319" y="339"/>
                  </a:lnTo>
                  <a:lnTo>
                    <a:pt x="315" y="334"/>
                  </a:lnTo>
                  <a:lnTo>
                    <a:pt x="312" y="337"/>
                  </a:lnTo>
                  <a:lnTo>
                    <a:pt x="307" y="338"/>
                  </a:lnTo>
                  <a:lnTo>
                    <a:pt x="308" y="343"/>
                  </a:lnTo>
                  <a:lnTo>
                    <a:pt x="307" y="344"/>
                  </a:lnTo>
                  <a:lnTo>
                    <a:pt x="304" y="347"/>
                  </a:lnTo>
                  <a:lnTo>
                    <a:pt x="303" y="352"/>
                  </a:lnTo>
                  <a:lnTo>
                    <a:pt x="310" y="356"/>
                  </a:lnTo>
                  <a:lnTo>
                    <a:pt x="311" y="359"/>
                  </a:lnTo>
                  <a:lnTo>
                    <a:pt x="310" y="364"/>
                  </a:lnTo>
                  <a:lnTo>
                    <a:pt x="307" y="369"/>
                  </a:lnTo>
                  <a:lnTo>
                    <a:pt x="305" y="369"/>
                  </a:lnTo>
                  <a:lnTo>
                    <a:pt x="300" y="367"/>
                  </a:lnTo>
                  <a:lnTo>
                    <a:pt x="297" y="366"/>
                  </a:lnTo>
                  <a:lnTo>
                    <a:pt x="293" y="367"/>
                  </a:lnTo>
                  <a:lnTo>
                    <a:pt x="288" y="374"/>
                  </a:lnTo>
                  <a:lnTo>
                    <a:pt x="281" y="376"/>
                  </a:lnTo>
                  <a:lnTo>
                    <a:pt x="276" y="382"/>
                  </a:lnTo>
                  <a:lnTo>
                    <a:pt x="270" y="387"/>
                  </a:lnTo>
                  <a:lnTo>
                    <a:pt x="263" y="388"/>
                  </a:lnTo>
                  <a:lnTo>
                    <a:pt x="264" y="385"/>
                  </a:lnTo>
                  <a:lnTo>
                    <a:pt x="265" y="383"/>
                  </a:lnTo>
                  <a:lnTo>
                    <a:pt x="269" y="379"/>
                  </a:lnTo>
                  <a:lnTo>
                    <a:pt x="268" y="374"/>
                  </a:lnTo>
                  <a:lnTo>
                    <a:pt x="265" y="368"/>
                  </a:lnTo>
                  <a:lnTo>
                    <a:pt x="265" y="367"/>
                  </a:lnTo>
                  <a:lnTo>
                    <a:pt x="270" y="360"/>
                  </a:lnTo>
                  <a:lnTo>
                    <a:pt x="272" y="354"/>
                  </a:lnTo>
                  <a:lnTo>
                    <a:pt x="273" y="349"/>
                  </a:lnTo>
                  <a:lnTo>
                    <a:pt x="277" y="345"/>
                  </a:lnTo>
                  <a:lnTo>
                    <a:pt x="282" y="342"/>
                  </a:lnTo>
                  <a:lnTo>
                    <a:pt x="289" y="342"/>
                  </a:lnTo>
                  <a:lnTo>
                    <a:pt x="295" y="344"/>
                  </a:lnTo>
                  <a:lnTo>
                    <a:pt x="297" y="342"/>
                  </a:lnTo>
                  <a:lnTo>
                    <a:pt x="289" y="336"/>
                  </a:lnTo>
                  <a:lnTo>
                    <a:pt x="284" y="331"/>
                  </a:lnTo>
                  <a:lnTo>
                    <a:pt x="278" y="332"/>
                  </a:lnTo>
                  <a:lnTo>
                    <a:pt x="276" y="335"/>
                  </a:lnTo>
                  <a:lnTo>
                    <a:pt x="274" y="336"/>
                  </a:lnTo>
                  <a:lnTo>
                    <a:pt x="270" y="341"/>
                  </a:lnTo>
                  <a:lnTo>
                    <a:pt x="265" y="346"/>
                  </a:lnTo>
                  <a:lnTo>
                    <a:pt x="259" y="349"/>
                  </a:lnTo>
                  <a:lnTo>
                    <a:pt x="255" y="357"/>
                  </a:lnTo>
                  <a:lnTo>
                    <a:pt x="252" y="358"/>
                  </a:lnTo>
                  <a:lnTo>
                    <a:pt x="250" y="359"/>
                  </a:lnTo>
                  <a:lnTo>
                    <a:pt x="251" y="363"/>
                  </a:lnTo>
                  <a:lnTo>
                    <a:pt x="250" y="369"/>
                  </a:lnTo>
                  <a:lnTo>
                    <a:pt x="247" y="373"/>
                  </a:lnTo>
                  <a:lnTo>
                    <a:pt x="243" y="374"/>
                  </a:lnTo>
                  <a:lnTo>
                    <a:pt x="240" y="376"/>
                  </a:lnTo>
                  <a:lnTo>
                    <a:pt x="236" y="379"/>
                  </a:lnTo>
                  <a:lnTo>
                    <a:pt x="232" y="386"/>
                  </a:lnTo>
                  <a:lnTo>
                    <a:pt x="232" y="389"/>
                  </a:lnTo>
                  <a:lnTo>
                    <a:pt x="234" y="391"/>
                  </a:lnTo>
                  <a:lnTo>
                    <a:pt x="236" y="391"/>
                  </a:lnTo>
                  <a:lnTo>
                    <a:pt x="240" y="393"/>
                  </a:lnTo>
                  <a:lnTo>
                    <a:pt x="243" y="396"/>
                  </a:lnTo>
                  <a:lnTo>
                    <a:pt x="242" y="397"/>
                  </a:lnTo>
                  <a:lnTo>
                    <a:pt x="240" y="401"/>
                  </a:lnTo>
                  <a:lnTo>
                    <a:pt x="236" y="403"/>
                  </a:lnTo>
                  <a:lnTo>
                    <a:pt x="233" y="407"/>
                  </a:lnTo>
                  <a:lnTo>
                    <a:pt x="230" y="411"/>
                  </a:lnTo>
                  <a:lnTo>
                    <a:pt x="227" y="415"/>
                  </a:lnTo>
                  <a:lnTo>
                    <a:pt x="223" y="417"/>
                  </a:lnTo>
                  <a:lnTo>
                    <a:pt x="215" y="420"/>
                  </a:lnTo>
                  <a:lnTo>
                    <a:pt x="211" y="424"/>
                  </a:lnTo>
                  <a:lnTo>
                    <a:pt x="205" y="428"/>
                  </a:lnTo>
                  <a:lnTo>
                    <a:pt x="201" y="432"/>
                  </a:lnTo>
                  <a:lnTo>
                    <a:pt x="204" y="438"/>
                  </a:lnTo>
                  <a:lnTo>
                    <a:pt x="203" y="439"/>
                  </a:lnTo>
                  <a:lnTo>
                    <a:pt x="196" y="444"/>
                  </a:lnTo>
                  <a:lnTo>
                    <a:pt x="191" y="445"/>
                  </a:lnTo>
                  <a:lnTo>
                    <a:pt x="187" y="447"/>
                  </a:lnTo>
                  <a:lnTo>
                    <a:pt x="184" y="450"/>
                  </a:lnTo>
                  <a:lnTo>
                    <a:pt x="177" y="455"/>
                  </a:lnTo>
                  <a:lnTo>
                    <a:pt x="175" y="457"/>
                  </a:lnTo>
                  <a:lnTo>
                    <a:pt x="174" y="461"/>
                  </a:lnTo>
                  <a:lnTo>
                    <a:pt x="169" y="466"/>
                  </a:lnTo>
                  <a:lnTo>
                    <a:pt x="162" y="468"/>
                  </a:lnTo>
                  <a:lnTo>
                    <a:pt x="155" y="470"/>
                  </a:lnTo>
                  <a:lnTo>
                    <a:pt x="149" y="466"/>
                  </a:lnTo>
                  <a:lnTo>
                    <a:pt x="149" y="464"/>
                  </a:lnTo>
                  <a:lnTo>
                    <a:pt x="151" y="461"/>
                  </a:lnTo>
                  <a:lnTo>
                    <a:pt x="156" y="458"/>
                  </a:lnTo>
                  <a:lnTo>
                    <a:pt x="157" y="456"/>
                  </a:lnTo>
                  <a:lnTo>
                    <a:pt x="160" y="451"/>
                  </a:lnTo>
                  <a:lnTo>
                    <a:pt x="167" y="447"/>
                  </a:lnTo>
                  <a:lnTo>
                    <a:pt x="175" y="448"/>
                  </a:lnTo>
                  <a:lnTo>
                    <a:pt x="175" y="445"/>
                  </a:lnTo>
                  <a:lnTo>
                    <a:pt x="175" y="440"/>
                  </a:lnTo>
                  <a:lnTo>
                    <a:pt x="177" y="436"/>
                  </a:lnTo>
                  <a:lnTo>
                    <a:pt x="182" y="433"/>
                  </a:lnTo>
                  <a:lnTo>
                    <a:pt x="186" y="429"/>
                  </a:lnTo>
                  <a:lnTo>
                    <a:pt x="188" y="427"/>
                  </a:lnTo>
                  <a:lnTo>
                    <a:pt x="188" y="419"/>
                  </a:lnTo>
                  <a:lnTo>
                    <a:pt x="189" y="411"/>
                  </a:lnTo>
                  <a:lnTo>
                    <a:pt x="193" y="405"/>
                  </a:lnTo>
                  <a:lnTo>
                    <a:pt x="195" y="400"/>
                  </a:lnTo>
                  <a:lnTo>
                    <a:pt x="195" y="396"/>
                  </a:lnTo>
                  <a:lnTo>
                    <a:pt x="191" y="397"/>
                  </a:lnTo>
                  <a:lnTo>
                    <a:pt x="184" y="399"/>
                  </a:lnTo>
                  <a:lnTo>
                    <a:pt x="180" y="399"/>
                  </a:lnTo>
                  <a:lnTo>
                    <a:pt x="177" y="392"/>
                  </a:lnTo>
                  <a:lnTo>
                    <a:pt x="175" y="393"/>
                  </a:lnTo>
                  <a:lnTo>
                    <a:pt x="171" y="396"/>
                  </a:lnTo>
                  <a:lnTo>
                    <a:pt x="171" y="398"/>
                  </a:lnTo>
                  <a:lnTo>
                    <a:pt x="172" y="402"/>
                  </a:lnTo>
                  <a:lnTo>
                    <a:pt x="172" y="406"/>
                  </a:lnTo>
                  <a:lnTo>
                    <a:pt x="171" y="406"/>
                  </a:lnTo>
                  <a:lnTo>
                    <a:pt x="169" y="405"/>
                  </a:lnTo>
                  <a:lnTo>
                    <a:pt x="166" y="402"/>
                  </a:lnTo>
                  <a:lnTo>
                    <a:pt x="163" y="397"/>
                  </a:lnTo>
                  <a:lnTo>
                    <a:pt x="160" y="394"/>
                  </a:lnTo>
                  <a:lnTo>
                    <a:pt x="156" y="393"/>
                  </a:lnTo>
                  <a:lnTo>
                    <a:pt x="151" y="392"/>
                  </a:lnTo>
                  <a:lnTo>
                    <a:pt x="146" y="393"/>
                  </a:lnTo>
                  <a:lnTo>
                    <a:pt x="147" y="395"/>
                  </a:lnTo>
                  <a:lnTo>
                    <a:pt x="143" y="399"/>
                  </a:lnTo>
                  <a:lnTo>
                    <a:pt x="136" y="400"/>
                  </a:lnTo>
                  <a:lnTo>
                    <a:pt x="132" y="399"/>
                  </a:lnTo>
                  <a:lnTo>
                    <a:pt x="132" y="398"/>
                  </a:lnTo>
                  <a:lnTo>
                    <a:pt x="131" y="397"/>
                  </a:lnTo>
                  <a:lnTo>
                    <a:pt x="130" y="385"/>
                  </a:lnTo>
                  <a:lnTo>
                    <a:pt x="132" y="379"/>
                  </a:lnTo>
                  <a:lnTo>
                    <a:pt x="131" y="374"/>
                  </a:lnTo>
                  <a:lnTo>
                    <a:pt x="126" y="362"/>
                  </a:lnTo>
                  <a:lnTo>
                    <a:pt x="118" y="367"/>
                  </a:lnTo>
                  <a:lnTo>
                    <a:pt x="114" y="368"/>
                  </a:lnTo>
                  <a:lnTo>
                    <a:pt x="111" y="371"/>
                  </a:lnTo>
                  <a:lnTo>
                    <a:pt x="105" y="372"/>
                  </a:lnTo>
                  <a:lnTo>
                    <a:pt x="102" y="369"/>
                  </a:lnTo>
                  <a:lnTo>
                    <a:pt x="100" y="365"/>
                  </a:lnTo>
                  <a:lnTo>
                    <a:pt x="97" y="361"/>
                  </a:lnTo>
                  <a:lnTo>
                    <a:pt x="91" y="355"/>
                  </a:lnTo>
                  <a:lnTo>
                    <a:pt x="90" y="352"/>
                  </a:lnTo>
                  <a:lnTo>
                    <a:pt x="92" y="350"/>
                  </a:lnTo>
                  <a:lnTo>
                    <a:pt x="94" y="345"/>
                  </a:lnTo>
                  <a:lnTo>
                    <a:pt x="98" y="346"/>
                  </a:lnTo>
                  <a:lnTo>
                    <a:pt x="106" y="350"/>
                  </a:lnTo>
                  <a:lnTo>
                    <a:pt x="110" y="351"/>
                  </a:lnTo>
                  <a:lnTo>
                    <a:pt x="111" y="348"/>
                  </a:lnTo>
                  <a:lnTo>
                    <a:pt x="109" y="342"/>
                  </a:lnTo>
                  <a:lnTo>
                    <a:pt x="106" y="339"/>
                  </a:lnTo>
                  <a:lnTo>
                    <a:pt x="104" y="339"/>
                  </a:lnTo>
                  <a:lnTo>
                    <a:pt x="101" y="342"/>
                  </a:lnTo>
                  <a:lnTo>
                    <a:pt x="98" y="341"/>
                  </a:lnTo>
                  <a:lnTo>
                    <a:pt x="90" y="335"/>
                  </a:lnTo>
                  <a:lnTo>
                    <a:pt x="86" y="333"/>
                  </a:lnTo>
                  <a:lnTo>
                    <a:pt x="85" y="333"/>
                  </a:lnTo>
                  <a:lnTo>
                    <a:pt x="80" y="333"/>
                  </a:lnTo>
                  <a:lnTo>
                    <a:pt x="80" y="332"/>
                  </a:lnTo>
                  <a:lnTo>
                    <a:pt x="76" y="319"/>
                  </a:lnTo>
                  <a:lnTo>
                    <a:pt x="81" y="317"/>
                  </a:lnTo>
                  <a:lnTo>
                    <a:pt x="81" y="312"/>
                  </a:lnTo>
                  <a:lnTo>
                    <a:pt x="84" y="309"/>
                  </a:lnTo>
                  <a:lnTo>
                    <a:pt x="85" y="305"/>
                  </a:lnTo>
                  <a:lnTo>
                    <a:pt x="86" y="301"/>
                  </a:lnTo>
                  <a:lnTo>
                    <a:pt x="91" y="294"/>
                  </a:lnTo>
                  <a:lnTo>
                    <a:pt x="93" y="289"/>
                  </a:lnTo>
                  <a:lnTo>
                    <a:pt x="96" y="285"/>
                  </a:lnTo>
                  <a:lnTo>
                    <a:pt x="99" y="279"/>
                  </a:lnTo>
                  <a:lnTo>
                    <a:pt x="101" y="277"/>
                  </a:lnTo>
                  <a:lnTo>
                    <a:pt x="105" y="279"/>
                  </a:lnTo>
                  <a:lnTo>
                    <a:pt x="111" y="282"/>
                  </a:lnTo>
                  <a:lnTo>
                    <a:pt x="114" y="283"/>
                  </a:lnTo>
                  <a:lnTo>
                    <a:pt x="118" y="281"/>
                  </a:lnTo>
                  <a:lnTo>
                    <a:pt x="121" y="278"/>
                  </a:lnTo>
                  <a:lnTo>
                    <a:pt x="125" y="272"/>
                  </a:lnTo>
                  <a:lnTo>
                    <a:pt x="132" y="269"/>
                  </a:lnTo>
                  <a:lnTo>
                    <a:pt x="137" y="268"/>
                  </a:lnTo>
                  <a:lnTo>
                    <a:pt x="142" y="268"/>
                  </a:lnTo>
                  <a:lnTo>
                    <a:pt x="145" y="265"/>
                  </a:lnTo>
                  <a:lnTo>
                    <a:pt x="145" y="259"/>
                  </a:lnTo>
                  <a:lnTo>
                    <a:pt x="144" y="250"/>
                  </a:lnTo>
                  <a:lnTo>
                    <a:pt x="139" y="241"/>
                  </a:lnTo>
                  <a:lnTo>
                    <a:pt x="139" y="240"/>
                  </a:lnTo>
                  <a:lnTo>
                    <a:pt x="145" y="239"/>
                  </a:lnTo>
                  <a:lnTo>
                    <a:pt x="147" y="236"/>
                  </a:lnTo>
                  <a:lnTo>
                    <a:pt x="145" y="230"/>
                  </a:lnTo>
                  <a:lnTo>
                    <a:pt x="142" y="227"/>
                  </a:lnTo>
                  <a:lnTo>
                    <a:pt x="140" y="226"/>
                  </a:lnTo>
                  <a:lnTo>
                    <a:pt x="129" y="231"/>
                  </a:lnTo>
                  <a:lnTo>
                    <a:pt x="124" y="237"/>
                  </a:lnTo>
                  <a:lnTo>
                    <a:pt x="121" y="241"/>
                  </a:lnTo>
                  <a:lnTo>
                    <a:pt x="118" y="242"/>
                  </a:lnTo>
                  <a:lnTo>
                    <a:pt x="106" y="237"/>
                  </a:lnTo>
                  <a:lnTo>
                    <a:pt x="102" y="237"/>
                  </a:lnTo>
                  <a:lnTo>
                    <a:pt x="97" y="236"/>
                  </a:lnTo>
                  <a:lnTo>
                    <a:pt x="90" y="238"/>
                  </a:lnTo>
                  <a:lnTo>
                    <a:pt x="82" y="238"/>
                  </a:lnTo>
                  <a:lnTo>
                    <a:pt x="74" y="236"/>
                  </a:lnTo>
                  <a:lnTo>
                    <a:pt x="71" y="233"/>
                  </a:lnTo>
                  <a:lnTo>
                    <a:pt x="70" y="222"/>
                  </a:lnTo>
                  <a:lnTo>
                    <a:pt x="71" y="220"/>
                  </a:lnTo>
                  <a:lnTo>
                    <a:pt x="75" y="219"/>
                  </a:lnTo>
                  <a:lnTo>
                    <a:pt x="81" y="219"/>
                  </a:lnTo>
                  <a:lnTo>
                    <a:pt x="83" y="217"/>
                  </a:lnTo>
                  <a:lnTo>
                    <a:pt x="77" y="214"/>
                  </a:lnTo>
                  <a:lnTo>
                    <a:pt x="66" y="209"/>
                  </a:lnTo>
                  <a:lnTo>
                    <a:pt x="58" y="206"/>
                  </a:lnTo>
                  <a:lnTo>
                    <a:pt x="50" y="203"/>
                  </a:lnTo>
                  <a:lnTo>
                    <a:pt x="52" y="201"/>
                  </a:lnTo>
                  <a:lnTo>
                    <a:pt x="56" y="198"/>
                  </a:lnTo>
                  <a:lnTo>
                    <a:pt x="66" y="194"/>
                  </a:lnTo>
                  <a:lnTo>
                    <a:pt x="73" y="190"/>
                  </a:lnTo>
                  <a:lnTo>
                    <a:pt x="79" y="186"/>
                  </a:lnTo>
                  <a:lnTo>
                    <a:pt x="85" y="181"/>
                  </a:lnTo>
                  <a:lnTo>
                    <a:pt x="91" y="178"/>
                  </a:lnTo>
                  <a:lnTo>
                    <a:pt x="99" y="174"/>
                  </a:lnTo>
                  <a:lnTo>
                    <a:pt x="108" y="175"/>
                  </a:lnTo>
                  <a:lnTo>
                    <a:pt x="107" y="183"/>
                  </a:lnTo>
                  <a:lnTo>
                    <a:pt x="107" y="187"/>
                  </a:lnTo>
                  <a:lnTo>
                    <a:pt x="113" y="190"/>
                  </a:lnTo>
                  <a:lnTo>
                    <a:pt x="121" y="191"/>
                  </a:lnTo>
                  <a:lnTo>
                    <a:pt x="127" y="191"/>
                  </a:lnTo>
                  <a:lnTo>
                    <a:pt x="131" y="189"/>
                  </a:lnTo>
                  <a:lnTo>
                    <a:pt x="136" y="186"/>
                  </a:lnTo>
                  <a:lnTo>
                    <a:pt x="139" y="181"/>
                  </a:lnTo>
                  <a:lnTo>
                    <a:pt x="141" y="180"/>
                  </a:lnTo>
                  <a:lnTo>
                    <a:pt x="145" y="181"/>
                  </a:lnTo>
                  <a:lnTo>
                    <a:pt x="150" y="183"/>
                  </a:lnTo>
                  <a:lnTo>
                    <a:pt x="156" y="182"/>
                  </a:lnTo>
                  <a:lnTo>
                    <a:pt x="157" y="177"/>
                  </a:lnTo>
                  <a:lnTo>
                    <a:pt x="157" y="175"/>
                  </a:lnTo>
                  <a:lnTo>
                    <a:pt x="153" y="174"/>
                  </a:lnTo>
                  <a:lnTo>
                    <a:pt x="141" y="169"/>
                  </a:lnTo>
                  <a:lnTo>
                    <a:pt x="134" y="169"/>
                  </a:lnTo>
                  <a:lnTo>
                    <a:pt x="132" y="157"/>
                  </a:lnTo>
                  <a:lnTo>
                    <a:pt x="123" y="155"/>
                  </a:lnTo>
                  <a:lnTo>
                    <a:pt x="118" y="154"/>
                  </a:lnTo>
                  <a:lnTo>
                    <a:pt x="108" y="153"/>
                  </a:lnTo>
                  <a:lnTo>
                    <a:pt x="107" y="145"/>
                  </a:lnTo>
                  <a:lnTo>
                    <a:pt x="105" y="140"/>
                  </a:lnTo>
                  <a:lnTo>
                    <a:pt x="98" y="133"/>
                  </a:lnTo>
                  <a:lnTo>
                    <a:pt x="95" y="131"/>
                  </a:lnTo>
                  <a:lnTo>
                    <a:pt x="79" y="120"/>
                  </a:lnTo>
                  <a:lnTo>
                    <a:pt x="68" y="112"/>
                  </a:lnTo>
                  <a:lnTo>
                    <a:pt x="70" y="109"/>
                  </a:lnTo>
                  <a:lnTo>
                    <a:pt x="75" y="103"/>
                  </a:lnTo>
                  <a:lnTo>
                    <a:pt x="75" y="95"/>
                  </a:lnTo>
                  <a:lnTo>
                    <a:pt x="88" y="94"/>
                  </a:lnTo>
                  <a:lnTo>
                    <a:pt x="93" y="93"/>
                  </a:lnTo>
                  <a:lnTo>
                    <a:pt x="104" y="88"/>
                  </a:lnTo>
                  <a:lnTo>
                    <a:pt x="109" y="82"/>
                  </a:lnTo>
                  <a:lnTo>
                    <a:pt x="111" y="72"/>
                  </a:lnTo>
                  <a:lnTo>
                    <a:pt x="116" y="62"/>
                  </a:lnTo>
                  <a:lnTo>
                    <a:pt x="120" y="53"/>
                  </a:lnTo>
                  <a:lnTo>
                    <a:pt x="124" y="46"/>
                  </a:lnTo>
                  <a:lnTo>
                    <a:pt x="129" y="42"/>
                  </a:lnTo>
                  <a:lnTo>
                    <a:pt x="135" y="40"/>
                  </a:lnTo>
                  <a:lnTo>
                    <a:pt x="142" y="36"/>
                  </a:lnTo>
                  <a:lnTo>
                    <a:pt x="148" y="36"/>
                  </a:lnTo>
                  <a:lnTo>
                    <a:pt x="159" y="37"/>
                  </a:lnTo>
                  <a:lnTo>
                    <a:pt x="159" y="33"/>
                  </a:lnTo>
                  <a:lnTo>
                    <a:pt x="159" y="30"/>
                  </a:lnTo>
                  <a:lnTo>
                    <a:pt x="154" y="23"/>
                  </a:lnTo>
                  <a:lnTo>
                    <a:pt x="154" y="19"/>
                  </a:lnTo>
                  <a:lnTo>
                    <a:pt x="165" y="18"/>
                  </a:lnTo>
                  <a:lnTo>
                    <a:pt x="172" y="18"/>
                  </a:lnTo>
                  <a:lnTo>
                    <a:pt x="178" y="18"/>
                  </a:lnTo>
                  <a:lnTo>
                    <a:pt x="186" y="15"/>
                  </a:lnTo>
                  <a:lnTo>
                    <a:pt x="192" y="7"/>
                  </a:lnTo>
                  <a:lnTo>
                    <a:pt x="198" y="0"/>
                  </a:lnTo>
                  <a:lnTo>
                    <a:pt x="203" y="0"/>
                  </a:lnTo>
                  <a:lnTo>
                    <a:pt x="205" y="0"/>
                  </a:lnTo>
                  <a:lnTo>
                    <a:pt x="209" y="5"/>
                  </a:lnTo>
                  <a:lnTo>
                    <a:pt x="210" y="8"/>
                  </a:lnTo>
                  <a:lnTo>
                    <a:pt x="208" y="10"/>
                  </a:lnTo>
                  <a:lnTo>
                    <a:pt x="208" y="17"/>
                  </a:lnTo>
                  <a:lnTo>
                    <a:pt x="214" y="19"/>
                  </a:lnTo>
                  <a:lnTo>
                    <a:pt x="216" y="20"/>
                  </a:lnTo>
                  <a:lnTo>
                    <a:pt x="220" y="15"/>
                  </a:lnTo>
                  <a:lnTo>
                    <a:pt x="221" y="11"/>
                  </a:lnTo>
                  <a:lnTo>
                    <a:pt x="229" y="14"/>
                  </a:lnTo>
                  <a:lnTo>
                    <a:pt x="238" y="15"/>
                  </a:lnTo>
                  <a:lnTo>
                    <a:pt x="245" y="16"/>
                  </a:lnTo>
                  <a:lnTo>
                    <a:pt x="249" y="16"/>
                  </a:lnTo>
                  <a:lnTo>
                    <a:pt x="253" y="21"/>
                  </a:lnTo>
                  <a:lnTo>
                    <a:pt x="255" y="26"/>
                  </a:lnTo>
                  <a:lnTo>
                    <a:pt x="260" y="32"/>
                  </a:lnTo>
                  <a:lnTo>
                    <a:pt x="263" y="34"/>
                  </a:lnTo>
                  <a:lnTo>
                    <a:pt x="265" y="32"/>
                  </a:lnTo>
                  <a:lnTo>
                    <a:pt x="273" y="34"/>
                  </a:lnTo>
                  <a:lnTo>
                    <a:pt x="280" y="35"/>
                  </a:lnTo>
                  <a:lnTo>
                    <a:pt x="289" y="34"/>
                  </a:lnTo>
                  <a:lnTo>
                    <a:pt x="297" y="32"/>
                  </a:lnTo>
                  <a:lnTo>
                    <a:pt x="304" y="34"/>
                  </a:lnTo>
                  <a:lnTo>
                    <a:pt x="312" y="39"/>
                  </a:lnTo>
                  <a:lnTo>
                    <a:pt x="318" y="40"/>
                  </a:lnTo>
                  <a:lnTo>
                    <a:pt x="338" y="43"/>
                  </a:lnTo>
                  <a:lnTo>
                    <a:pt x="345" y="46"/>
                  </a:lnTo>
                  <a:lnTo>
                    <a:pt x="350" y="49"/>
                  </a:lnTo>
                  <a:lnTo>
                    <a:pt x="361" y="48"/>
                  </a:lnTo>
                  <a:lnTo>
                    <a:pt x="375" y="45"/>
                  </a:lnTo>
                  <a:lnTo>
                    <a:pt x="382" y="49"/>
                  </a:lnTo>
                  <a:lnTo>
                    <a:pt x="396" y="63"/>
                  </a:lnTo>
                  <a:lnTo>
                    <a:pt x="403" y="68"/>
                  </a:lnTo>
                  <a:lnTo>
                    <a:pt x="405" y="68"/>
                  </a:lnTo>
                  <a:lnTo>
                    <a:pt x="405" y="76"/>
                  </a:lnTo>
                  <a:lnTo>
                    <a:pt x="405" y="123"/>
                  </a:lnTo>
                  <a:lnTo>
                    <a:pt x="406" y="158"/>
                  </a:lnTo>
                  <a:lnTo>
                    <a:pt x="406" y="192"/>
                  </a:lnTo>
                  <a:lnTo>
                    <a:pt x="406" y="232"/>
                  </a:lnTo>
                  <a:lnTo>
                    <a:pt x="406" y="261"/>
                  </a:lnTo>
                  <a:lnTo>
                    <a:pt x="406" y="317"/>
                  </a:lnTo>
                  <a:lnTo>
                    <a:pt x="406" y="344"/>
                  </a:lnTo>
                  <a:lnTo>
                    <a:pt x="407" y="356"/>
                  </a:lnTo>
                  <a:lnTo>
                    <a:pt x="408" y="360"/>
                  </a:lnTo>
                  <a:lnTo>
                    <a:pt x="413" y="360"/>
                  </a:lnTo>
                  <a:lnTo>
                    <a:pt x="427" y="359"/>
                  </a:lnTo>
                  <a:lnTo>
                    <a:pt x="432" y="360"/>
                  </a:lnTo>
                  <a:lnTo>
                    <a:pt x="433" y="364"/>
                  </a:lnTo>
                  <a:lnTo>
                    <a:pt x="435" y="369"/>
                  </a:lnTo>
                  <a:lnTo>
                    <a:pt x="436" y="372"/>
                  </a:lnTo>
                  <a:lnTo>
                    <a:pt x="449" y="388"/>
                  </a:lnTo>
                  <a:lnTo>
                    <a:pt x="455" y="395"/>
                  </a:lnTo>
                  <a:lnTo>
                    <a:pt x="456" y="391"/>
                  </a:lnTo>
                  <a:lnTo>
                    <a:pt x="461" y="389"/>
                  </a:lnTo>
                  <a:lnTo>
                    <a:pt x="468" y="382"/>
                  </a:lnTo>
                  <a:lnTo>
                    <a:pt x="473" y="376"/>
                  </a:lnTo>
                  <a:lnTo>
                    <a:pt x="476" y="374"/>
                  </a:lnTo>
                  <a:lnTo>
                    <a:pt x="481" y="375"/>
                  </a:lnTo>
                  <a:lnTo>
                    <a:pt x="483" y="378"/>
                  </a:lnTo>
                  <a:lnTo>
                    <a:pt x="484" y="383"/>
                  </a:lnTo>
                  <a:lnTo>
                    <a:pt x="487" y="387"/>
                  </a:lnTo>
                  <a:lnTo>
                    <a:pt x="499" y="400"/>
                  </a:lnTo>
                  <a:lnTo>
                    <a:pt x="504" y="407"/>
                  </a:lnTo>
                  <a:lnTo>
                    <a:pt x="514" y="426"/>
                  </a:lnTo>
                  <a:lnTo>
                    <a:pt x="524" y="447"/>
                  </a:lnTo>
                  <a:lnTo>
                    <a:pt x="527" y="451"/>
                  </a:lnTo>
                  <a:lnTo>
                    <a:pt x="528" y="451"/>
                  </a:lnTo>
                  <a:lnTo>
                    <a:pt x="534" y="455"/>
                  </a:lnTo>
                  <a:lnTo>
                    <a:pt x="546" y="463"/>
                  </a:lnTo>
                  <a:lnTo>
                    <a:pt x="548" y="465"/>
                  </a:lnTo>
                  <a:lnTo>
                    <a:pt x="547" y="474"/>
                  </a:lnTo>
                  <a:lnTo>
                    <a:pt x="549" y="482"/>
                  </a:lnTo>
                  <a:close/>
                  <a:moveTo>
                    <a:pt x="203" y="1078"/>
                  </a:moveTo>
                  <a:lnTo>
                    <a:pt x="202" y="1077"/>
                  </a:lnTo>
                  <a:lnTo>
                    <a:pt x="201" y="1075"/>
                  </a:lnTo>
                  <a:lnTo>
                    <a:pt x="199" y="1073"/>
                  </a:lnTo>
                  <a:lnTo>
                    <a:pt x="199" y="1071"/>
                  </a:lnTo>
                  <a:lnTo>
                    <a:pt x="200" y="1071"/>
                  </a:lnTo>
                  <a:lnTo>
                    <a:pt x="202" y="1072"/>
                  </a:lnTo>
                  <a:lnTo>
                    <a:pt x="204" y="1072"/>
                  </a:lnTo>
                  <a:lnTo>
                    <a:pt x="208" y="1075"/>
                  </a:lnTo>
                  <a:lnTo>
                    <a:pt x="208" y="1076"/>
                  </a:lnTo>
                  <a:lnTo>
                    <a:pt x="206" y="1077"/>
                  </a:lnTo>
                  <a:lnTo>
                    <a:pt x="203" y="1078"/>
                  </a:lnTo>
                  <a:close/>
                  <a:moveTo>
                    <a:pt x="186" y="1068"/>
                  </a:moveTo>
                  <a:lnTo>
                    <a:pt x="185" y="1068"/>
                  </a:lnTo>
                  <a:lnTo>
                    <a:pt x="183" y="1069"/>
                  </a:lnTo>
                  <a:lnTo>
                    <a:pt x="183" y="1068"/>
                  </a:lnTo>
                  <a:lnTo>
                    <a:pt x="181" y="1068"/>
                  </a:lnTo>
                  <a:lnTo>
                    <a:pt x="180" y="1068"/>
                  </a:lnTo>
                  <a:lnTo>
                    <a:pt x="178" y="1066"/>
                  </a:lnTo>
                  <a:lnTo>
                    <a:pt x="177" y="1064"/>
                  </a:lnTo>
                  <a:lnTo>
                    <a:pt x="179" y="1064"/>
                  </a:lnTo>
                  <a:lnTo>
                    <a:pt x="181" y="1062"/>
                  </a:lnTo>
                  <a:lnTo>
                    <a:pt x="182" y="1064"/>
                  </a:lnTo>
                  <a:lnTo>
                    <a:pt x="183" y="1065"/>
                  </a:lnTo>
                  <a:lnTo>
                    <a:pt x="184" y="1066"/>
                  </a:lnTo>
                  <a:lnTo>
                    <a:pt x="186" y="1068"/>
                  </a:lnTo>
                  <a:close/>
                  <a:moveTo>
                    <a:pt x="717" y="903"/>
                  </a:moveTo>
                  <a:lnTo>
                    <a:pt x="717" y="902"/>
                  </a:lnTo>
                  <a:lnTo>
                    <a:pt x="715" y="900"/>
                  </a:lnTo>
                  <a:lnTo>
                    <a:pt x="715" y="899"/>
                  </a:lnTo>
                  <a:lnTo>
                    <a:pt x="715" y="900"/>
                  </a:lnTo>
                  <a:lnTo>
                    <a:pt x="715" y="900"/>
                  </a:lnTo>
                  <a:lnTo>
                    <a:pt x="715" y="899"/>
                  </a:lnTo>
                  <a:lnTo>
                    <a:pt x="715" y="895"/>
                  </a:lnTo>
                  <a:lnTo>
                    <a:pt x="712" y="890"/>
                  </a:lnTo>
                  <a:lnTo>
                    <a:pt x="710" y="887"/>
                  </a:lnTo>
                  <a:lnTo>
                    <a:pt x="706" y="884"/>
                  </a:lnTo>
                  <a:lnTo>
                    <a:pt x="703" y="883"/>
                  </a:lnTo>
                  <a:lnTo>
                    <a:pt x="702" y="882"/>
                  </a:lnTo>
                  <a:lnTo>
                    <a:pt x="702" y="882"/>
                  </a:lnTo>
                  <a:lnTo>
                    <a:pt x="702" y="883"/>
                  </a:lnTo>
                  <a:lnTo>
                    <a:pt x="701" y="883"/>
                  </a:lnTo>
                  <a:lnTo>
                    <a:pt x="700" y="883"/>
                  </a:lnTo>
                  <a:lnTo>
                    <a:pt x="699" y="882"/>
                  </a:lnTo>
                  <a:lnTo>
                    <a:pt x="700" y="882"/>
                  </a:lnTo>
                  <a:lnTo>
                    <a:pt x="699" y="880"/>
                  </a:lnTo>
                  <a:lnTo>
                    <a:pt x="698" y="878"/>
                  </a:lnTo>
                  <a:lnTo>
                    <a:pt x="696" y="878"/>
                  </a:lnTo>
                  <a:lnTo>
                    <a:pt x="694" y="879"/>
                  </a:lnTo>
                  <a:lnTo>
                    <a:pt x="689" y="876"/>
                  </a:lnTo>
                  <a:lnTo>
                    <a:pt x="687" y="874"/>
                  </a:lnTo>
                  <a:lnTo>
                    <a:pt x="685" y="872"/>
                  </a:lnTo>
                  <a:lnTo>
                    <a:pt x="683" y="873"/>
                  </a:lnTo>
                  <a:lnTo>
                    <a:pt x="677" y="871"/>
                  </a:lnTo>
                  <a:lnTo>
                    <a:pt x="673" y="872"/>
                  </a:lnTo>
                  <a:lnTo>
                    <a:pt x="672" y="870"/>
                  </a:lnTo>
                  <a:lnTo>
                    <a:pt x="671" y="870"/>
                  </a:lnTo>
                  <a:lnTo>
                    <a:pt x="670" y="869"/>
                  </a:lnTo>
                  <a:lnTo>
                    <a:pt x="671" y="868"/>
                  </a:lnTo>
                  <a:lnTo>
                    <a:pt x="670" y="864"/>
                  </a:lnTo>
                  <a:lnTo>
                    <a:pt x="671" y="861"/>
                  </a:lnTo>
                  <a:lnTo>
                    <a:pt x="670" y="860"/>
                  </a:lnTo>
                  <a:lnTo>
                    <a:pt x="669" y="860"/>
                  </a:lnTo>
                  <a:lnTo>
                    <a:pt x="667" y="859"/>
                  </a:lnTo>
                  <a:lnTo>
                    <a:pt x="667" y="859"/>
                  </a:lnTo>
                  <a:lnTo>
                    <a:pt x="668" y="858"/>
                  </a:lnTo>
                  <a:lnTo>
                    <a:pt x="668" y="856"/>
                  </a:lnTo>
                  <a:lnTo>
                    <a:pt x="666" y="855"/>
                  </a:lnTo>
                  <a:lnTo>
                    <a:pt x="664" y="853"/>
                  </a:lnTo>
                  <a:lnTo>
                    <a:pt x="662" y="851"/>
                  </a:lnTo>
                  <a:lnTo>
                    <a:pt x="660" y="847"/>
                  </a:lnTo>
                  <a:lnTo>
                    <a:pt x="658" y="846"/>
                  </a:lnTo>
                  <a:lnTo>
                    <a:pt x="657" y="844"/>
                  </a:lnTo>
                  <a:lnTo>
                    <a:pt x="655" y="842"/>
                  </a:lnTo>
                  <a:lnTo>
                    <a:pt x="654" y="838"/>
                  </a:lnTo>
                  <a:lnTo>
                    <a:pt x="654" y="837"/>
                  </a:lnTo>
                  <a:lnTo>
                    <a:pt x="655" y="837"/>
                  </a:lnTo>
                  <a:lnTo>
                    <a:pt x="656" y="836"/>
                  </a:lnTo>
                  <a:lnTo>
                    <a:pt x="656" y="833"/>
                  </a:lnTo>
                  <a:lnTo>
                    <a:pt x="655" y="831"/>
                  </a:lnTo>
                  <a:lnTo>
                    <a:pt x="654" y="831"/>
                  </a:lnTo>
                  <a:lnTo>
                    <a:pt x="652" y="831"/>
                  </a:lnTo>
                  <a:lnTo>
                    <a:pt x="651" y="831"/>
                  </a:lnTo>
                  <a:lnTo>
                    <a:pt x="647" y="827"/>
                  </a:lnTo>
                  <a:lnTo>
                    <a:pt x="648" y="825"/>
                  </a:lnTo>
                  <a:lnTo>
                    <a:pt x="647" y="823"/>
                  </a:lnTo>
                  <a:lnTo>
                    <a:pt x="646" y="822"/>
                  </a:lnTo>
                  <a:lnTo>
                    <a:pt x="646" y="819"/>
                  </a:lnTo>
                  <a:lnTo>
                    <a:pt x="646" y="818"/>
                  </a:lnTo>
                  <a:lnTo>
                    <a:pt x="647" y="817"/>
                  </a:lnTo>
                  <a:lnTo>
                    <a:pt x="648" y="818"/>
                  </a:lnTo>
                  <a:lnTo>
                    <a:pt x="648" y="819"/>
                  </a:lnTo>
                  <a:lnTo>
                    <a:pt x="648" y="819"/>
                  </a:lnTo>
                  <a:lnTo>
                    <a:pt x="649" y="821"/>
                  </a:lnTo>
                  <a:lnTo>
                    <a:pt x="650" y="822"/>
                  </a:lnTo>
                  <a:lnTo>
                    <a:pt x="651" y="823"/>
                  </a:lnTo>
                  <a:lnTo>
                    <a:pt x="652" y="823"/>
                  </a:lnTo>
                  <a:lnTo>
                    <a:pt x="650" y="819"/>
                  </a:lnTo>
                  <a:lnTo>
                    <a:pt x="649" y="817"/>
                  </a:lnTo>
                  <a:lnTo>
                    <a:pt x="649" y="816"/>
                  </a:lnTo>
                  <a:lnTo>
                    <a:pt x="648" y="815"/>
                  </a:lnTo>
                  <a:lnTo>
                    <a:pt x="647" y="812"/>
                  </a:lnTo>
                  <a:lnTo>
                    <a:pt x="646" y="813"/>
                  </a:lnTo>
                  <a:lnTo>
                    <a:pt x="646" y="813"/>
                  </a:lnTo>
                  <a:lnTo>
                    <a:pt x="647" y="817"/>
                  </a:lnTo>
                  <a:lnTo>
                    <a:pt x="646" y="817"/>
                  </a:lnTo>
                  <a:lnTo>
                    <a:pt x="645" y="816"/>
                  </a:lnTo>
                  <a:lnTo>
                    <a:pt x="644" y="816"/>
                  </a:lnTo>
                  <a:lnTo>
                    <a:pt x="641" y="813"/>
                  </a:lnTo>
                  <a:lnTo>
                    <a:pt x="640" y="810"/>
                  </a:lnTo>
                  <a:lnTo>
                    <a:pt x="638" y="806"/>
                  </a:lnTo>
                  <a:lnTo>
                    <a:pt x="635" y="803"/>
                  </a:lnTo>
                  <a:lnTo>
                    <a:pt x="631" y="799"/>
                  </a:lnTo>
                  <a:lnTo>
                    <a:pt x="630" y="798"/>
                  </a:lnTo>
                  <a:lnTo>
                    <a:pt x="631" y="797"/>
                  </a:lnTo>
                  <a:lnTo>
                    <a:pt x="629" y="792"/>
                  </a:lnTo>
                  <a:lnTo>
                    <a:pt x="630" y="788"/>
                  </a:lnTo>
                  <a:lnTo>
                    <a:pt x="628" y="784"/>
                  </a:lnTo>
                  <a:lnTo>
                    <a:pt x="627" y="782"/>
                  </a:lnTo>
                  <a:lnTo>
                    <a:pt x="623" y="776"/>
                  </a:lnTo>
                  <a:lnTo>
                    <a:pt x="622" y="774"/>
                  </a:lnTo>
                  <a:lnTo>
                    <a:pt x="623" y="769"/>
                  </a:lnTo>
                  <a:lnTo>
                    <a:pt x="624" y="764"/>
                  </a:lnTo>
                  <a:lnTo>
                    <a:pt x="625" y="761"/>
                  </a:lnTo>
                  <a:lnTo>
                    <a:pt x="625" y="754"/>
                  </a:lnTo>
                  <a:lnTo>
                    <a:pt x="624" y="748"/>
                  </a:lnTo>
                  <a:lnTo>
                    <a:pt x="620" y="736"/>
                  </a:lnTo>
                  <a:lnTo>
                    <a:pt x="619" y="729"/>
                  </a:lnTo>
                  <a:lnTo>
                    <a:pt x="620" y="727"/>
                  </a:lnTo>
                  <a:lnTo>
                    <a:pt x="621" y="724"/>
                  </a:lnTo>
                  <a:lnTo>
                    <a:pt x="624" y="723"/>
                  </a:lnTo>
                  <a:lnTo>
                    <a:pt x="626" y="717"/>
                  </a:lnTo>
                  <a:lnTo>
                    <a:pt x="624" y="712"/>
                  </a:lnTo>
                  <a:lnTo>
                    <a:pt x="623" y="710"/>
                  </a:lnTo>
                  <a:lnTo>
                    <a:pt x="626" y="697"/>
                  </a:lnTo>
                  <a:lnTo>
                    <a:pt x="627" y="692"/>
                  </a:lnTo>
                  <a:lnTo>
                    <a:pt x="627" y="687"/>
                  </a:lnTo>
                  <a:lnTo>
                    <a:pt x="628" y="680"/>
                  </a:lnTo>
                  <a:lnTo>
                    <a:pt x="628" y="679"/>
                  </a:lnTo>
                  <a:lnTo>
                    <a:pt x="627" y="677"/>
                  </a:lnTo>
                  <a:lnTo>
                    <a:pt x="627" y="675"/>
                  </a:lnTo>
                  <a:lnTo>
                    <a:pt x="627" y="674"/>
                  </a:lnTo>
                  <a:lnTo>
                    <a:pt x="628" y="673"/>
                  </a:lnTo>
                  <a:lnTo>
                    <a:pt x="627" y="672"/>
                  </a:lnTo>
                  <a:lnTo>
                    <a:pt x="627" y="670"/>
                  </a:lnTo>
                  <a:lnTo>
                    <a:pt x="627" y="669"/>
                  </a:lnTo>
                  <a:lnTo>
                    <a:pt x="627" y="669"/>
                  </a:lnTo>
                  <a:lnTo>
                    <a:pt x="629" y="669"/>
                  </a:lnTo>
                  <a:lnTo>
                    <a:pt x="630" y="669"/>
                  </a:lnTo>
                  <a:lnTo>
                    <a:pt x="630" y="669"/>
                  </a:lnTo>
                  <a:lnTo>
                    <a:pt x="629" y="669"/>
                  </a:lnTo>
                  <a:lnTo>
                    <a:pt x="625" y="667"/>
                  </a:lnTo>
                  <a:lnTo>
                    <a:pt x="626" y="661"/>
                  </a:lnTo>
                  <a:lnTo>
                    <a:pt x="625" y="659"/>
                  </a:lnTo>
                  <a:lnTo>
                    <a:pt x="625" y="656"/>
                  </a:lnTo>
                  <a:lnTo>
                    <a:pt x="629" y="654"/>
                  </a:lnTo>
                  <a:lnTo>
                    <a:pt x="627" y="654"/>
                  </a:lnTo>
                  <a:lnTo>
                    <a:pt x="626" y="653"/>
                  </a:lnTo>
                  <a:lnTo>
                    <a:pt x="625" y="653"/>
                  </a:lnTo>
                  <a:lnTo>
                    <a:pt x="625" y="653"/>
                  </a:lnTo>
                  <a:lnTo>
                    <a:pt x="625" y="654"/>
                  </a:lnTo>
                  <a:lnTo>
                    <a:pt x="624" y="655"/>
                  </a:lnTo>
                  <a:lnTo>
                    <a:pt x="624" y="646"/>
                  </a:lnTo>
                  <a:lnTo>
                    <a:pt x="618" y="633"/>
                  </a:lnTo>
                  <a:lnTo>
                    <a:pt x="618" y="629"/>
                  </a:lnTo>
                  <a:lnTo>
                    <a:pt x="619" y="628"/>
                  </a:lnTo>
                  <a:lnTo>
                    <a:pt x="622" y="629"/>
                  </a:lnTo>
                  <a:lnTo>
                    <a:pt x="626" y="631"/>
                  </a:lnTo>
                  <a:lnTo>
                    <a:pt x="630" y="632"/>
                  </a:lnTo>
                  <a:lnTo>
                    <a:pt x="634" y="632"/>
                  </a:lnTo>
                  <a:lnTo>
                    <a:pt x="637" y="632"/>
                  </a:lnTo>
                  <a:lnTo>
                    <a:pt x="640" y="633"/>
                  </a:lnTo>
                  <a:lnTo>
                    <a:pt x="643" y="635"/>
                  </a:lnTo>
                  <a:lnTo>
                    <a:pt x="643" y="639"/>
                  </a:lnTo>
                  <a:lnTo>
                    <a:pt x="641" y="643"/>
                  </a:lnTo>
                  <a:lnTo>
                    <a:pt x="638" y="646"/>
                  </a:lnTo>
                  <a:lnTo>
                    <a:pt x="642" y="647"/>
                  </a:lnTo>
                  <a:lnTo>
                    <a:pt x="642" y="649"/>
                  </a:lnTo>
                  <a:lnTo>
                    <a:pt x="644" y="650"/>
                  </a:lnTo>
                  <a:lnTo>
                    <a:pt x="644" y="648"/>
                  </a:lnTo>
                  <a:lnTo>
                    <a:pt x="645" y="646"/>
                  </a:lnTo>
                  <a:lnTo>
                    <a:pt x="648" y="643"/>
                  </a:lnTo>
                  <a:lnTo>
                    <a:pt x="649" y="638"/>
                  </a:lnTo>
                  <a:lnTo>
                    <a:pt x="649" y="634"/>
                  </a:lnTo>
                  <a:lnTo>
                    <a:pt x="649" y="631"/>
                  </a:lnTo>
                  <a:lnTo>
                    <a:pt x="647" y="622"/>
                  </a:lnTo>
                  <a:lnTo>
                    <a:pt x="646" y="619"/>
                  </a:lnTo>
                  <a:lnTo>
                    <a:pt x="642" y="615"/>
                  </a:lnTo>
                  <a:lnTo>
                    <a:pt x="643" y="615"/>
                  </a:lnTo>
                  <a:lnTo>
                    <a:pt x="658" y="615"/>
                  </a:lnTo>
                  <a:lnTo>
                    <a:pt x="666" y="615"/>
                  </a:lnTo>
                  <a:lnTo>
                    <a:pt x="693" y="615"/>
                  </a:lnTo>
                  <a:lnTo>
                    <a:pt x="716" y="615"/>
                  </a:lnTo>
                  <a:lnTo>
                    <a:pt x="733" y="615"/>
                  </a:lnTo>
                  <a:lnTo>
                    <a:pt x="743" y="615"/>
                  </a:lnTo>
                  <a:lnTo>
                    <a:pt x="773" y="615"/>
                  </a:lnTo>
                  <a:lnTo>
                    <a:pt x="777" y="615"/>
                  </a:lnTo>
                  <a:lnTo>
                    <a:pt x="802" y="615"/>
                  </a:lnTo>
                  <a:lnTo>
                    <a:pt x="808" y="615"/>
                  </a:lnTo>
                  <a:lnTo>
                    <a:pt x="831" y="615"/>
                  </a:lnTo>
                  <a:lnTo>
                    <a:pt x="836" y="615"/>
                  </a:lnTo>
                  <a:lnTo>
                    <a:pt x="857" y="615"/>
                  </a:lnTo>
                  <a:lnTo>
                    <a:pt x="886" y="615"/>
                  </a:lnTo>
                  <a:lnTo>
                    <a:pt x="889" y="615"/>
                  </a:lnTo>
                  <a:lnTo>
                    <a:pt x="906" y="615"/>
                  </a:lnTo>
                  <a:lnTo>
                    <a:pt x="919" y="615"/>
                  </a:lnTo>
                  <a:lnTo>
                    <a:pt x="935" y="615"/>
                  </a:lnTo>
                  <a:lnTo>
                    <a:pt x="952" y="615"/>
                  </a:lnTo>
                  <a:lnTo>
                    <a:pt x="965" y="615"/>
                  </a:lnTo>
                  <a:lnTo>
                    <a:pt x="973" y="615"/>
                  </a:lnTo>
                  <a:lnTo>
                    <a:pt x="989" y="615"/>
                  </a:lnTo>
                  <a:lnTo>
                    <a:pt x="1005" y="615"/>
                  </a:lnTo>
                  <a:lnTo>
                    <a:pt x="1009" y="615"/>
                  </a:lnTo>
                  <a:lnTo>
                    <a:pt x="1006" y="610"/>
                  </a:lnTo>
                  <a:lnTo>
                    <a:pt x="1006" y="607"/>
                  </a:lnTo>
                  <a:lnTo>
                    <a:pt x="1009" y="606"/>
                  </a:lnTo>
                  <a:lnTo>
                    <a:pt x="1014" y="613"/>
                  </a:lnTo>
                  <a:lnTo>
                    <a:pt x="1016" y="616"/>
                  </a:lnTo>
                  <a:lnTo>
                    <a:pt x="1018" y="621"/>
                  </a:lnTo>
                  <a:lnTo>
                    <a:pt x="1023" y="624"/>
                  </a:lnTo>
                  <a:lnTo>
                    <a:pt x="1026" y="624"/>
                  </a:lnTo>
                  <a:lnTo>
                    <a:pt x="1035" y="626"/>
                  </a:lnTo>
                  <a:lnTo>
                    <a:pt x="1035" y="627"/>
                  </a:lnTo>
                  <a:lnTo>
                    <a:pt x="1036" y="627"/>
                  </a:lnTo>
                  <a:lnTo>
                    <a:pt x="1038" y="631"/>
                  </a:lnTo>
                  <a:lnTo>
                    <a:pt x="1039" y="629"/>
                  </a:lnTo>
                  <a:lnTo>
                    <a:pt x="1042" y="629"/>
                  </a:lnTo>
                  <a:lnTo>
                    <a:pt x="1044" y="632"/>
                  </a:lnTo>
                  <a:lnTo>
                    <a:pt x="1047" y="633"/>
                  </a:lnTo>
                  <a:lnTo>
                    <a:pt x="1047" y="634"/>
                  </a:lnTo>
                  <a:lnTo>
                    <a:pt x="1050" y="635"/>
                  </a:lnTo>
                  <a:lnTo>
                    <a:pt x="1053" y="634"/>
                  </a:lnTo>
                  <a:lnTo>
                    <a:pt x="1054" y="633"/>
                  </a:lnTo>
                  <a:lnTo>
                    <a:pt x="1057" y="631"/>
                  </a:lnTo>
                  <a:lnTo>
                    <a:pt x="1059" y="631"/>
                  </a:lnTo>
                  <a:lnTo>
                    <a:pt x="1059" y="633"/>
                  </a:lnTo>
                  <a:lnTo>
                    <a:pt x="1060" y="634"/>
                  </a:lnTo>
                  <a:lnTo>
                    <a:pt x="1066" y="634"/>
                  </a:lnTo>
                  <a:lnTo>
                    <a:pt x="1068" y="634"/>
                  </a:lnTo>
                  <a:lnTo>
                    <a:pt x="1069" y="635"/>
                  </a:lnTo>
                  <a:lnTo>
                    <a:pt x="1070" y="636"/>
                  </a:lnTo>
                  <a:lnTo>
                    <a:pt x="1074" y="636"/>
                  </a:lnTo>
                  <a:lnTo>
                    <a:pt x="1078" y="637"/>
                  </a:lnTo>
                  <a:lnTo>
                    <a:pt x="1086" y="631"/>
                  </a:lnTo>
                  <a:lnTo>
                    <a:pt x="1091" y="630"/>
                  </a:lnTo>
                  <a:lnTo>
                    <a:pt x="1096" y="632"/>
                  </a:lnTo>
                  <a:lnTo>
                    <a:pt x="1102" y="635"/>
                  </a:lnTo>
                  <a:lnTo>
                    <a:pt x="1125" y="649"/>
                  </a:lnTo>
                  <a:lnTo>
                    <a:pt x="1138" y="658"/>
                  </a:lnTo>
                  <a:lnTo>
                    <a:pt x="1138" y="662"/>
                  </a:lnTo>
                  <a:lnTo>
                    <a:pt x="1141" y="666"/>
                  </a:lnTo>
                  <a:lnTo>
                    <a:pt x="1144" y="666"/>
                  </a:lnTo>
                  <a:lnTo>
                    <a:pt x="1146" y="667"/>
                  </a:lnTo>
                  <a:lnTo>
                    <a:pt x="1147" y="669"/>
                  </a:lnTo>
                  <a:lnTo>
                    <a:pt x="1152" y="671"/>
                  </a:lnTo>
                  <a:lnTo>
                    <a:pt x="1154" y="673"/>
                  </a:lnTo>
                  <a:lnTo>
                    <a:pt x="1153" y="675"/>
                  </a:lnTo>
                  <a:lnTo>
                    <a:pt x="1155" y="678"/>
                  </a:lnTo>
                  <a:lnTo>
                    <a:pt x="1170" y="687"/>
                  </a:lnTo>
                  <a:lnTo>
                    <a:pt x="1175" y="713"/>
                  </a:lnTo>
                  <a:lnTo>
                    <a:pt x="1175" y="717"/>
                  </a:lnTo>
                  <a:lnTo>
                    <a:pt x="1175" y="724"/>
                  </a:lnTo>
                  <a:lnTo>
                    <a:pt x="1173" y="728"/>
                  </a:lnTo>
                  <a:lnTo>
                    <a:pt x="1171" y="733"/>
                  </a:lnTo>
                  <a:lnTo>
                    <a:pt x="1170" y="736"/>
                  </a:lnTo>
                  <a:lnTo>
                    <a:pt x="1167" y="738"/>
                  </a:lnTo>
                  <a:lnTo>
                    <a:pt x="1163" y="742"/>
                  </a:lnTo>
                  <a:lnTo>
                    <a:pt x="1162" y="744"/>
                  </a:lnTo>
                  <a:lnTo>
                    <a:pt x="1162" y="747"/>
                  </a:lnTo>
                  <a:lnTo>
                    <a:pt x="1165" y="750"/>
                  </a:lnTo>
                  <a:lnTo>
                    <a:pt x="1168" y="751"/>
                  </a:lnTo>
                  <a:lnTo>
                    <a:pt x="1171" y="752"/>
                  </a:lnTo>
                  <a:lnTo>
                    <a:pt x="1174" y="751"/>
                  </a:lnTo>
                  <a:lnTo>
                    <a:pt x="1180" y="747"/>
                  </a:lnTo>
                  <a:lnTo>
                    <a:pt x="1185" y="744"/>
                  </a:lnTo>
                  <a:lnTo>
                    <a:pt x="1190" y="741"/>
                  </a:lnTo>
                  <a:lnTo>
                    <a:pt x="1196" y="741"/>
                  </a:lnTo>
                  <a:lnTo>
                    <a:pt x="1201" y="739"/>
                  </a:lnTo>
                  <a:lnTo>
                    <a:pt x="1210" y="736"/>
                  </a:lnTo>
                  <a:lnTo>
                    <a:pt x="1215" y="733"/>
                  </a:lnTo>
                  <a:lnTo>
                    <a:pt x="1215" y="730"/>
                  </a:lnTo>
                  <a:lnTo>
                    <a:pt x="1214" y="726"/>
                  </a:lnTo>
                  <a:lnTo>
                    <a:pt x="1214" y="723"/>
                  </a:lnTo>
                  <a:lnTo>
                    <a:pt x="1215" y="720"/>
                  </a:lnTo>
                  <a:lnTo>
                    <a:pt x="1218" y="718"/>
                  </a:lnTo>
                  <a:lnTo>
                    <a:pt x="1223" y="718"/>
                  </a:lnTo>
                  <a:lnTo>
                    <a:pt x="1230" y="718"/>
                  </a:lnTo>
                  <a:lnTo>
                    <a:pt x="1237" y="719"/>
                  </a:lnTo>
                  <a:lnTo>
                    <a:pt x="1244" y="717"/>
                  </a:lnTo>
                  <a:lnTo>
                    <a:pt x="1246" y="715"/>
                  </a:lnTo>
                  <a:lnTo>
                    <a:pt x="1248" y="711"/>
                  </a:lnTo>
                  <a:lnTo>
                    <a:pt x="1248" y="708"/>
                  </a:lnTo>
                  <a:lnTo>
                    <a:pt x="1252" y="706"/>
                  </a:lnTo>
                  <a:lnTo>
                    <a:pt x="1262" y="699"/>
                  </a:lnTo>
                  <a:lnTo>
                    <a:pt x="1265" y="697"/>
                  </a:lnTo>
                  <a:lnTo>
                    <a:pt x="1271" y="693"/>
                  </a:lnTo>
                  <a:lnTo>
                    <a:pt x="1281" y="693"/>
                  </a:lnTo>
                  <a:lnTo>
                    <a:pt x="1296" y="693"/>
                  </a:lnTo>
                  <a:lnTo>
                    <a:pt x="1307" y="693"/>
                  </a:lnTo>
                  <a:lnTo>
                    <a:pt x="1313" y="694"/>
                  </a:lnTo>
                  <a:lnTo>
                    <a:pt x="1314" y="690"/>
                  </a:lnTo>
                  <a:lnTo>
                    <a:pt x="1316" y="687"/>
                  </a:lnTo>
                  <a:lnTo>
                    <a:pt x="1319" y="686"/>
                  </a:lnTo>
                  <a:lnTo>
                    <a:pt x="1326" y="687"/>
                  </a:lnTo>
                  <a:lnTo>
                    <a:pt x="1332" y="675"/>
                  </a:lnTo>
                  <a:lnTo>
                    <a:pt x="1339" y="656"/>
                  </a:lnTo>
                  <a:lnTo>
                    <a:pt x="1342" y="651"/>
                  </a:lnTo>
                  <a:lnTo>
                    <a:pt x="1345" y="646"/>
                  </a:lnTo>
                  <a:lnTo>
                    <a:pt x="1347" y="647"/>
                  </a:lnTo>
                  <a:lnTo>
                    <a:pt x="1350" y="650"/>
                  </a:lnTo>
                  <a:lnTo>
                    <a:pt x="1353" y="651"/>
                  </a:lnTo>
                  <a:lnTo>
                    <a:pt x="1355" y="649"/>
                  </a:lnTo>
                  <a:lnTo>
                    <a:pt x="1359" y="649"/>
                  </a:lnTo>
                  <a:lnTo>
                    <a:pt x="1362" y="652"/>
                  </a:lnTo>
                  <a:lnTo>
                    <a:pt x="1363" y="654"/>
                  </a:lnTo>
                  <a:lnTo>
                    <a:pt x="1365" y="678"/>
                  </a:lnTo>
                  <a:lnTo>
                    <a:pt x="1365" y="680"/>
                  </a:lnTo>
                  <a:lnTo>
                    <a:pt x="1368" y="682"/>
                  </a:lnTo>
                  <a:lnTo>
                    <a:pt x="1369" y="682"/>
                  </a:lnTo>
                  <a:lnTo>
                    <a:pt x="1370" y="684"/>
                  </a:lnTo>
                  <a:lnTo>
                    <a:pt x="1369" y="684"/>
                  </a:lnTo>
                  <a:lnTo>
                    <a:pt x="1369" y="686"/>
                  </a:lnTo>
                  <a:lnTo>
                    <a:pt x="1368" y="687"/>
                  </a:lnTo>
                  <a:lnTo>
                    <a:pt x="1369" y="689"/>
                  </a:lnTo>
                  <a:lnTo>
                    <a:pt x="1370" y="688"/>
                  </a:lnTo>
                  <a:lnTo>
                    <a:pt x="1372" y="692"/>
                  </a:lnTo>
                  <a:lnTo>
                    <a:pt x="1371" y="694"/>
                  </a:lnTo>
                  <a:lnTo>
                    <a:pt x="1372" y="694"/>
                  </a:lnTo>
                  <a:lnTo>
                    <a:pt x="1373" y="695"/>
                  </a:lnTo>
                  <a:lnTo>
                    <a:pt x="1370" y="698"/>
                  </a:lnTo>
                  <a:lnTo>
                    <a:pt x="1367" y="699"/>
                  </a:lnTo>
                  <a:lnTo>
                    <a:pt x="1365" y="698"/>
                  </a:lnTo>
                  <a:lnTo>
                    <a:pt x="1365" y="700"/>
                  </a:lnTo>
                  <a:lnTo>
                    <a:pt x="1365" y="700"/>
                  </a:lnTo>
                  <a:lnTo>
                    <a:pt x="1364" y="700"/>
                  </a:lnTo>
                  <a:lnTo>
                    <a:pt x="1363" y="699"/>
                  </a:lnTo>
                  <a:lnTo>
                    <a:pt x="1361" y="700"/>
                  </a:lnTo>
                  <a:lnTo>
                    <a:pt x="1360" y="702"/>
                  </a:lnTo>
                  <a:lnTo>
                    <a:pt x="1360" y="702"/>
                  </a:lnTo>
                  <a:lnTo>
                    <a:pt x="1359" y="703"/>
                  </a:lnTo>
                  <a:lnTo>
                    <a:pt x="1357" y="701"/>
                  </a:lnTo>
                  <a:lnTo>
                    <a:pt x="1353" y="703"/>
                  </a:lnTo>
                  <a:lnTo>
                    <a:pt x="1352" y="702"/>
                  </a:lnTo>
                  <a:lnTo>
                    <a:pt x="1353" y="706"/>
                  </a:lnTo>
                  <a:lnTo>
                    <a:pt x="1349" y="704"/>
                  </a:lnTo>
                  <a:lnTo>
                    <a:pt x="1350" y="700"/>
                  </a:lnTo>
                  <a:lnTo>
                    <a:pt x="1349" y="700"/>
                  </a:lnTo>
                  <a:lnTo>
                    <a:pt x="1347" y="704"/>
                  </a:lnTo>
                  <a:lnTo>
                    <a:pt x="1345" y="709"/>
                  </a:lnTo>
                  <a:lnTo>
                    <a:pt x="1343" y="711"/>
                  </a:lnTo>
                  <a:lnTo>
                    <a:pt x="1341" y="709"/>
                  </a:lnTo>
                  <a:lnTo>
                    <a:pt x="1340" y="713"/>
                  </a:lnTo>
                  <a:lnTo>
                    <a:pt x="1338" y="712"/>
                  </a:lnTo>
                  <a:lnTo>
                    <a:pt x="1338" y="710"/>
                  </a:lnTo>
                  <a:lnTo>
                    <a:pt x="1336" y="712"/>
                  </a:lnTo>
                  <a:lnTo>
                    <a:pt x="1338" y="713"/>
                  </a:lnTo>
                  <a:lnTo>
                    <a:pt x="1335" y="715"/>
                  </a:lnTo>
                  <a:lnTo>
                    <a:pt x="1333" y="714"/>
                  </a:lnTo>
                  <a:lnTo>
                    <a:pt x="1334" y="713"/>
                  </a:lnTo>
                  <a:lnTo>
                    <a:pt x="1330" y="715"/>
                  </a:lnTo>
                  <a:lnTo>
                    <a:pt x="1331" y="718"/>
                  </a:lnTo>
                  <a:lnTo>
                    <a:pt x="1329" y="718"/>
                  </a:lnTo>
                  <a:lnTo>
                    <a:pt x="1328" y="721"/>
                  </a:lnTo>
                  <a:lnTo>
                    <a:pt x="1326" y="722"/>
                  </a:lnTo>
                  <a:lnTo>
                    <a:pt x="1324" y="727"/>
                  </a:lnTo>
                  <a:lnTo>
                    <a:pt x="1322" y="732"/>
                  </a:lnTo>
                  <a:lnTo>
                    <a:pt x="1323" y="733"/>
                  </a:lnTo>
                  <a:lnTo>
                    <a:pt x="1323" y="734"/>
                  </a:lnTo>
                  <a:lnTo>
                    <a:pt x="1324" y="735"/>
                  </a:lnTo>
                  <a:lnTo>
                    <a:pt x="1325" y="734"/>
                  </a:lnTo>
                  <a:lnTo>
                    <a:pt x="1326" y="734"/>
                  </a:lnTo>
                  <a:lnTo>
                    <a:pt x="1325" y="735"/>
                  </a:lnTo>
                  <a:lnTo>
                    <a:pt x="1322" y="736"/>
                  </a:lnTo>
                  <a:lnTo>
                    <a:pt x="1322" y="737"/>
                  </a:lnTo>
                  <a:lnTo>
                    <a:pt x="1320" y="739"/>
                  </a:lnTo>
                  <a:lnTo>
                    <a:pt x="1320" y="741"/>
                  </a:lnTo>
                  <a:lnTo>
                    <a:pt x="1321" y="741"/>
                  </a:lnTo>
                  <a:lnTo>
                    <a:pt x="1323" y="741"/>
                  </a:lnTo>
                  <a:lnTo>
                    <a:pt x="1327" y="747"/>
                  </a:lnTo>
                  <a:lnTo>
                    <a:pt x="1327" y="750"/>
                  </a:lnTo>
                  <a:lnTo>
                    <a:pt x="1329" y="751"/>
                  </a:lnTo>
                  <a:lnTo>
                    <a:pt x="1333" y="749"/>
                  </a:lnTo>
                  <a:lnTo>
                    <a:pt x="1333" y="748"/>
                  </a:lnTo>
                  <a:lnTo>
                    <a:pt x="1332" y="747"/>
                  </a:lnTo>
                  <a:lnTo>
                    <a:pt x="1331" y="745"/>
                  </a:lnTo>
                  <a:lnTo>
                    <a:pt x="1330" y="745"/>
                  </a:lnTo>
                  <a:lnTo>
                    <a:pt x="1330" y="744"/>
                  </a:lnTo>
                  <a:lnTo>
                    <a:pt x="1332" y="744"/>
                  </a:lnTo>
                  <a:lnTo>
                    <a:pt x="1333" y="745"/>
                  </a:lnTo>
                  <a:lnTo>
                    <a:pt x="1334" y="748"/>
                  </a:lnTo>
                  <a:lnTo>
                    <a:pt x="1334" y="752"/>
                  </a:lnTo>
                  <a:lnTo>
                    <a:pt x="1325" y="754"/>
                  </a:lnTo>
                  <a:lnTo>
                    <a:pt x="1324" y="751"/>
                  </a:lnTo>
                  <a:lnTo>
                    <a:pt x="1324" y="750"/>
                  </a:lnTo>
                  <a:lnTo>
                    <a:pt x="1323" y="752"/>
                  </a:lnTo>
                  <a:lnTo>
                    <a:pt x="1322" y="753"/>
                  </a:lnTo>
                  <a:lnTo>
                    <a:pt x="1322" y="753"/>
                  </a:lnTo>
                  <a:lnTo>
                    <a:pt x="1321" y="753"/>
                  </a:lnTo>
                  <a:lnTo>
                    <a:pt x="1321" y="754"/>
                  </a:lnTo>
                  <a:lnTo>
                    <a:pt x="1320" y="755"/>
                  </a:lnTo>
                  <a:lnTo>
                    <a:pt x="1318" y="755"/>
                  </a:lnTo>
                  <a:lnTo>
                    <a:pt x="1318" y="753"/>
                  </a:lnTo>
                  <a:lnTo>
                    <a:pt x="1319" y="750"/>
                  </a:lnTo>
                  <a:lnTo>
                    <a:pt x="1316" y="751"/>
                  </a:lnTo>
                  <a:lnTo>
                    <a:pt x="1315" y="750"/>
                  </a:lnTo>
                  <a:lnTo>
                    <a:pt x="1315" y="752"/>
                  </a:lnTo>
                  <a:lnTo>
                    <a:pt x="1314" y="757"/>
                  </a:lnTo>
                  <a:lnTo>
                    <a:pt x="1306" y="758"/>
                  </a:lnTo>
                  <a:lnTo>
                    <a:pt x="1296" y="759"/>
                  </a:lnTo>
                  <a:lnTo>
                    <a:pt x="1289" y="762"/>
                  </a:lnTo>
                  <a:lnTo>
                    <a:pt x="1284" y="765"/>
                  </a:lnTo>
                  <a:lnTo>
                    <a:pt x="1284" y="766"/>
                  </a:lnTo>
                  <a:lnTo>
                    <a:pt x="1282" y="767"/>
                  </a:lnTo>
                  <a:lnTo>
                    <a:pt x="1281" y="768"/>
                  </a:lnTo>
                  <a:lnTo>
                    <a:pt x="1281" y="768"/>
                  </a:lnTo>
                  <a:lnTo>
                    <a:pt x="1283" y="762"/>
                  </a:lnTo>
                  <a:lnTo>
                    <a:pt x="1283" y="761"/>
                  </a:lnTo>
                  <a:lnTo>
                    <a:pt x="1282" y="761"/>
                  </a:lnTo>
                  <a:lnTo>
                    <a:pt x="1280" y="769"/>
                  </a:lnTo>
                  <a:lnTo>
                    <a:pt x="1279" y="768"/>
                  </a:lnTo>
                  <a:lnTo>
                    <a:pt x="1277" y="771"/>
                  </a:lnTo>
                  <a:lnTo>
                    <a:pt x="1278" y="773"/>
                  </a:lnTo>
                  <a:lnTo>
                    <a:pt x="1282" y="774"/>
                  </a:lnTo>
                  <a:lnTo>
                    <a:pt x="1279" y="786"/>
                  </a:lnTo>
                  <a:lnTo>
                    <a:pt x="1277" y="789"/>
                  </a:lnTo>
                  <a:lnTo>
                    <a:pt x="1276" y="788"/>
                  </a:lnTo>
                  <a:lnTo>
                    <a:pt x="1276" y="790"/>
                  </a:lnTo>
                  <a:lnTo>
                    <a:pt x="1276" y="791"/>
                  </a:lnTo>
                  <a:lnTo>
                    <a:pt x="1274" y="792"/>
                  </a:lnTo>
                  <a:lnTo>
                    <a:pt x="1272" y="796"/>
                  </a:lnTo>
                  <a:lnTo>
                    <a:pt x="1270" y="799"/>
                  </a:lnTo>
                  <a:lnTo>
                    <a:pt x="1269" y="799"/>
                  </a:lnTo>
                  <a:lnTo>
                    <a:pt x="1268" y="798"/>
                  </a:lnTo>
                  <a:lnTo>
                    <a:pt x="1269" y="796"/>
                  </a:lnTo>
                  <a:lnTo>
                    <a:pt x="1269" y="794"/>
                  </a:lnTo>
                  <a:lnTo>
                    <a:pt x="1266" y="794"/>
                  </a:lnTo>
                  <a:lnTo>
                    <a:pt x="1263" y="792"/>
                  </a:lnTo>
                  <a:lnTo>
                    <a:pt x="1263" y="791"/>
                  </a:lnTo>
                  <a:lnTo>
                    <a:pt x="1261" y="787"/>
                  </a:lnTo>
                  <a:lnTo>
                    <a:pt x="1263" y="785"/>
                  </a:lnTo>
                  <a:lnTo>
                    <a:pt x="1263" y="783"/>
                  </a:lnTo>
                  <a:lnTo>
                    <a:pt x="1262" y="784"/>
                  </a:lnTo>
                  <a:lnTo>
                    <a:pt x="1260" y="787"/>
                  </a:lnTo>
                  <a:lnTo>
                    <a:pt x="1263" y="793"/>
                  </a:lnTo>
                  <a:lnTo>
                    <a:pt x="1263" y="796"/>
                  </a:lnTo>
                  <a:lnTo>
                    <a:pt x="1265" y="801"/>
                  </a:lnTo>
                  <a:lnTo>
                    <a:pt x="1267" y="801"/>
                  </a:lnTo>
                  <a:lnTo>
                    <a:pt x="1267" y="807"/>
                  </a:lnTo>
                  <a:lnTo>
                    <a:pt x="1267" y="808"/>
                  </a:lnTo>
                  <a:lnTo>
                    <a:pt x="1266" y="810"/>
                  </a:lnTo>
                  <a:lnTo>
                    <a:pt x="1265" y="810"/>
                  </a:lnTo>
                  <a:lnTo>
                    <a:pt x="1262" y="815"/>
                  </a:lnTo>
                  <a:lnTo>
                    <a:pt x="1260" y="821"/>
                  </a:lnTo>
                  <a:lnTo>
                    <a:pt x="1260" y="822"/>
                  </a:lnTo>
                  <a:lnTo>
                    <a:pt x="1259" y="823"/>
                  </a:lnTo>
                  <a:lnTo>
                    <a:pt x="1259" y="822"/>
                  </a:lnTo>
                  <a:lnTo>
                    <a:pt x="1257" y="827"/>
                  </a:lnTo>
                  <a:lnTo>
                    <a:pt x="1257" y="828"/>
                  </a:lnTo>
                  <a:lnTo>
                    <a:pt x="1255" y="828"/>
                  </a:lnTo>
                  <a:lnTo>
                    <a:pt x="1255" y="826"/>
                  </a:lnTo>
                  <a:lnTo>
                    <a:pt x="1257" y="820"/>
                  </a:lnTo>
                  <a:lnTo>
                    <a:pt x="1258" y="818"/>
                  </a:lnTo>
                  <a:lnTo>
                    <a:pt x="1259" y="817"/>
                  </a:lnTo>
                  <a:lnTo>
                    <a:pt x="1260" y="815"/>
                  </a:lnTo>
                  <a:lnTo>
                    <a:pt x="1259" y="814"/>
                  </a:lnTo>
                  <a:lnTo>
                    <a:pt x="1257" y="816"/>
                  </a:lnTo>
                  <a:lnTo>
                    <a:pt x="1258" y="813"/>
                  </a:lnTo>
                  <a:lnTo>
                    <a:pt x="1257" y="813"/>
                  </a:lnTo>
                  <a:lnTo>
                    <a:pt x="1256" y="812"/>
                  </a:lnTo>
                  <a:lnTo>
                    <a:pt x="1256" y="811"/>
                  </a:lnTo>
                  <a:lnTo>
                    <a:pt x="1257" y="810"/>
                  </a:lnTo>
                  <a:lnTo>
                    <a:pt x="1257" y="808"/>
                  </a:lnTo>
                  <a:lnTo>
                    <a:pt x="1254" y="810"/>
                  </a:lnTo>
                  <a:lnTo>
                    <a:pt x="1253" y="809"/>
                  </a:lnTo>
                  <a:lnTo>
                    <a:pt x="1252" y="809"/>
                  </a:lnTo>
                  <a:lnTo>
                    <a:pt x="1251" y="806"/>
                  </a:lnTo>
                  <a:lnTo>
                    <a:pt x="1253" y="805"/>
                  </a:lnTo>
                  <a:lnTo>
                    <a:pt x="1255" y="804"/>
                  </a:lnTo>
                  <a:lnTo>
                    <a:pt x="1255" y="804"/>
                  </a:lnTo>
                  <a:lnTo>
                    <a:pt x="1251" y="802"/>
                  </a:lnTo>
                  <a:lnTo>
                    <a:pt x="1251" y="803"/>
                  </a:lnTo>
                  <a:lnTo>
                    <a:pt x="1250" y="803"/>
                  </a:lnTo>
                  <a:lnTo>
                    <a:pt x="1251" y="801"/>
                  </a:lnTo>
                  <a:lnTo>
                    <a:pt x="1251" y="800"/>
                  </a:lnTo>
                  <a:lnTo>
                    <a:pt x="1252" y="801"/>
                  </a:lnTo>
                  <a:lnTo>
                    <a:pt x="1253" y="801"/>
                  </a:lnTo>
                  <a:lnTo>
                    <a:pt x="1253" y="799"/>
                  </a:lnTo>
                  <a:lnTo>
                    <a:pt x="1251" y="799"/>
                  </a:lnTo>
                  <a:lnTo>
                    <a:pt x="1250" y="798"/>
                  </a:lnTo>
                  <a:lnTo>
                    <a:pt x="1251" y="797"/>
                  </a:lnTo>
                  <a:lnTo>
                    <a:pt x="1253" y="797"/>
                  </a:lnTo>
                  <a:lnTo>
                    <a:pt x="1254" y="795"/>
                  </a:lnTo>
                  <a:lnTo>
                    <a:pt x="1252" y="795"/>
                  </a:lnTo>
                  <a:lnTo>
                    <a:pt x="1251" y="795"/>
                  </a:lnTo>
                  <a:lnTo>
                    <a:pt x="1253" y="792"/>
                  </a:lnTo>
                  <a:lnTo>
                    <a:pt x="1257" y="791"/>
                  </a:lnTo>
                  <a:lnTo>
                    <a:pt x="1255" y="790"/>
                  </a:lnTo>
                  <a:lnTo>
                    <a:pt x="1255" y="787"/>
                  </a:lnTo>
                  <a:lnTo>
                    <a:pt x="1254" y="788"/>
                  </a:lnTo>
                  <a:lnTo>
                    <a:pt x="1253" y="789"/>
                  </a:lnTo>
                  <a:lnTo>
                    <a:pt x="1254" y="790"/>
                  </a:lnTo>
                  <a:lnTo>
                    <a:pt x="1252" y="791"/>
                  </a:lnTo>
                  <a:lnTo>
                    <a:pt x="1252" y="790"/>
                  </a:lnTo>
                  <a:lnTo>
                    <a:pt x="1251" y="790"/>
                  </a:lnTo>
                  <a:lnTo>
                    <a:pt x="1252" y="792"/>
                  </a:lnTo>
                  <a:lnTo>
                    <a:pt x="1251" y="792"/>
                  </a:lnTo>
                  <a:lnTo>
                    <a:pt x="1251" y="791"/>
                  </a:lnTo>
                  <a:lnTo>
                    <a:pt x="1250" y="790"/>
                  </a:lnTo>
                  <a:lnTo>
                    <a:pt x="1250" y="794"/>
                  </a:lnTo>
                  <a:lnTo>
                    <a:pt x="1247" y="793"/>
                  </a:lnTo>
                  <a:lnTo>
                    <a:pt x="1249" y="797"/>
                  </a:lnTo>
                  <a:lnTo>
                    <a:pt x="1248" y="802"/>
                  </a:lnTo>
                  <a:lnTo>
                    <a:pt x="1248" y="804"/>
                  </a:lnTo>
                  <a:lnTo>
                    <a:pt x="1250" y="807"/>
                  </a:lnTo>
                  <a:lnTo>
                    <a:pt x="1249" y="808"/>
                  </a:lnTo>
                  <a:lnTo>
                    <a:pt x="1247" y="806"/>
                  </a:lnTo>
                  <a:lnTo>
                    <a:pt x="1246" y="805"/>
                  </a:lnTo>
                  <a:lnTo>
                    <a:pt x="1246" y="806"/>
                  </a:lnTo>
                  <a:lnTo>
                    <a:pt x="1247" y="808"/>
                  </a:lnTo>
                  <a:lnTo>
                    <a:pt x="1250" y="810"/>
                  </a:lnTo>
                  <a:lnTo>
                    <a:pt x="1251" y="813"/>
                  </a:lnTo>
                  <a:lnTo>
                    <a:pt x="1247" y="810"/>
                  </a:lnTo>
                  <a:lnTo>
                    <a:pt x="1245" y="810"/>
                  </a:lnTo>
                  <a:lnTo>
                    <a:pt x="1244" y="808"/>
                  </a:lnTo>
                  <a:lnTo>
                    <a:pt x="1243" y="808"/>
                  </a:lnTo>
                  <a:lnTo>
                    <a:pt x="1243" y="810"/>
                  </a:lnTo>
                  <a:lnTo>
                    <a:pt x="1240" y="807"/>
                  </a:lnTo>
                  <a:lnTo>
                    <a:pt x="1239" y="807"/>
                  </a:lnTo>
                  <a:lnTo>
                    <a:pt x="1239" y="805"/>
                  </a:lnTo>
                  <a:lnTo>
                    <a:pt x="1241" y="803"/>
                  </a:lnTo>
                  <a:lnTo>
                    <a:pt x="1239" y="804"/>
                  </a:lnTo>
                  <a:lnTo>
                    <a:pt x="1237" y="807"/>
                  </a:lnTo>
                  <a:lnTo>
                    <a:pt x="1239" y="809"/>
                  </a:lnTo>
                  <a:lnTo>
                    <a:pt x="1241" y="809"/>
                  </a:lnTo>
                  <a:lnTo>
                    <a:pt x="1242" y="811"/>
                  </a:lnTo>
                  <a:lnTo>
                    <a:pt x="1248" y="813"/>
                  </a:lnTo>
                  <a:lnTo>
                    <a:pt x="1248" y="814"/>
                  </a:lnTo>
                  <a:lnTo>
                    <a:pt x="1251" y="815"/>
                  </a:lnTo>
                  <a:lnTo>
                    <a:pt x="1252" y="816"/>
                  </a:lnTo>
                  <a:lnTo>
                    <a:pt x="1251" y="820"/>
                  </a:lnTo>
                  <a:lnTo>
                    <a:pt x="1249" y="820"/>
                  </a:lnTo>
                  <a:lnTo>
                    <a:pt x="1243" y="814"/>
                  </a:lnTo>
                  <a:lnTo>
                    <a:pt x="1248" y="820"/>
                  </a:lnTo>
                  <a:lnTo>
                    <a:pt x="1251" y="821"/>
                  </a:lnTo>
                  <a:lnTo>
                    <a:pt x="1250" y="822"/>
                  </a:lnTo>
                  <a:lnTo>
                    <a:pt x="1252" y="823"/>
                  </a:lnTo>
                  <a:lnTo>
                    <a:pt x="1251" y="823"/>
                  </a:lnTo>
                  <a:lnTo>
                    <a:pt x="1252" y="823"/>
                  </a:lnTo>
                  <a:lnTo>
                    <a:pt x="1251" y="825"/>
                  </a:lnTo>
                  <a:lnTo>
                    <a:pt x="1249" y="824"/>
                  </a:lnTo>
                  <a:lnTo>
                    <a:pt x="1249" y="825"/>
                  </a:lnTo>
                  <a:lnTo>
                    <a:pt x="1250" y="826"/>
                  </a:lnTo>
                  <a:lnTo>
                    <a:pt x="1249" y="826"/>
                  </a:lnTo>
                  <a:lnTo>
                    <a:pt x="1245" y="822"/>
                  </a:lnTo>
                  <a:lnTo>
                    <a:pt x="1245" y="822"/>
                  </a:lnTo>
                  <a:lnTo>
                    <a:pt x="1247" y="826"/>
                  </a:lnTo>
                  <a:lnTo>
                    <a:pt x="1249" y="827"/>
                  </a:lnTo>
                  <a:lnTo>
                    <a:pt x="1250" y="827"/>
                  </a:lnTo>
                  <a:lnTo>
                    <a:pt x="1251" y="828"/>
                  </a:lnTo>
                  <a:lnTo>
                    <a:pt x="1251" y="831"/>
                  </a:lnTo>
                  <a:lnTo>
                    <a:pt x="1249" y="831"/>
                  </a:lnTo>
                  <a:lnTo>
                    <a:pt x="1246" y="827"/>
                  </a:lnTo>
                  <a:lnTo>
                    <a:pt x="1244" y="826"/>
                  </a:lnTo>
                  <a:lnTo>
                    <a:pt x="1242" y="827"/>
                  </a:lnTo>
                  <a:lnTo>
                    <a:pt x="1243" y="827"/>
                  </a:lnTo>
                  <a:lnTo>
                    <a:pt x="1245" y="828"/>
                  </a:lnTo>
                  <a:lnTo>
                    <a:pt x="1248" y="831"/>
                  </a:lnTo>
                  <a:lnTo>
                    <a:pt x="1248" y="833"/>
                  </a:lnTo>
                  <a:lnTo>
                    <a:pt x="1251" y="832"/>
                  </a:lnTo>
                  <a:lnTo>
                    <a:pt x="1251" y="832"/>
                  </a:lnTo>
                  <a:lnTo>
                    <a:pt x="1255" y="832"/>
                  </a:lnTo>
                  <a:lnTo>
                    <a:pt x="1256" y="835"/>
                  </a:lnTo>
                  <a:lnTo>
                    <a:pt x="1258" y="844"/>
                  </a:lnTo>
                  <a:lnTo>
                    <a:pt x="1261" y="850"/>
                  </a:lnTo>
                  <a:lnTo>
                    <a:pt x="1260" y="849"/>
                  </a:lnTo>
                  <a:lnTo>
                    <a:pt x="1259" y="847"/>
                  </a:lnTo>
                  <a:lnTo>
                    <a:pt x="1258" y="846"/>
                  </a:lnTo>
                  <a:lnTo>
                    <a:pt x="1256" y="837"/>
                  </a:lnTo>
                  <a:lnTo>
                    <a:pt x="1255" y="835"/>
                  </a:lnTo>
                  <a:lnTo>
                    <a:pt x="1255" y="838"/>
                  </a:lnTo>
                  <a:lnTo>
                    <a:pt x="1256" y="838"/>
                  </a:lnTo>
                  <a:lnTo>
                    <a:pt x="1256" y="839"/>
                  </a:lnTo>
                  <a:lnTo>
                    <a:pt x="1254" y="838"/>
                  </a:lnTo>
                  <a:lnTo>
                    <a:pt x="1255" y="841"/>
                  </a:lnTo>
                  <a:lnTo>
                    <a:pt x="1256" y="841"/>
                  </a:lnTo>
                  <a:lnTo>
                    <a:pt x="1258" y="846"/>
                  </a:lnTo>
                  <a:lnTo>
                    <a:pt x="1257" y="845"/>
                  </a:lnTo>
                  <a:lnTo>
                    <a:pt x="1255" y="843"/>
                  </a:lnTo>
                  <a:lnTo>
                    <a:pt x="1255" y="844"/>
                  </a:lnTo>
                  <a:lnTo>
                    <a:pt x="1252" y="842"/>
                  </a:lnTo>
                  <a:lnTo>
                    <a:pt x="1252" y="842"/>
                  </a:lnTo>
                  <a:lnTo>
                    <a:pt x="1254" y="844"/>
                  </a:lnTo>
                  <a:lnTo>
                    <a:pt x="1252" y="846"/>
                  </a:lnTo>
                  <a:lnTo>
                    <a:pt x="1249" y="844"/>
                  </a:lnTo>
                  <a:lnTo>
                    <a:pt x="1250" y="846"/>
                  </a:lnTo>
                  <a:lnTo>
                    <a:pt x="1248" y="847"/>
                  </a:lnTo>
                  <a:lnTo>
                    <a:pt x="1247" y="847"/>
                  </a:lnTo>
                  <a:lnTo>
                    <a:pt x="1246" y="845"/>
                  </a:lnTo>
                  <a:lnTo>
                    <a:pt x="1246" y="844"/>
                  </a:lnTo>
                  <a:lnTo>
                    <a:pt x="1246" y="843"/>
                  </a:lnTo>
                  <a:lnTo>
                    <a:pt x="1246" y="842"/>
                  </a:lnTo>
                  <a:lnTo>
                    <a:pt x="1245" y="844"/>
                  </a:lnTo>
                  <a:lnTo>
                    <a:pt x="1245" y="845"/>
                  </a:lnTo>
                  <a:lnTo>
                    <a:pt x="1246" y="847"/>
                  </a:lnTo>
                  <a:lnTo>
                    <a:pt x="1245" y="848"/>
                  </a:lnTo>
                  <a:lnTo>
                    <a:pt x="1251" y="848"/>
                  </a:lnTo>
                  <a:lnTo>
                    <a:pt x="1254" y="847"/>
                  </a:lnTo>
                  <a:lnTo>
                    <a:pt x="1255" y="848"/>
                  </a:lnTo>
                  <a:lnTo>
                    <a:pt x="1254" y="850"/>
                  </a:lnTo>
                  <a:lnTo>
                    <a:pt x="1254" y="852"/>
                  </a:lnTo>
                  <a:lnTo>
                    <a:pt x="1254" y="853"/>
                  </a:lnTo>
                  <a:lnTo>
                    <a:pt x="1255" y="851"/>
                  </a:lnTo>
                  <a:lnTo>
                    <a:pt x="1256" y="848"/>
                  </a:lnTo>
                  <a:lnTo>
                    <a:pt x="1257" y="847"/>
                  </a:lnTo>
                  <a:lnTo>
                    <a:pt x="1258" y="850"/>
                  </a:lnTo>
                  <a:lnTo>
                    <a:pt x="1258" y="852"/>
                  </a:lnTo>
                  <a:lnTo>
                    <a:pt x="1258" y="854"/>
                  </a:lnTo>
                  <a:lnTo>
                    <a:pt x="1257" y="853"/>
                  </a:lnTo>
                  <a:lnTo>
                    <a:pt x="1256" y="853"/>
                  </a:lnTo>
                  <a:lnTo>
                    <a:pt x="1254" y="856"/>
                  </a:lnTo>
                  <a:lnTo>
                    <a:pt x="1253" y="858"/>
                  </a:lnTo>
                  <a:lnTo>
                    <a:pt x="1250" y="857"/>
                  </a:lnTo>
                  <a:lnTo>
                    <a:pt x="1249" y="857"/>
                  </a:lnTo>
                  <a:lnTo>
                    <a:pt x="1248" y="856"/>
                  </a:lnTo>
                  <a:lnTo>
                    <a:pt x="1247" y="855"/>
                  </a:lnTo>
                  <a:lnTo>
                    <a:pt x="1246" y="855"/>
                  </a:lnTo>
                  <a:lnTo>
                    <a:pt x="1247" y="856"/>
                  </a:lnTo>
                  <a:lnTo>
                    <a:pt x="1247" y="856"/>
                  </a:lnTo>
                  <a:lnTo>
                    <a:pt x="1243" y="856"/>
                  </a:lnTo>
                  <a:lnTo>
                    <a:pt x="1241" y="855"/>
                  </a:lnTo>
                  <a:lnTo>
                    <a:pt x="1242" y="856"/>
                  </a:lnTo>
                  <a:lnTo>
                    <a:pt x="1243" y="856"/>
                  </a:lnTo>
                  <a:lnTo>
                    <a:pt x="1248" y="859"/>
                  </a:lnTo>
                  <a:lnTo>
                    <a:pt x="1248" y="859"/>
                  </a:lnTo>
                  <a:lnTo>
                    <a:pt x="1246" y="861"/>
                  </a:lnTo>
                  <a:lnTo>
                    <a:pt x="1248" y="861"/>
                  </a:lnTo>
                  <a:lnTo>
                    <a:pt x="1246" y="862"/>
                  </a:lnTo>
                  <a:lnTo>
                    <a:pt x="1245" y="863"/>
                  </a:lnTo>
                  <a:lnTo>
                    <a:pt x="1244" y="863"/>
                  </a:lnTo>
                  <a:lnTo>
                    <a:pt x="1241" y="861"/>
                  </a:lnTo>
                  <a:lnTo>
                    <a:pt x="1242" y="864"/>
                  </a:lnTo>
                  <a:lnTo>
                    <a:pt x="1245" y="865"/>
                  </a:lnTo>
                  <a:lnTo>
                    <a:pt x="1247" y="864"/>
                  </a:lnTo>
                  <a:lnTo>
                    <a:pt x="1248" y="864"/>
                  </a:lnTo>
                  <a:lnTo>
                    <a:pt x="1249" y="862"/>
                  </a:lnTo>
                  <a:lnTo>
                    <a:pt x="1249" y="864"/>
                  </a:lnTo>
                  <a:lnTo>
                    <a:pt x="1251" y="864"/>
                  </a:lnTo>
                  <a:lnTo>
                    <a:pt x="1251" y="864"/>
                  </a:lnTo>
                  <a:lnTo>
                    <a:pt x="1248" y="867"/>
                  </a:lnTo>
                  <a:lnTo>
                    <a:pt x="1248" y="867"/>
                  </a:lnTo>
                  <a:lnTo>
                    <a:pt x="1247" y="868"/>
                  </a:lnTo>
                  <a:lnTo>
                    <a:pt x="1238" y="869"/>
                  </a:lnTo>
                  <a:lnTo>
                    <a:pt x="1233" y="876"/>
                  </a:lnTo>
                  <a:lnTo>
                    <a:pt x="1230" y="880"/>
                  </a:lnTo>
                  <a:lnTo>
                    <a:pt x="1229" y="881"/>
                  </a:lnTo>
                  <a:lnTo>
                    <a:pt x="1224" y="882"/>
                  </a:lnTo>
                  <a:lnTo>
                    <a:pt x="1221" y="883"/>
                  </a:lnTo>
                  <a:lnTo>
                    <a:pt x="1217" y="885"/>
                  </a:lnTo>
                  <a:lnTo>
                    <a:pt x="1213" y="888"/>
                  </a:lnTo>
                  <a:lnTo>
                    <a:pt x="1212" y="891"/>
                  </a:lnTo>
                  <a:lnTo>
                    <a:pt x="1211" y="894"/>
                  </a:lnTo>
                  <a:lnTo>
                    <a:pt x="1206" y="898"/>
                  </a:lnTo>
                  <a:lnTo>
                    <a:pt x="1202" y="901"/>
                  </a:lnTo>
                  <a:lnTo>
                    <a:pt x="1200" y="903"/>
                  </a:lnTo>
                  <a:lnTo>
                    <a:pt x="1195" y="903"/>
                  </a:lnTo>
                  <a:lnTo>
                    <a:pt x="1193" y="907"/>
                  </a:lnTo>
                  <a:lnTo>
                    <a:pt x="1192" y="909"/>
                  </a:lnTo>
                  <a:lnTo>
                    <a:pt x="1187" y="916"/>
                  </a:lnTo>
                  <a:lnTo>
                    <a:pt x="1185" y="922"/>
                  </a:lnTo>
                  <a:lnTo>
                    <a:pt x="1183" y="930"/>
                  </a:lnTo>
                  <a:lnTo>
                    <a:pt x="1184" y="940"/>
                  </a:lnTo>
                  <a:lnTo>
                    <a:pt x="1186" y="946"/>
                  </a:lnTo>
                  <a:lnTo>
                    <a:pt x="1189" y="952"/>
                  </a:lnTo>
                  <a:lnTo>
                    <a:pt x="1195" y="963"/>
                  </a:lnTo>
                  <a:lnTo>
                    <a:pt x="1197" y="975"/>
                  </a:lnTo>
                  <a:lnTo>
                    <a:pt x="1200" y="982"/>
                  </a:lnTo>
                  <a:lnTo>
                    <a:pt x="1199" y="983"/>
                  </a:lnTo>
                  <a:lnTo>
                    <a:pt x="1201" y="985"/>
                  </a:lnTo>
                  <a:lnTo>
                    <a:pt x="1201" y="987"/>
                  </a:lnTo>
                  <a:lnTo>
                    <a:pt x="1202" y="993"/>
                  </a:lnTo>
                  <a:lnTo>
                    <a:pt x="1200" y="1003"/>
                  </a:lnTo>
                  <a:lnTo>
                    <a:pt x="1200" y="1005"/>
                  </a:lnTo>
                  <a:lnTo>
                    <a:pt x="1198" y="1007"/>
                  </a:lnTo>
                  <a:lnTo>
                    <a:pt x="1198" y="1010"/>
                  </a:lnTo>
                  <a:lnTo>
                    <a:pt x="1198" y="1012"/>
                  </a:lnTo>
                  <a:lnTo>
                    <a:pt x="1196" y="1015"/>
                  </a:lnTo>
                  <a:lnTo>
                    <a:pt x="1196" y="1015"/>
                  </a:lnTo>
                  <a:lnTo>
                    <a:pt x="1197" y="1013"/>
                  </a:lnTo>
                  <a:lnTo>
                    <a:pt x="1197" y="1012"/>
                  </a:lnTo>
                  <a:lnTo>
                    <a:pt x="1195" y="1012"/>
                  </a:lnTo>
                  <a:lnTo>
                    <a:pt x="1193" y="1013"/>
                  </a:lnTo>
                  <a:lnTo>
                    <a:pt x="1191" y="1012"/>
                  </a:lnTo>
                  <a:lnTo>
                    <a:pt x="1188" y="1013"/>
                  </a:lnTo>
                  <a:lnTo>
                    <a:pt x="1188" y="1011"/>
                  </a:lnTo>
                  <a:lnTo>
                    <a:pt x="1188" y="1010"/>
                  </a:lnTo>
                  <a:lnTo>
                    <a:pt x="1184" y="1003"/>
                  </a:lnTo>
                  <a:lnTo>
                    <a:pt x="1180" y="1002"/>
                  </a:lnTo>
                  <a:lnTo>
                    <a:pt x="1179" y="999"/>
                  </a:lnTo>
                  <a:lnTo>
                    <a:pt x="1178" y="994"/>
                  </a:lnTo>
                  <a:lnTo>
                    <a:pt x="1176" y="993"/>
                  </a:lnTo>
                  <a:lnTo>
                    <a:pt x="1174" y="988"/>
                  </a:lnTo>
                  <a:lnTo>
                    <a:pt x="1172" y="988"/>
                  </a:lnTo>
                  <a:lnTo>
                    <a:pt x="1169" y="981"/>
                  </a:lnTo>
                  <a:lnTo>
                    <a:pt x="1167" y="978"/>
                  </a:lnTo>
                  <a:lnTo>
                    <a:pt x="1168" y="978"/>
                  </a:lnTo>
                  <a:lnTo>
                    <a:pt x="1171" y="975"/>
                  </a:lnTo>
                  <a:lnTo>
                    <a:pt x="1171" y="974"/>
                  </a:lnTo>
                  <a:lnTo>
                    <a:pt x="1170" y="972"/>
                  </a:lnTo>
                  <a:lnTo>
                    <a:pt x="1167" y="975"/>
                  </a:lnTo>
                  <a:lnTo>
                    <a:pt x="1165" y="974"/>
                  </a:lnTo>
                  <a:lnTo>
                    <a:pt x="1166" y="970"/>
                  </a:lnTo>
                  <a:lnTo>
                    <a:pt x="1167" y="965"/>
                  </a:lnTo>
                  <a:lnTo>
                    <a:pt x="1168" y="958"/>
                  </a:lnTo>
                  <a:lnTo>
                    <a:pt x="1166" y="955"/>
                  </a:lnTo>
                  <a:lnTo>
                    <a:pt x="1165" y="954"/>
                  </a:lnTo>
                  <a:lnTo>
                    <a:pt x="1162" y="953"/>
                  </a:lnTo>
                  <a:lnTo>
                    <a:pt x="1157" y="946"/>
                  </a:lnTo>
                  <a:lnTo>
                    <a:pt x="1152" y="941"/>
                  </a:lnTo>
                  <a:lnTo>
                    <a:pt x="1149" y="940"/>
                  </a:lnTo>
                  <a:lnTo>
                    <a:pt x="1146" y="940"/>
                  </a:lnTo>
                  <a:lnTo>
                    <a:pt x="1143" y="942"/>
                  </a:lnTo>
                  <a:lnTo>
                    <a:pt x="1140" y="945"/>
                  </a:lnTo>
                  <a:lnTo>
                    <a:pt x="1133" y="946"/>
                  </a:lnTo>
                  <a:lnTo>
                    <a:pt x="1132" y="945"/>
                  </a:lnTo>
                  <a:lnTo>
                    <a:pt x="1131" y="941"/>
                  </a:lnTo>
                  <a:lnTo>
                    <a:pt x="1129" y="939"/>
                  </a:lnTo>
                  <a:lnTo>
                    <a:pt x="1128" y="938"/>
                  </a:lnTo>
                  <a:lnTo>
                    <a:pt x="1123" y="938"/>
                  </a:lnTo>
                  <a:lnTo>
                    <a:pt x="1120" y="936"/>
                  </a:lnTo>
                  <a:lnTo>
                    <a:pt x="1119" y="934"/>
                  </a:lnTo>
                  <a:lnTo>
                    <a:pt x="1116" y="935"/>
                  </a:lnTo>
                  <a:lnTo>
                    <a:pt x="1110" y="936"/>
                  </a:lnTo>
                  <a:lnTo>
                    <a:pt x="1106" y="935"/>
                  </a:lnTo>
                  <a:lnTo>
                    <a:pt x="1106" y="937"/>
                  </a:lnTo>
                  <a:lnTo>
                    <a:pt x="1102" y="937"/>
                  </a:lnTo>
                  <a:lnTo>
                    <a:pt x="1101" y="937"/>
                  </a:lnTo>
                  <a:lnTo>
                    <a:pt x="1098" y="931"/>
                  </a:lnTo>
                  <a:lnTo>
                    <a:pt x="1096" y="936"/>
                  </a:lnTo>
                  <a:lnTo>
                    <a:pt x="1093" y="936"/>
                  </a:lnTo>
                  <a:lnTo>
                    <a:pt x="1090" y="936"/>
                  </a:lnTo>
                  <a:lnTo>
                    <a:pt x="1082" y="935"/>
                  </a:lnTo>
                  <a:lnTo>
                    <a:pt x="1078" y="938"/>
                  </a:lnTo>
                  <a:lnTo>
                    <a:pt x="1076" y="939"/>
                  </a:lnTo>
                  <a:lnTo>
                    <a:pt x="1070" y="936"/>
                  </a:lnTo>
                  <a:lnTo>
                    <a:pt x="1069" y="936"/>
                  </a:lnTo>
                  <a:lnTo>
                    <a:pt x="1068" y="936"/>
                  </a:lnTo>
                  <a:lnTo>
                    <a:pt x="1066" y="939"/>
                  </a:lnTo>
                  <a:lnTo>
                    <a:pt x="1068" y="941"/>
                  </a:lnTo>
                  <a:lnTo>
                    <a:pt x="1069" y="941"/>
                  </a:lnTo>
                  <a:lnTo>
                    <a:pt x="1071" y="941"/>
                  </a:lnTo>
                  <a:lnTo>
                    <a:pt x="1074" y="939"/>
                  </a:lnTo>
                  <a:lnTo>
                    <a:pt x="1076" y="940"/>
                  </a:lnTo>
                  <a:lnTo>
                    <a:pt x="1080" y="943"/>
                  </a:lnTo>
                  <a:lnTo>
                    <a:pt x="1076" y="946"/>
                  </a:lnTo>
                  <a:lnTo>
                    <a:pt x="1076" y="948"/>
                  </a:lnTo>
                  <a:lnTo>
                    <a:pt x="1078" y="950"/>
                  </a:lnTo>
                  <a:lnTo>
                    <a:pt x="1081" y="951"/>
                  </a:lnTo>
                  <a:lnTo>
                    <a:pt x="1083" y="952"/>
                  </a:lnTo>
                  <a:lnTo>
                    <a:pt x="1084" y="955"/>
                  </a:lnTo>
                  <a:lnTo>
                    <a:pt x="1081" y="955"/>
                  </a:lnTo>
                  <a:lnTo>
                    <a:pt x="1078" y="955"/>
                  </a:lnTo>
                  <a:lnTo>
                    <a:pt x="1077" y="952"/>
                  </a:lnTo>
                  <a:lnTo>
                    <a:pt x="1072" y="950"/>
                  </a:lnTo>
                  <a:lnTo>
                    <a:pt x="1071" y="949"/>
                  </a:lnTo>
                  <a:lnTo>
                    <a:pt x="1069" y="949"/>
                  </a:lnTo>
                  <a:lnTo>
                    <a:pt x="1069" y="949"/>
                  </a:lnTo>
                  <a:lnTo>
                    <a:pt x="1068" y="951"/>
                  </a:lnTo>
                  <a:lnTo>
                    <a:pt x="1069" y="952"/>
                  </a:lnTo>
                  <a:lnTo>
                    <a:pt x="1071" y="953"/>
                  </a:lnTo>
                  <a:lnTo>
                    <a:pt x="1069" y="954"/>
                  </a:lnTo>
                  <a:lnTo>
                    <a:pt x="1069" y="955"/>
                  </a:lnTo>
                  <a:lnTo>
                    <a:pt x="1066" y="952"/>
                  </a:lnTo>
                  <a:lnTo>
                    <a:pt x="1063" y="953"/>
                  </a:lnTo>
                  <a:lnTo>
                    <a:pt x="1062" y="955"/>
                  </a:lnTo>
                  <a:lnTo>
                    <a:pt x="1056" y="952"/>
                  </a:lnTo>
                  <a:lnTo>
                    <a:pt x="1053" y="948"/>
                  </a:lnTo>
                  <a:lnTo>
                    <a:pt x="1047" y="944"/>
                  </a:lnTo>
                  <a:lnTo>
                    <a:pt x="1043" y="945"/>
                  </a:lnTo>
                  <a:lnTo>
                    <a:pt x="1046" y="947"/>
                  </a:lnTo>
                  <a:lnTo>
                    <a:pt x="1044" y="948"/>
                  </a:lnTo>
                  <a:lnTo>
                    <a:pt x="1037" y="948"/>
                  </a:lnTo>
                  <a:lnTo>
                    <a:pt x="1032" y="946"/>
                  </a:lnTo>
                  <a:lnTo>
                    <a:pt x="1027" y="945"/>
                  </a:lnTo>
                  <a:lnTo>
                    <a:pt x="1018" y="946"/>
                  </a:lnTo>
                  <a:lnTo>
                    <a:pt x="1014" y="948"/>
                  </a:lnTo>
                  <a:lnTo>
                    <a:pt x="1012" y="948"/>
                  </a:lnTo>
                  <a:lnTo>
                    <a:pt x="1009" y="948"/>
                  </a:lnTo>
                  <a:lnTo>
                    <a:pt x="1008" y="945"/>
                  </a:lnTo>
                  <a:lnTo>
                    <a:pt x="1006" y="945"/>
                  </a:lnTo>
                  <a:lnTo>
                    <a:pt x="1006" y="946"/>
                  </a:lnTo>
                  <a:lnTo>
                    <a:pt x="1009" y="951"/>
                  </a:lnTo>
                  <a:lnTo>
                    <a:pt x="1003" y="955"/>
                  </a:lnTo>
                  <a:lnTo>
                    <a:pt x="999" y="960"/>
                  </a:lnTo>
                  <a:lnTo>
                    <a:pt x="993" y="961"/>
                  </a:lnTo>
                  <a:lnTo>
                    <a:pt x="991" y="962"/>
                  </a:lnTo>
                  <a:lnTo>
                    <a:pt x="988" y="961"/>
                  </a:lnTo>
                  <a:lnTo>
                    <a:pt x="984" y="961"/>
                  </a:lnTo>
                  <a:lnTo>
                    <a:pt x="983" y="962"/>
                  </a:lnTo>
                  <a:lnTo>
                    <a:pt x="986" y="965"/>
                  </a:lnTo>
                  <a:lnTo>
                    <a:pt x="985" y="968"/>
                  </a:lnTo>
                  <a:lnTo>
                    <a:pt x="982" y="969"/>
                  </a:lnTo>
                  <a:lnTo>
                    <a:pt x="979" y="970"/>
                  </a:lnTo>
                  <a:lnTo>
                    <a:pt x="975" y="972"/>
                  </a:lnTo>
                  <a:lnTo>
                    <a:pt x="973" y="973"/>
                  </a:lnTo>
                  <a:lnTo>
                    <a:pt x="976" y="975"/>
                  </a:lnTo>
                  <a:lnTo>
                    <a:pt x="977" y="976"/>
                  </a:lnTo>
                  <a:lnTo>
                    <a:pt x="973" y="981"/>
                  </a:lnTo>
                  <a:lnTo>
                    <a:pt x="972" y="983"/>
                  </a:lnTo>
                  <a:lnTo>
                    <a:pt x="972" y="988"/>
                  </a:lnTo>
                  <a:lnTo>
                    <a:pt x="973" y="993"/>
                  </a:lnTo>
                  <a:lnTo>
                    <a:pt x="975" y="997"/>
                  </a:lnTo>
                  <a:lnTo>
                    <a:pt x="977" y="1003"/>
                  </a:lnTo>
                  <a:lnTo>
                    <a:pt x="975" y="1003"/>
                  </a:lnTo>
                  <a:lnTo>
                    <a:pt x="970" y="1000"/>
                  </a:lnTo>
                  <a:lnTo>
                    <a:pt x="969" y="1000"/>
                  </a:lnTo>
                  <a:lnTo>
                    <a:pt x="966" y="1001"/>
                  </a:lnTo>
                  <a:lnTo>
                    <a:pt x="964" y="1000"/>
                  </a:lnTo>
                  <a:lnTo>
                    <a:pt x="958" y="997"/>
                  </a:lnTo>
                  <a:lnTo>
                    <a:pt x="953" y="995"/>
                  </a:lnTo>
                  <a:lnTo>
                    <a:pt x="951" y="992"/>
                  </a:lnTo>
                  <a:lnTo>
                    <a:pt x="949" y="988"/>
                  </a:lnTo>
                  <a:lnTo>
                    <a:pt x="947" y="982"/>
                  </a:lnTo>
                  <a:lnTo>
                    <a:pt x="946" y="979"/>
                  </a:lnTo>
                  <a:lnTo>
                    <a:pt x="945" y="978"/>
                  </a:lnTo>
                  <a:lnTo>
                    <a:pt x="941" y="974"/>
                  </a:lnTo>
                  <a:lnTo>
                    <a:pt x="936" y="967"/>
                  </a:lnTo>
                  <a:lnTo>
                    <a:pt x="931" y="958"/>
                  </a:lnTo>
                  <a:lnTo>
                    <a:pt x="928" y="952"/>
                  </a:lnTo>
                  <a:lnTo>
                    <a:pt x="925" y="949"/>
                  </a:lnTo>
                  <a:lnTo>
                    <a:pt x="923" y="947"/>
                  </a:lnTo>
                  <a:lnTo>
                    <a:pt x="919" y="945"/>
                  </a:lnTo>
                  <a:lnTo>
                    <a:pt x="916" y="945"/>
                  </a:lnTo>
                  <a:lnTo>
                    <a:pt x="912" y="945"/>
                  </a:lnTo>
                  <a:lnTo>
                    <a:pt x="909" y="946"/>
                  </a:lnTo>
                  <a:lnTo>
                    <a:pt x="906" y="950"/>
                  </a:lnTo>
                  <a:lnTo>
                    <a:pt x="903" y="952"/>
                  </a:lnTo>
                  <a:lnTo>
                    <a:pt x="902" y="955"/>
                  </a:lnTo>
                  <a:lnTo>
                    <a:pt x="899" y="956"/>
                  </a:lnTo>
                  <a:lnTo>
                    <a:pt x="896" y="956"/>
                  </a:lnTo>
                  <a:lnTo>
                    <a:pt x="894" y="955"/>
                  </a:lnTo>
                  <a:lnTo>
                    <a:pt x="888" y="952"/>
                  </a:lnTo>
                  <a:lnTo>
                    <a:pt x="882" y="948"/>
                  </a:lnTo>
                  <a:lnTo>
                    <a:pt x="879" y="944"/>
                  </a:lnTo>
                  <a:lnTo>
                    <a:pt x="877" y="938"/>
                  </a:lnTo>
                  <a:lnTo>
                    <a:pt x="875" y="934"/>
                  </a:lnTo>
                  <a:lnTo>
                    <a:pt x="874" y="932"/>
                  </a:lnTo>
                  <a:lnTo>
                    <a:pt x="870" y="929"/>
                  </a:lnTo>
                  <a:lnTo>
                    <a:pt x="865" y="925"/>
                  </a:lnTo>
                  <a:lnTo>
                    <a:pt x="861" y="921"/>
                  </a:lnTo>
                  <a:lnTo>
                    <a:pt x="857" y="916"/>
                  </a:lnTo>
                  <a:lnTo>
                    <a:pt x="856" y="916"/>
                  </a:lnTo>
                  <a:lnTo>
                    <a:pt x="844" y="915"/>
                  </a:lnTo>
                  <a:lnTo>
                    <a:pt x="834" y="915"/>
                  </a:lnTo>
                  <a:lnTo>
                    <a:pt x="833" y="921"/>
                  </a:lnTo>
                  <a:lnTo>
                    <a:pt x="832" y="922"/>
                  </a:lnTo>
                  <a:lnTo>
                    <a:pt x="821" y="922"/>
                  </a:lnTo>
                  <a:lnTo>
                    <a:pt x="815" y="922"/>
                  </a:lnTo>
                  <a:lnTo>
                    <a:pt x="806" y="922"/>
                  </a:lnTo>
                  <a:lnTo>
                    <a:pt x="796" y="922"/>
                  </a:lnTo>
                  <a:lnTo>
                    <a:pt x="794" y="921"/>
                  </a:lnTo>
                  <a:lnTo>
                    <a:pt x="774" y="913"/>
                  </a:lnTo>
                  <a:lnTo>
                    <a:pt x="757" y="907"/>
                  </a:lnTo>
                  <a:lnTo>
                    <a:pt x="750" y="904"/>
                  </a:lnTo>
                  <a:lnTo>
                    <a:pt x="748" y="903"/>
                  </a:lnTo>
                  <a:lnTo>
                    <a:pt x="747" y="901"/>
                  </a:lnTo>
                  <a:lnTo>
                    <a:pt x="733" y="902"/>
                  </a:lnTo>
                  <a:lnTo>
                    <a:pt x="719" y="903"/>
                  </a:lnTo>
                  <a:lnTo>
                    <a:pt x="717" y="903"/>
                  </a:lnTo>
                  <a:close/>
                  <a:moveTo>
                    <a:pt x="521" y="492"/>
                  </a:moveTo>
                  <a:lnTo>
                    <a:pt x="510" y="480"/>
                  </a:lnTo>
                  <a:lnTo>
                    <a:pt x="507" y="474"/>
                  </a:lnTo>
                  <a:lnTo>
                    <a:pt x="507" y="469"/>
                  </a:lnTo>
                  <a:lnTo>
                    <a:pt x="503" y="460"/>
                  </a:lnTo>
                  <a:lnTo>
                    <a:pt x="504" y="459"/>
                  </a:lnTo>
                  <a:lnTo>
                    <a:pt x="506" y="460"/>
                  </a:lnTo>
                  <a:lnTo>
                    <a:pt x="508" y="463"/>
                  </a:lnTo>
                  <a:lnTo>
                    <a:pt x="515" y="468"/>
                  </a:lnTo>
                  <a:lnTo>
                    <a:pt x="515" y="470"/>
                  </a:lnTo>
                  <a:lnTo>
                    <a:pt x="515" y="471"/>
                  </a:lnTo>
                  <a:lnTo>
                    <a:pt x="514" y="474"/>
                  </a:lnTo>
                  <a:lnTo>
                    <a:pt x="516" y="478"/>
                  </a:lnTo>
                  <a:lnTo>
                    <a:pt x="521" y="482"/>
                  </a:lnTo>
                  <a:lnTo>
                    <a:pt x="521" y="492"/>
                  </a:lnTo>
                  <a:close/>
                  <a:moveTo>
                    <a:pt x="486" y="444"/>
                  </a:moveTo>
                  <a:lnTo>
                    <a:pt x="487" y="447"/>
                  </a:lnTo>
                  <a:lnTo>
                    <a:pt x="486" y="450"/>
                  </a:lnTo>
                  <a:lnTo>
                    <a:pt x="484" y="455"/>
                  </a:lnTo>
                  <a:lnTo>
                    <a:pt x="481" y="446"/>
                  </a:lnTo>
                  <a:lnTo>
                    <a:pt x="478" y="436"/>
                  </a:lnTo>
                  <a:lnTo>
                    <a:pt x="478" y="434"/>
                  </a:lnTo>
                  <a:lnTo>
                    <a:pt x="478" y="431"/>
                  </a:lnTo>
                  <a:lnTo>
                    <a:pt x="481" y="432"/>
                  </a:lnTo>
                  <a:lnTo>
                    <a:pt x="484" y="434"/>
                  </a:lnTo>
                  <a:lnTo>
                    <a:pt x="486" y="444"/>
                  </a:lnTo>
                  <a:close/>
                  <a:moveTo>
                    <a:pt x="480" y="415"/>
                  </a:moveTo>
                  <a:lnTo>
                    <a:pt x="483" y="425"/>
                  </a:lnTo>
                  <a:lnTo>
                    <a:pt x="482" y="427"/>
                  </a:lnTo>
                  <a:lnTo>
                    <a:pt x="477" y="424"/>
                  </a:lnTo>
                  <a:lnTo>
                    <a:pt x="473" y="423"/>
                  </a:lnTo>
                  <a:lnTo>
                    <a:pt x="474" y="428"/>
                  </a:lnTo>
                  <a:lnTo>
                    <a:pt x="473" y="431"/>
                  </a:lnTo>
                  <a:lnTo>
                    <a:pt x="468" y="424"/>
                  </a:lnTo>
                  <a:lnTo>
                    <a:pt x="463" y="420"/>
                  </a:lnTo>
                  <a:lnTo>
                    <a:pt x="465" y="415"/>
                  </a:lnTo>
                  <a:lnTo>
                    <a:pt x="467" y="413"/>
                  </a:lnTo>
                  <a:lnTo>
                    <a:pt x="471" y="412"/>
                  </a:lnTo>
                  <a:lnTo>
                    <a:pt x="475" y="416"/>
                  </a:lnTo>
                  <a:lnTo>
                    <a:pt x="480" y="415"/>
                  </a:lnTo>
                  <a:close/>
                  <a:moveTo>
                    <a:pt x="28" y="282"/>
                  </a:moveTo>
                  <a:lnTo>
                    <a:pt x="18" y="274"/>
                  </a:lnTo>
                  <a:lnTo>
                    <a:pt x="14" y="271"/>
                  </a:lnTo>
                  <a:lnTo>
                    <a:pt x="9" y="270"/>
                  </a:lnTo>
                  <a:lnTo>
                    <a:pt x="4" y="271"/>
                  </a:lnTo>
                  <a:lnTo>
                    <a:pt x="2" y="270"/>
                  </a:lnTo>
                  <a:lnTo>
                    <a:pt x="0" y="267"/>
                  </a:lnTo>
                  <a:lnTo>
                    <a:pt x="1" y="263"/>
                  </a:lnTo>
                  <a:lnTo>
                    <a:pt x="4" y="262"/>
                  </a:lnTo>
                  <a:lnTo>
                    <a:pt x="10" y="265"/>
                  </a:lnTo>
                  <a:lnTo>
                    <a:pt x="14" y="265"/>
                  </a:lnTo>
                  <a:lnTo>
                    <a:pt x="17" y="264"/>
                  </a:lnTo>
                  <a:lnTo>
                    <a:pt x="20" y="264"/>
                  </a:lnTo>
                  <a:lnTo>
                    <a:pt x="25" y="268"/>
                  </a:lnTo>
                  <a:lnTo>
                    <a:pt x="35" y="273"/>
                  </a:lnTo>
                  <a:lnTo>
                    <a:pt x="38" y="276"/>
                  </a:lnTo>
                  <a:lnTo>
                    <a:pt x="38" y="277"/>
                  </a:lnTo>
                  <a:lnTo>
                    <a:pt x="35" y="277"/>
                  </a:lnTo>
                  <a:lnTo>
                    <a:pt x="31" y="277"/>
                  </a:lnTo>
                  <a:lnTo>
                    <a:pt x="28" y="282"/>
                  </a:lnTo>
                  <a:close/>
                  <a:moveTo>
                    <a:pt x="212" y="1101"/>
                  </a:moveTo>
                  <a:lnTo>
                    <a:pt x="209" y="1098"/>
                  </a:lnTo>
                  <a:lnTo>
                    <a:pt x="209" y="1093"/>
                  </a:lnTo>
                  <a:lnTo>
                    <a:pt x="207" y="1089"/>
                  </a:lnTo>
                  <a:lnTo>
                    <a:pt x="210" y="1086"/>
                  </a:lnTo>
                  <a:lnTo>
                    <a:pt x="210" y="1085"/>
                  </a:lnTo>
                  <a:lnTo>
                    <a:pt x="209" y="1083"/>
                  </a:lnTo>
                  <a:lnTo>
                    <a:pt x="209" y="1082"/>
                  </a:lnTo>
                  <a:lnTo>
                    <a:pt x="210" y="1082"/>
                  </a:lnTo>
                  <a:lnTo>
                    <a:pt x="213" y="1083"/>
                  </a:lnTo>
                  <a:lnTo>
                    <a:pt x="216" y="1085"/>
                  </a:lnTo>
                  <a:lnTo>
                    <a:pt x="220" y="1087"/>
                  </a:lnTo>
                  <a:lnTo>
                    <a:pt x="220" y="1089"/>
                  </a:lnTo>
                  <a:lnTo>
                    <a:pt x="221" y="1089"/>
                  </a:lnTo>
                  <a:lnTo>
                    <a:pt x="222" y="1091"/>
                  </a:lnTo>
                  <a:lnTo>
                    <a:pt x="223" y="1092"/>
                  </a:lnTo>
                  <a:lnTo>
                    <a:pt x="223" y="1093"/>
                  </a:lnTo>
                  <a:lnTo>
                    <a:pt x="222" y="1094"/>
                  </a:lnTo>
                  <a:lnTo>
                    <a:pt x="221" y="1095"/>
                  </a:lnTo>
                  <a:lnTo>
                    <a:pt x="216" y="1096"/>
                  </a:lnTo>
                  <a:lnTo>
                    <a:pt x="214" y="1098"/>
                  </a:lnTo>
                  <a:lnTo>
                    <a:pt x="212" y="1101"/>
                  </a:lnTo>
                  <a:close/>
                  <a:moveTo>
                    <a:pt x="54" y="526"/>
                  </a:moveTo>
                  <a:lnTo>
                    <a:pt x="52" y="526"/>
                  </a:lnTo>
                  <a:lnTo>
                    <a:pt x="48" y="528"/>
                  </a:lnTo>
                  <a:lnTo>
                    <a:pt x="46" y="526"/>
                  </a:lnTo>
                  <a:lnTo>
                    <a:pt x="45" y="525"/>
                  </a:lnTo>
                  <a:lnTo>
                    <a:pt x="46" y="523"/>
                  </a:lnTo>
                  <a:lnTo>
                    <a:pt x="48" y="521"/>
                  </a:lnTo>
                  <a:lnTo>
                    <a:pt x="50" y="520"/>
                  </a:lnTo>
                  <a:lnTo>
                    <a:pt x="53" y="522"/>
                  </a:lnTo>
                  <a:lnTo>
                    <a:pt x="54" y="526"/>
                  </a:lnTo>
                  <a:close/>
                  <a:moveTo>
                    <a:pt x="67" y="523"/>
                  </a:moveTo>
                  <a:lnTo>
                    <a:pt x="66" y="517"/>
                  </a:lnTo>
                  <a:lnTo>
                    <a:pt x="64" y="512"/>
                  </a:lnTo>
                  <a:lnTo>
                    <a:pt x="69" y="511"/>
                  </a:lnTo>
                  <a:lnTo>
                    <a:pt x="71" y="512"/>
                  </a:lnTo>
                  <a:lnTo>
                    <a:pt x="74" y="514"/>
                  </a:lnTo>
                  <a:lnTo>
                    <a:pt x="72" y="517"/>
                  </a:lnTo>
                  <a:lnTo>
                    <a:pt x="71" y="517"/>
                  </a:lnTo>
                  <a:lnTo>
                    <a:pt x="70" y="520"/>
                  </a:lnTo>
                  <a:lnTo>
                    <a:pt x="69" y="521"/>
                  </a:lnTo>
                  <a:lnTo>
                    <a:pt x="67" y="523"/>
                  </a:lnTo>
                  <a:close/>
                  <a:moveTo>
                    <a:pt x="115" y="494"/>
                  </a:moveTo>
                  <a:lnTo>
                    <a:pt x="114" y="495"/>
                  </a:lnTo>
                  <a:lnTo>
                    <a:pt x="111" y="497"/>
                  </a:lnTo>
                  <a:lnTo>
                    <a:pt x="104" y="496"/>
                  </a:lnTo>
                  <a:lnTo>
                    <a:pt x="102" y="498"/>
                  </a:lnTo>
                  <a:lnTo>
                    <a:pt x="99" y="502"/>
                  </a:lnTo>
                  <a:lnTo>
                    <a:pt x="97" y="504"/>
                  </a:lnTo>
                  <a:lnTo>
                    <a:pt x="93" y="501"/>
                  </a:lnTo>
                  <a:lnTo>
                    <a:pt x="92" y="499"/>
                  </a:lnTo>
                  <a:lnTo>
                    <a:pt x="95" y="495"/>
                  </a:lnTo>
                  <a:lnTo>
                    <a:pt x="98" y="492"/>
                  </a:lnTo>
                  <a:lnTo>
                    <a:pt x="103" y="490"/>
                  </a:lnTo>
                  <a:lnTo>
                    <a:pt x="108" y="487"/>
                  </a:lnTo>
                  <a:lnTo>
                    <a:pt x="111" y="488"/>
                  </a:lnTo>
                  <a:lnTo>
                    <a:pt x="113" y="490"/>
                  </a:lnTo>
                  <a:lnTo>
                    <a:pt x="115" y="494"/>
                  </a:lnTo>
                  <a:close/>
                  <a:moveTo>
                    <a:pt x="118" y="490"/>
                  </a:moveTo>
                  <a:lnTo>
                    <a:pt x="115" y="487"/>
                  </a:lnTo>
                  <a:lnTo>
                    <a:pt x="115" y="484"/>
                  </a:lnTo>
                  <a:lnTo>
                    <a:pt x="117" y="482"/>
                  </a:lnTo>
                  <a:lnTo>
                    <a:pt x="121" y="485"/>
                  </a:lnTo>
                  <a:lnTo>
                    <a:pt x="121" y="487"/>
                  </a:lnTo>
                  <a:lnTo>
                    <a:pt x="121" y="489"/>
                  </a:lnTo>
                  <a:lnTo>
                    <a:pt x="118" y="490"/>
                  </a:lnTo>
                  <a:close/>
                  <a:moveTo>
                    <a:pt x="128" y="486"/>
                  </a:moveTo>
                  <a:lnTo>
                    <a:pt x="124" y="485"/>
                  </a:lnTo>
                  <a:lnTo>
                    <a:pt x="123" y="483"/>
                  </a:lnTo>
                  <a:lnTo>
                    <a:pt x="123" y="480"/>
                  </a:lnTo>
                  <a:lnTo>
                    <a:pt x="128" y="477"/>
                  </a:lnTo>
                  <a:lnTo>
                    <a:pt x="130" y="475"/>
                  </a:lnTo>
                  <a:lnTo>
                    <a:pt x="133" y="471"/>
                  </a:lnTo>
                  <a:lnTo>
                    <a:pt x="136" y="469"/>
                  </a:lnTo>
                  <a:lnTo>
                    <a:pt x="140" y="468"/>
                  </a:lnTo>
                  <a:lnTo>
                    <a:pt x="148" y="471"/>
                  </a:lnTo>
                  <a:lnTo>
                    <a:pt x="153" y="473"/>
                  </a:lnTo>
                  <a:lnTo>
                    <a:pt x="152" y="475"/>
                  </a:lnTo>
                  <a:lnTo>
                    <a:pt x="150" y="476"/>
                  </a:lnTo>
                  <a:lnTo>
                    <a:pt x="146" y="475"/>
                  </a:lnTo>
                  <a:lnTo>
                    <a:pt x="143" y="475"/>
                  </a:lnTo>
                  <a:lnTo>
                    <a:pt x="137" y="477"/>
                  </a:lnTo>
                  <a:lnTo>
                    <a:pt x="135" y="480"/>
                  </a:lnTo>
                  <a:lnTo>
                    <a:pt x="128" y="48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38" name="Freeform 10">
              <a:extLst>
                <a:ext uri="{FF2B5EF4-FFF2-40B4-BE49-F238E27FC236}">
                  <a16:creationId xmlns:a16="http://schemas.microsoft.com/office/drawing/2014/main" id="{A4B2BCBD-41DD-20BA-6C67-0EF785024B3E}"/>
                </a:ext>
              </a:extLst>
            </p:cNvPr>
            <p:cNvSpPr>
              <a:spLocks/>
            </p:cNvSpPr>
            <p:nvPr/>
          </p:nvSpPr>
          <p:spPr bwMode="auto">
            <a:xfrm>
              <a:off x="2853909" y="4521200"/>
              <a:ext cx="627063" cy="412750"/>
            </a:xfrm>
            <a:custGeom>
              <a:avLst/>
              <a:gdLst/>
              <a:ahLst/>
              <a:cxnLst>
                <a:cxn ang="0">
                  <a:pos x="253" y="137"/>
                </a:cxn>
                <a:cxn ang="0">
                  <a:pos x="265" y="180"/>
                </a:cxn>
                <a:cxn ang="0">
                  <a:pos x="282" y="202"/>
                </a:cxn>
                <a:cxn ang="0">
                  <a:pos x="306" y="208"/>
                </a:cxn>
                <a:cxn ang="0">
                  <a:pos x="334" y="205"/>
                </a:cxn>
                <a:cxn ang="0">
                  <a:pos x="343" y="188"/>
                </a:cxn>
                <a:cxn ang="0">
                  <a:pos x="352" y="169"/>
                </a:cxn>
                <a:cxn ang="0">
                  <a:pos x="379" y="163"/>
                </a:cxn>
                <a:cxn ang="0">
                  <a:pos x="395" y="171"/>
                </a:cxn>
                <a:cxn ang="0">
                  <a:pos x="384" y="188"/>
                </a:cxn>
                <a:cxn ang="0">
                  <a:pos x="383" y="206"/>
                </a:cxn>
                <a:cxn ang="0">
                  <a:pos x="377" y="206"/>
                </a:cxn>
                <a:cxn ang="0">
                  <a:pos x="366" y="215"/>
                </a:cxn>
                <a:cxn ang="0">
                  <a:pos x="341" y="227"/>
                </a:cxn>
                <a:cxn ang="0">
                  <a:pos x="332" y="239"/>
                </a:cxn>
                <a:cxn ang="0">
                  <a:pos x="322" y="256"/>
                </a:cxn>
                <a:cxn ang="0">
                  <a:pos x="298" y="237"/>
                </a:cxn>
                <a:cxn ang="0">
                  <a:pos x="267" y="243"/>
                </a:cxn>
                <a:cxn ang="0">
                  <a:pos x="239" y="232"/>
                </a:cxn>
                <a:cxn ang="0">
                  <a:pos x="205" y="218"/>
                </a:cxn>
                <a:cxn ang="0">
                  <a:pos x="175" y="204"/>
                </a:cxn>
                <a:cxn ang="0">
                  <a:pos x="152" y="183"/>
                </a:cxn>
                <a:cxn ang="0">
                  <a:pos x="155" y="176"/>
                </a:cxn>
                <a:cxn ang="0">
                  <a:pos x="151" y="156"/>
                </a:cxn>
                <a:cxn ang="0">
                  <a:pos x="130" y="128"/>
                </a:cxn>
                <a:cxn ang="0">
                  <a:pos x="119" y="113"/>
                </a:cxn>
                <a:cxn ang="0">
                  <a:pos x="105" y="106"/>
                </a:cxn>
                <a:cxn ang="0">
                  <a:pos x="100" y="89"/>
                </a:cxn>
                <a:cxn ang="0">
                  <a:pos x="87" y="80"/>
                </a:cxn>
                <a:cxn ang="0">
                  <a:pos x="80" y="70"/>
                </a:cxn>
                <a:cxn ang="0">
                  <a:pos x="59" y="42"/>
                </a:cxn>
                <a:cxn ang="0">
                  <a:pos x="54" y="23"/>
                </a:cxn>
                <a:cxn ang="0">
                  <a:pos x="40" y="17"/>
                </a:cxn>
                <a:cxn ang="0">
                  <a:pos x="30" y="26"/>
                </a:cxn>
                <a:cxn ang="0">
                  <a:pos x="40" y="46"/>
                </a:cxn>
                <a:cxn ang="0">
                  <a:pos x="56" y="65"/>
                </a:cxn>
                <a:cxn ang="0">
                  <a:pos x="65" y="80"/>
                </a:cxn>
                <a:cxn ang="0">
                  <a:pos x="76" y="101"/>
                </a:cxn>
                <a:cxn ang="0">
                  <a:pos x="87" y="126"/>
                </a:cxn>
                <a:cxn ang="0">
                  <a:pos x="100" y="135"/>
                </a:cxn>
                <a:cxn ang="0">
                  <a:pos x="92" y="142"/>
                </a:cxn>
                <a:cxn ang="0">
                  <a:pos x="69" y="119"/>
                </a:cxn>
                <a:cxn ang="0">
                  <a:pos x="62" y="97"/>
                </a:cxn>
                <a:cxn ang="0">
                  <a:pos x="47" y="89"/>
                </a:cxn>
                <a:cxn ang="0">
                  <a:pos x="31" y="74"/>
                </a:cxn>
                <a:cxn ang="0">
                  <a:pos x="38" y="60"/>
                </a:cxn>
                <a:cxn ang="0">
                  <a:pos x="18" y="37"/>
                </a:cxn>
                <a:cxn ang="0">
                  <a:pos x="9" y="21"/>
                </a:cxn>
                <a:cxn ang="0">
                  <a:pos x="0" y="2"/>
                </a:cxn>
                <a:cxn ang="0">
                  <a:pos x="40" y="6"/>
                </a:cxn>
                <a:cxn ang="0">
                  <a:pos x="104" y="21"/>
                </a:cxn>
                <a:cxn ang="0">
                  <a:pos x="140" y="15"/>
                </a:cxn>
                <a:cxn ang="0">
                  <a:pos x="160" y="37"/>
                </a:cxn>
                <a:cxn ang="0">
                  <a:pos x="182" y="55"/>
                </a:cxn>
                <a:cxn ang="0">
                  <a:pos x="199" y="44"/>
                </a:cxn>
                <a:cxn ang="0">
                  <a:pos x="219" y="66"/>
                </a:cxn>
                <a:cxn ang="0">
                  <a:pos x="234" y="91"/>
                </a:cxn>
                <a:cxn ang="0">
                  <a:pos x="253" y="99"/>
                </a:cxn>
              </a:cxnLst>
              <a:rect l="0" t="0" r="r" b="b"/>
              <a:pathLst>
                <a:path w="395" h="260">
                  <a:moveTo>
                    <a:pt x="260" y="102"/>
                  </a:moveTo>
                  <a:lnTo>
                    <a:pt x="258" y="108"/>
                  </a:lnTo>
                  <a:lnTo>
                    <a:pt x="255" y="113"/>
                  </a:lnTo>
                  <a:lnTo>
                    <a:pt x="254" y="118"/>
                  </a:lnTo>
                  <a:lnTo>
                    <a:pt x="253" y="125"/>
                  </a:lnTo>
                  <a:lnTo>
                    <a:pt x="253" y="137"/>
                  </a:lnTo>
                  <a:lnTo>
                    <a:pt x="252" y="145"/>
                  </a:lnTo>
                  <a:lnTo>
                    <a:pt x="252" y="152"/>
                  </a:lnTo>
                  <a:lnTo>
                    <a:pt x="255" y="163"/>
                  </a:lnTo>
                  <a:lnTo>
                    <a:pt x="257" y="168"/>
                  </a:lnTo>
                  <a:lnTo>
                    <a:pt x="261" y="174"/>
                  </a:lnTo>
                  <a:lnTo>
                    <a:pt x="265" y="180"/>
                  </a:lnTo>
                  <a:lnTo>
                    <a:pt x="266" y="183"/>
                  </a:lnTo>
                  <a:lnTo>
                    <a:pt x="269" y="186"/>
                  </a:lnTo>
                  <a:lnTo>
                    <a:pt x="272" y="192"/>
                  </a:lnTo>
                  <a:lnTo>
                    <a:pt x="276" y="200"/>
                  </a:lnTo>
                  <a:lnTo>
                    <a:pt x="279" y="201"/>
                  </a:lnTo>
                  <a:lnTo>
                    <a:pt x="282" y="202"/>
                  </a:lnTo>
                  <a:lnTo>
                    <a:pt x="285" y="202"/>
                  </a:lnTo>
                  <a:lnTo>
                    <a:pt x="288" y="203"/>
                  </a:lnTo>
                  <a:lnTo>
                    <a:pt x="292" y="206"/>
                  </a:lnTo>
                  <a:lnTo>
                    <a:pt x="295" y="209"/>
                  </a:lnTo>
                  <a:lnTo>
                    <a:pt x="300" y="209"/>
                  </a:lnTo>
                  <a:lnTo>
                    <a:pt x="306" y="208"/>
                  </a:lnTo>
                  <a:lnTo>
                    <a:pt x="315" y="205"/>
                  </a:lnTo>
                  <a:lnTo>
                    <a:pt x="323" y="203"/>
                  </a:lnTo>
                  <a:lnTo>
                    <a:pt x="327" y="202"/>
                  </a:lnTo>
                  <a:lnTo>
                    <a:pt x="327" y="206"/>
                  </a:lnTo>
                  <a:lnTo>
                    <a:pt x="332" y="207"/>
                  </a:lnTo>
                  <a:lnTo>
                    <a:pt x="334" y="205"/>
                  </a:lnTo>
                  <a:lnTo>
                    <a:pt x="336" y="204"/>
                  </a:lnTo>
                  <a:lnTo>
                    <a:pt x="335" y="202"/>
                  </a:lnTo>
                  <a:lnTo>
                    <a:pt x="333" y="201"/>
                  </a:lnTo>
                  <a:lnTo>
                    <a:pt x="339" y="197"/>
                  </a:lnTo>
                  <a:lnTo>
                    <a:pt x="343" y="194"/>
                  </a:lnTo>
                  <a:lnTo>
                    <a:pt x="343" y="188"/>
                  </a:lnTo>
                  <a:lnTo>
                    <a:pt x="346" y="186"/>
                  </a:lnTo>
                  <a:lnTo>
                    <a:pt x="346" y="183"/>
                  </a:lnTo>
                  <a:lnTo>
                    <a:pt x="346" y="176"/>
                  </a:lnTo>
                  <a:lnTo>
                    <a:pt x="348" y="171"/>
                  </a:lnTo>
                  <a:lnTo>
                    <a:pt x="351" y="169"/>
                  </a:lnTo>
                  <a:lnTo>
                    <a:pt x="352" y="169"/>
                  </a:lnTo>
                  <a:lnTo>
                    <a:pt x="357" y="167"/>
                  </a:lnTo>
                  <a:lnTo>
                    <a:pt x="361" y="167"/>
                  </a:lnTo>
                  <a:lnTo>
                    <a:pt x="367" y="165"/>
                  </a:lnTo>
                  <a:lnTo>
                    <a:pt x="373" y="163"/>
                  </a:lnTo>
                  <a:lnTo>
                    <a:pt x="377" y="163"/>
                  </a:lnTo>
                  <a:lnTo>
                    <a:pt x="379" y="163"/>
                  </a:lnTo>
                  <a:lnTo>
                    <a:pt x="386" y="164"/>
                  </a:lnTo>
                  <a:lnTo>
                    <a:pt x="389" y="163"/>
                  </a:lnTo>
                  <a:lnTo>
                    <a:pt x="391" y="164"/>
                  </a:lnTo>
                  <a:lnTo>
                    <a:pt x="395" y="167"/>
                  </a:lnTo>
                  <a:lnTo>
                    <a:pt x="395" y="168"/>
                  </a:lnTo>
                  <a:lnTo>
                    <a:pt x="395" y="171"/>
                  </a:lnTo>
                  <a:lnTo>
                    <a:pt x="393" y="174"/>
                  </a:lnTo>
                  <a:lnTo>
                    <a:pt x="390" y="177"/>
                  </a:lnTo>
                  <a:lnTo>
                    <a:pt x="387" y="179"/>
                  </a:lnTo>
                  <a:lnTo>
                    <a:pt x="385" y="182"/>
                  </a:lnTo>
                  <a:lnTo>
                    <a:pt x="385" y="186"/>
                  </a:lnTo>
                  <a:lnTo>
                    <a:pt x="384" y="188"/>
                  </a:lnTo>
                  <a:lnTo>
                    <a:pt x="383" y="191"/>
                  </a:lnTo>
                  <a:lnTo>
                    <a:pt x="384" y="192"/>
                  </a:lnTo>
                  <a:lnTo>
                    <a:pt x="386" y="191"/>
                  </a:lnTo>
                  <a:lnTo>
                    <a:pt x="385" y="195"/>
                  </a:lnTo>
                  <a:lnTo>
                    <a:pt x="384" y="202"/>
                  </a:lnTo>
                  <a:lnTo>
                    <a:pt x="383" y="206"/>
                  </a:lnTo>
                  <a:lnTo>
                    <a:pt x="382" y="207"/>
                  </a:lnTo>
                  <a:lnTo>
                    <a:pt x="381" y="204"/>
                  </a:lnTo>
                  <a:lnTo>
                    <a:pt x="380" y="201"/>
                  </a:lnTo>
                  <a:lnTo>
                    <a:pt x="379" y="200"/>
                  </a:lnTo>
                  <a:lnTo>
                    <a:pt x="377" y="202"/>
                  </a:lnTo>
                  <a:lnTo>
                    <a:pt x="377" y="206"/>
                  </a:lnTo>
                  <a:lnTo>
                    <a:pt x="374" y="206"/>
                  </a:lnTo>
                  <a:lnTo>
                    <a:pt x="373" y="209"/>
                  </a:lnTo>
                  <a:lnTo>
                    <a:pt x="370" y="214"/>
                  </a:lnTo>
                  <a:lnTo>
                    <a:pt x="367" y="212"/>
                  </a:lnTo>
                  <a:lnTo>
                    <a:pt x="366" y="213"/>
                  </a:lnTo>
                  <a:lnTo>
                    <a:pt x="366" y="215"/>
                  </a:lnTo>
                  <a:lnTo>
                    <a:pt x="352" y="215"/>
                  </a:lnTo>
                  <a:lnTo>
                    <a:pt x="342" y="215"/>
                  </a:lnTo>
                  <a:lnTo>
                    <a:pt x="342" y="222"/>
                  </a:lnTo>
                  <a:lnTo>
                    <a:pt x="336" y="222"/>
                  </a:lnTo>
                  <a:lnTo>
                    <a:pt x="338" y="224"/>
                  </a:lnTo>
                  <a:lnTo>
                    <a:pt x="341" y="227"/>
                  </a:lnTo>
                  <a:lnTo>
                    <a:pt x="345" y="229"/>
                  </a:lnTo>
                  <a:lnTo>
                    <a:pt x="346" y="233"/>
                  </a:lnTo>
                  <a:lnTo>
                    <a:pt x="350" y="234"/>
                  </a:lnTo>
                  <a:lnTo>
                    <a:pt x="348" y="239"/>
                  </a:lnTo>
                  <a:lnTo>
                    <a:pt x="338" y="239"/>
                  </a:lnTo>
                  <a:lnTo>
                    <a:pt x="332" y="239"/>
                  </a:lnTo>
                  <a:lnTo>
                    <a:pt x="325" y="249"/>
                  </a:lnTo>
                  <a:lnTo>
                    <a:pt x="327" y="252"/>
                  </a:lnTo>
                  <a:lnTo>
                    <a:pt x="326" y="254"/>
                  </a:lnTo>
                  <a:lnTo>
                    <a:pt x="327" y="257"/>
                  </a:lnTo>
                  <a:lnTo>
                    <a:pt x="327" y="260"/>
                  </a:lnTo>
                  <a:lnTo>
                    <a:pt x="322" y="256"/>
                  </a:lnTo>
                  <a:lnTo>
                    <a:pt x="317" y="251"/>
                  </a:lnTo>
                  <a:lnTo>
                    <a:pt x="311" y="246"/>
                  </a:lnTo>
                  <a:lnTo>
                    <a:pt x="305" y="241"/>
                  </a:lnTo>
                  <a:lnTo>
                    <a:pt x="302" y="239"/>
                  </a:lnTo>
                  <a:lnTo>
                    <a:pt x="301" y="238"/>
                  </a:lnTo>
                  <a:lnTo>
                    <a:pt x="298" y="237"/>
                  </a:lnTo>
                  <a:lnTo>
                    <a:pt x="292" y="236"/>
                  </a:lnTo>
                  <a:lnTo>
                    <a:pt x="288" y="236"/>
                  </a:lnTo>
                  <a:lnTo>
                    <a:pt x="283" y="238"/>
                  </a:lnTo>
                  <a:lnTo>
                    <a:pt x="277" y="242"/>
                  </a:lnTo>
                  <a:lnTo>
                    <a:pt x="272" y="243"/>
                  </a:lnTo>
                  <a:lnTo>
                    <a:pt x="267" y="243"/>
                  </a:lnTo>
                  <a:lnTo>
                    <a:pt x="262" y="242"/>
                  </a:lnTo>
                  <a:lnTo>
                    <a:pt x="259" y="240"/>
                  </a:lnTo>
                  <a:lnTo>
                    <a:pt x="252" y="239"/>
                  </a:lnTo>
                  <a:lnTo>
                    <a:pt x="249" y="237"/>
                  </a:lnTo>
                  <a:lnTo>
                    <a:pt x="245" y="235"/>
                  </a:lnTo>
                  <a:lnTo>
                    <a:pt x="239" y="232"/>
                  </a:lnTo>
                  <a:lnTo>
                    <a:pt x="235" y="230"/>
                  </a:lnTo>
                  <a:lnTo>
                    <a:pt x="225" y="228"/>
                  </a:lnTo>
                  <a:lnTo>
                    <a:pt x="219" y="225"/>
                  </a:lnTo>
                  <a:lnTo>
                    <a:pt x="214" y="223"/>
                  </a:lnTo>
                  <a:lnTo>
                    <a:pt x="208" y="221"/>
                  </a:lnTo>
                  <a:lnTo>
                    <a:pt x="205" y="218"/>
                  </a:lnTo>
                  <a:lnTo>
                    <a:pt x="198" y="212"/>
                  </a:lnTo>
                  <a:lnTo>
                    <a:pt x="197" y="212"/>
                  </a:lnTo>
                  <a:lnTo>
                    <a:pt x="193" y="212"/>
                  </a:lnTo>
                  <a:lnTo>
                    <a:pt x="189" y="211"/>
                  </a:lnTo>
                  <a:lnTo>
                    <a:pt x="178" y="208"/>
                  </a:lnTo>
                  <a:lnTo>
                    <a:pt x="175" y="204"/>
                  </a:lnTo>
                  <a:lnTo>
                    <a:pt x="172" y="200"/>
                  </a:lnTo>
                  <a:lnTo>
                    <a:pt x="169" y="198"/>
                  </a:lnTo>
                  <a:lnTo>
                    <a:pt x="163" y="194"/>
                  </a:lnTo>
                  <a:lnTo>
                    <a:pt x="160" y="193"/>
                  </a:lnTo>
                  <a:lnTo>
                    <a:pt x="157" y="189"/>
                  </a:lnTo>
                  <a:lnTo>
                    <a:pt x="152" y="183"/>
                  </a:lnTo>
                  <a:lnTo>
                    <a:pt x="150" y="180"/>
                  </a:lnTo>
                  <a:lnTo>
                    <a:pt x="150" y="179"/>
                  </a:lnTo>
                  <a:lnTo>
                    <a:pt x="151" y="178"/>
                  </a:lnTo>
                  <a:lnTo>
                    <a:pt x="154" y="178"/>
                  </a:lnTo>
                  <a:lnTo>
                    <a:pt x="155" y="177"/>
                  </a:lnTo>
                  <a:lnTo>
                    <a:pt x="155" y="176"/>
                  </a:lnTo>
                  <a:lnTo>
                    <a:pt x="153" y="173"/>
                  </a:lnTo>
                  <a:lnTo>
                    <a:pt x="156" y="169"/>
                  </a:lnTo>
                  <a:lnTo>
                    <a:pt x="156" y="167"/>
                  </a:lnTo>
                  <a:lnTo>
                    <a:pt x="155" y="164"/>
                  </a:lnTo>
                  <a:lnTo>
                    <a:pt x="151" y="158"/>
                  </a:lnTo>
                  <a:lnTo>
                    <a:pt x="151" y="156"/>
                  </a:lnTo>
                  <a:lnTo>
                    <a:pt x="152" y="155"/>
                  </a:lnTo>
                  <a:lnTo>
                    <a:pt x="152" y="153"/>
                  </a:lnTo>
                  <a:lnTo>
                    <a:pt x="148" y="149"/>
                  </a:lnTo>
                  <a:lnTo>
                    <a:pt x="139" y="138"/>
                  </a:lnTo>
                  <a:lnTo>
                    <a:pt x="136" y="134"/>
                  </a:lnTo>
                  <a:lnTo>
                    <a:pt x="130" y="128"/>
                  </a:lnTo>
                  <a:lnTo>
                    <a:pt x="127" y="124"/>
                  </a:lnTo>
                  <a:lnTo>
                    <a:pt x="123" y="120"/>
                  </a:lnTo>
                  <a:lnTo>
                    <a:pt x="121" y="119"/>
                  </a:lnTo>
                  <a:lnTo>
                    <a:pt x="120" y="117"/>
                  </a:lnTo>
                  <a:lnTo>
                    <a:pt x="120" y="114"/>
                  </a:lnTo>
                  <a:lnTo>
                    <a:pt x="119" y="113"/>
                  </a:lnTo>
                  <a:lnTo>
                    <a:pt x="117" y="112"/>
                  </a:lnTo>
                  <a:lnTo>
                    <a:pt x="113" y="111"/>
                  </a:lnTo>
                  <a:lnTo>
                    <a:pt x="111" y="108"/>
                  </a:lnTo>
                  <a:lnTo>
                    <a:pt x="109" y="105"/>
                  </a:lnTo>
                  <a:lnTo>
                    <a:pt x="107" y="105"/>
                  </a:lnTo>
                  <a:lnTo>
                    <a:pt x="105" y="106"/>
                  </a:lnTo>
                  <a:lnTo>
                    <a:pt x="103" y="105"/>
                  </a:lnTo>
                  <a:lnTo>
                    <a:pt x="102" y="102"/>
                  </a:lnTo>
                  <a:lnTo>
                    <a:pt x="102" y="100"/>
                  </a:lnTo>
                  <a:lnTo>
                    <a:pt x="105" y="95"/>
                  </a:lnTo>
                  <a:lnTo>
                    <a:pt x="104" y="93"/>
                  </a:lnTo>
                  <a:lnTo>
                    <a:pt x="100" y="89"/>
                  </a:lnTo>
                  <a:lnTo>
                    <a:pt x="97" y="91"/>
                  </a:lnTo>
                  <a:lnTo>
                    <a:pt x="95" y="87"/>
                  </a:lnTo>
                  <a:lnTo>
                    <a:pt x="94" y="84"/>
                  </a:lnTo>
                  <a:lnTo>
                    <a:pt x="92" y="83"/>
                  </a:lnTo>
                  <a:lnTo>
                    <a:pt x="88" y="82"/>
                  </a:lnTo>
                  <a:lnTo>
                    <a:pt x="87" y="80"/>
                  </a:lnTo>
                  <a:lnTo>
                    <a:pt x="86" y="78"/>
                  </a:lnTo>
                  <a:lnTo>
                    <a:pt x="86" y="76"/>
                  </a:lnTo>
                  <a:lnTo>
                    <a:pt x="87" y="74"/>
                  </a:lnTo>
                  <a:lnTo>
                    <a:pt x="86" y="72"/>
                  </a:lnTo>
                  <a:lnTo>
                    <a:pt x="82" y="71"/>
                  </a:lnTo>
                  <a:lnTo>
                    <a:pt x="80" y="70"/>
                  </a:lnTo>
                  <a:lnTo>
                    <a:pt x="77" y="69"/>
                  </a:lnTo>
                  <a:lnTo>
                    <a:pt x="72" y="63"/>
                  </a:lnTo>
                  <a:lnTo>
                    <a:pt x="69" y="58"/>
                  </a:lnTo>
                  <a:lnTo>
                    <a:pt x="67" y="54"/>
                  </a:lnTo>
                  <a:lnTo>
                    <a:pt x="63" y="49"/>
                  </a:lnTo>
                  <a:lnTo>
                    <a:pt x="59" y="42"/>
                  </a:lnTo>
                  <a:lnTo>
                    <a:pt x="58" y="39"/>
                  </a:lnTo>
                  <a:lnTo>
                    <a:pt x="55" y="34"/>
                  </a:lnTo>
                  <a:lnTo>
                    <a:pt x="54" y="32"/>
                  </a:lnTo>
                  <a:lnTo>
                    <a:pt x="53" y="29"/>
                  </a:lnTo>
                  <a:lnTo>
                    <a:pt x="54" y="25"/>
                  </a:lnTo>
                  <a:lnTo>
                    <a:pt x="54" y="23"/>
                  </a:lnTo>
                  <a:lnTo>
                    <a:pt x="50" y="21"/>
                  </a:lnTo>
                  <a:lnTo>
                    <a:pt x="46" y="20"/>
                  </a:lnTo>
                  <a:lnTo>
                    <a:pt x="45" y="17"/>
                  </a:lnTo>
                  <a:lnTo>
                    <a:pt x="45" y="16"/>
                  </a:lnTo>
                  <a:lnTo>
                    <a:pt x="42" y="15"/>
                  </a:lnTo>
                  <a:lnTo>
                    <a:pt x="40" y="17"/>
                  </a:lnTo>
                  <a:lnTo>
                    <a:pt x="39" y="17"/>
                  </a:lnTo>
                  <a:lnTo>
                    <a:pt x="30" y="13"/>
                  </a:lnTo>
                  <a:lnTo>
                    <a:pt x="29" y="20"/>
                  </a:lnTo>
                  <a:lnTo>
                    <a:pt x="28" y="23"/>
                  </a:lnTo>
                  <a:lnTo>
                    <a:pt x="28" y="23"/>
                  </a:lnTo>
                  <a:lnTo>
                    <a:pt x="30" y="26"/>
                  </a:lnTo>
                  <a:lnTo>
                    <a:pt x="32" y="28"/>
                  </a:lnTo>
                  <a:lnTo>
                    <a:pt x="32" y="35"/>
                  </a:lnTo>
                  <a:lnTo>
                    <a:pt x="32" y="38"/>
                  </a:lnTo>
                  <a:lnTo>
                    <a:pt x="35" y="43"/>
                  </a:lnTo>
                  <a:lnTo>
                    <a:pt x="36" y="44"/>
                  </a:lnTo>
                  <a:lnTo>
                    <a:pt x="40" y="46"/>
                  </a:lnTo>
                  <a:lnTo>
                    <a:pt x="43" y="50"/>
                  </a:lnTo>
                  <a:lnTo>
                    <a:pt x="46" y="54"/>
                  </a:lnTo>
                  <a:lnTo>
                    <a:pt x="50" y="62"/>
                  </a:lnTo>
                  <a:lnTo>
                    <a:pt x="53" y="64"/>
                  </a:lnTo>
                  <a:lnTo>
                    <a:pt x="55" y="64"/>
                  </a:lnTo>
                  <a:lnTo>
                    <a:pt x="56" y="65"/>
                  </a:lnTo>
                  <a:lnTo>
                    <a:pt x="58" y="75"/>
                  </a:lnTo>
                  <a:lnTo>
                    <a:pt x="58" y="76"/>
                  </a:lnTo>
                  <a:lnTo>
                    <a:pt x="60" y="77"/>
                  </a:lnTo>
                  <a:lnTo>
                    <a:pt x="63" y="77"/>
                  </a:lnTo>
                  <a:lnTo>
                    <a:pt x="64" y="78"/>
                  </a:lnTo>
                  <a:lnTo>
                    <a:pt x="65" y="80"/>
                  </a:lnTo>
                  <a:lnTo>
                    <a:pt x="66" y="85"/>
                  </a:lnTo>
                  <a:lnTo>
                    <a:pt x="69" y="90"/>
                  </a:lnTo>
                  <a:lnTo>
                    <a:pt x="72" y="89"/>
                  </a:lnTo>
                  <a:lnTo>
                    <a:pt x="73" y="89"/>
                  </a:lnTo>
                  <a:lnTo>
                    <a:pt x="74" y="92"/>
                  </a:lnTo>
                  <a:lnTo>
                    <a:pt x="76" y="101"/>
                  </a:lnTo>
                  <a:lnTo>
                    <a:pt x="79" y="108"/>
                  </a:lnTo>
                  <a:lnTo>
                    <a:pt x="83" y="116"/>
                  </a:lnTo>
                  <a:lnTo>
                    <a:pt x="84" y="120"/>
                  </a:lnTo>
                  <a:lnTo>
                    <a:pt x="84" y="123"/>
                  </a:lnTo>
                  <a:lnTo>
                    <a:pt x="85" y="125"/>
                  </a:lnTo>
                  <a:lnTo>
                    <a:pt x="87" y="126"/>
                  </a:lnTo>
                  <a:lnTo>
                    <a:pt x="90" y="125"/>
                  </a:lnTo>
                  <a:lnTo>
                    <a:pt x="91" y="124"/>
                  </a:lnTo>
                  <a:lnTo>
                    <a:pt x="94" y="129"/>
                  </a:lnTo>
                  <a:lnTo>
                    <a:pt x="96" y="133"/>
                  </a:lnTo>
                  <a:lnTo>
                    <a:pt x="99" y="134"/>
                  </a:lnTo>
                  <a:lnTo>
                    <a:pt x="100" y="135"/>
                  </a:lnTo>
                  <a:lnTo>
                    <a:pt x="101" y="137"/>
                  </a:lnTo>
                  <a:lnTo>
                    <a:pt x="100" y="140"/>
                  </a:lnTo>
                  <a:lnTo>
                    <a:pt x="99" y="141"/>
                  </a:lnTo>
                  <a:lnTo>
                    <a:pt x="95" y="144"/>
                  </a:lnTo>
                  <a:lnTo>
                    <a:pt x="93" y="144"/>
                  </a:lnTo>
                  <a:lnTo>
                    <a:pt x="92" y="142"/>
                  </a:lnTo>
                  <a:lnTo>
                    <a:pt x="91" y="137"/>
                  </a:lnTo>
                  <a:lnTo>
                    <a:pt x="87" y="133"/>
                  </a:lnTo>
                  <a:lnTo>
                    <a:pt x="83" y="131"/>
                  </a:lnTo>
                  <a:lnTo>
                    <a:pt x="80" y="128"/>
                  </a:lnTo>
                  <a:lnTo>
                    <a:pt x="75" y="125"/>
                  </a:lnTo>
                  <a:lnTo>
                    <a:pt x="69" y="119"/>
                  </a:lnTo>
                  <a:lnTo>
                    <a:pt x="66" y="116"/>
                  </a:lnTo>
                  <a:lnTo>
                    <a:pt x="65" y="114"/>
                  </a:lnTo>
                  <a:lnTo>
                    <a:pt x="67" y="108"/>
                  </a:lnTo>
                  <a:lnTo>
                    <a:pt x="66" y="106"/>
                  </a:lnTo>
                  <a:lnTo>
                    <a:pt x="63" y="99"/>
                  </a:lnTo>
                  <a:lnTo>
                    <a:pt x="62" y="97"/>
                  </a:lnTo>
                  <a:lnTo>
                    <a:pt x="60" y="95"/>
                  </a:lnTo>
                  <a:lnTo>
                    <a:pt x="58" y="94"/>
                  </a:lnTo>
                  <a:lnTo>
                    <a:pt x="55" y="92"/>
                  </a:lnTo>
                  <a:lnTo>
                    <a:pt x="51" y="88"/>
                  </a:lnTo>
                  <a:lnTo>
                    <a:pt x="49" y="89"/>
                  </a:lnTo>
                  <a:lnTo>
                    <a:pt x="47" y="89"/>
                  </a:lnTo>
                  <a:lnTo>
                    <a:pt x="39" y="83"/>
                  </a:lnTo>
                  <a:lnTo>
                    <a:pt x="35" y="81"/>
                  </a:lnTo>
                  <a:lnTo>
                    <a:pt x="30" y="75"/>
                  </a:lnTo>
                  <a:lnTo>
                    <a:pt x="29" y="74"/>
                  </a:lnTo>
                  <a:lnTo>
                    <a:pt x="27" y="72"/>
                  </a:lnTo>
                  <a:lnTo>
                    <a:pt x="31" y="74"/>
                  </a:lnTo>
                  <a:lnTo>
                    <a:pt x="35" y="74"/>
                  </a:lnTo>
                  <a:lnTo>
                    <a:pt x="39" y="72"/>
                  </a:lnTo>
                  <a:lnTo>
                    <a:pt x="40" y="69"/>
                  </a:lnTo>
                  <a:lnTo>
                    <a:pt x="40" y="65"/>
                  </a:lnTo>
                  <a:lnTo>
                    <a:pt x="40" y="64"/>
                  </a:lnTo>
                  <a:lnTo>
                    <a:pt x="38" y="60"/>
                  </a:lnTo>
                  <a:lnTo>
                    <a:pt x="35" y="57"/>
                  </a:lnTo>
                  <a:lnTo>
                    <a:pt x="28" y="51"/>
                  </a:lnTo>
                  <a:lnTo>
                    <a:pt x="23" y="47"/>
                  </a:lnTo>
                  <a:lnTo>
                    <a:pt x="20" y="45"/>
                  </a:lnTo>
                  <a:lnTo>
                    <a:pt x="19" y="42"/>
                  </a:lnTo>
                  <a:lnTo>
                    <a:pt x="18" y="37"/>
                  </a:lnTo>
                  <a:lnTo>
                    <a:pt x="17" y="36"/>
                  </a:lnTo>
                  <a:lnTo>
                    <a:pt x="15" y="35"/>
                  </a:lnTo>
                  <a:lnTo>
                    <a:pt x="13" y="33"/>
                  </a:lnTo>
                  <a:lnTo>
                    <a:pt x="13" y="29"/>
                  </a:lnTo>
                  <a:lnTo>
                    <a:pt x="12" y="26"/>
                  </a:lnTo>
                  <a:lnTo>
                    <a:pt x="9" y="21"/>
                  </a:lnTo>
                  <a:lnTo>
                    <a:pt x="6" y="16"/>
                  </a:lnTo>
                  <a:lnTo>
                    <a:pt x="6" y="14"/>
                  </a:lnTo>
                  <a:lnTo>
                    <a:pt x="7" y="12"/>
                  </a:lnTo>
                  <a:lnTo>
                    <a:pt x="3" y="8"/>
                  </a:lnTo>
                  <a:lnTo>
                    <a:pt x="1" y="5"/>
                  </a:lnTo>
                  <a:lnTo>
                    <a:pt x="0" y="2"/>
                  </a:lnTo>
                  <a:lnTo>
                    <a:pt x="2" y="2"/>
                  </a:lnTo>
                  <a:lnTo>
                    <a:pt x="16" y="1"/>
                  </a:lnTo>
                  <a:lnTo>
                    <a:pt x="30" y="0"/>
                  </a:lnTo>
                  <a:lnTo>
                    <a:pt x="31" y="2"/>
                  </a:lnTo>
                  <a:lnTo>
                    <a:pt x="33" y="3"/>
                  </a:lnTo>
                  <a:lnTo>
                    <a:pt x="40" y="6"/>
                  </a:lnTo>
                  <a:lnTo>
                    <a:pt x="57" y="12"/>
                  </a:lnTo>
                  <a:lnTo>
                    <a:pt x="77" y="20"/>
                  </a:lnTo>
                  <a:lnTo>
                    <a:pt x="79" y="21"/>
                  </a:lnTo>
                  <a:lnTo>
                    <a:pt x="89" y="21"/>
                  </a:lnTo>
                  <a:lnTo>
                    <a:pt x="98" y="21"/>
                  </a:lnTo>
                  <a:lnTo>
                    <a:pt x="104" y="21"/>
                  </a:lnTo>
                  <a:lnTo>
                    <a:pt x="115" y="21"/>
                  </a:lnTo>
                  <a:lnTo>
                    <a:pt x="116" y="20"/>
                  </a:lnTo>
                  <a:lnTo>
                    <a:pt x="117" y="14"/>
                  </a:lnTo>
                  <a:lnTo>
                    <a:pt x="127" y="14"/>
                  </a:lnTo>
                  <a:lnTo>
                    <a:pt x="139" y="15"/>
                  </a:lnTo>
                  <a:lnTo>
                    <a:pt x="140" y="15"/>
                  </a:lnTo>
                  <a:lnTo>
                    <a:pt x="144" y="20"/>
                  </a:lnTo>
                  <a:lnTo>
                    <a:pt x="148" y="24"/>
                  </a:lnTo>
                  <a:lnTo>
                    <a:pt x="153" y="28"/>
                  </a:lnTo>
                  <a:lnTo>
                    <a:pt x="157" y="31"/>
                  </a:lnTo>
                  <a:lnTo>
                    <a:pt x="158" y="33"/>
                  </a:lnTo>
                  <a:lnTo>
                    <a:pt x="160" y="37"/>
                  </a:lnTo>
                  <a:lnTo>
                    <a:pt x="162" y="43"/>
                  </a:lnTo>
                  <a:lnTo>
                    <a:pt x="165" y="47"/>
                  </a:lnTo>
                  <a:lnTo>
                    <a:pt x="171" y="51"/>
                  </a:lnTo>
                  <a:lnTo>
                    <a:pt x="177" y="54"/>
                  </a:lnTo>
                  <a:lnTo>
                    <a:pt x="179" y="55"/>
                  </a:lnTo>
                  <a:lnTo>
                    <a:pt x="182" y="55"/>
                  </a:lnTo>
                  <a:lnTo>
                    <a:pt x="185" y="54"/>
                  </a:lnTo>
                  <a:lnTo>
                    <a:pt x="186" y="51"/>
                  </a:lnTo>
                  <a:lnTo>
                    <a:pt x="189" y="49"/>
                  </a:lnTo>
                  <a:lnTo>
                    <a:pt x="192" y="45"/>
                  </a:lnTo>
                  <a:lnTo>
                    <a:pt x="195" y="44"/>
                  </a:lnTo>
                  <a:lnTo>
                    <a:pt x="199" y="44"/>
                  </a:lnTo>
                  <a:lnTo>
                    <a:pt x="202" y="44"/>
                  </a:lnTo>
                  <a:lnTo>
                    <a:pt x="206" y="46"/>
                  </a:lnTo>
                  <a:lnTo>
                    <a:pt x="208" y="48"/>
                  </a:lnTo>
                  <a:lnTo>
                    <a:pt x="211" y="51"/>
                  </a:lnTo>
                  <a:lnTo>
                    <a:pt x="214" y="57"/>
                  </a:lnTo>
                  <a:lnTo>
                    <a:pt x="219" y="66"/>
                  </a:lnTo>
                  <a:lnTo>
                    <a:pt x="224" y="73"/>
                  </a:lnTo>
                  <a:lnTo>
                    <a:pt x="228" y="77"/>
                  </a:lnTo>
                  <a:lnTo>
                    <a:pt x="229" y="78"/>
                  </a:lnTo>
                  <a:lnTo>
                    <a:pt x="230" y="81"/>
                  </a:lnTo>
                  <a:lnTo>
                    <a:pt x="232" y="87"/>
                  </a:lnTo>
                  <a:lnTo>
                    <a:pt x="234" y="91"/>
                  </a:lnTo>
                  <a:lnTo>
                    <a:pt x="236" y="94"/>
                  </a:lnTo>
                  <a:lnTo>
                    <a:pt x="241" y="96"/>
                  </a:lnTo>
                  <a:lnTo>
                    <a:pt x="247" y="99"/>
                  </a:lnTo>
                  <a:lnTo>
                    <a:pt x="249" y="100"/>
                  </a:lnTo>
                  <a:lnTo>
                    <a:pt x="252" y="99"/>
                  </a:lnTo>
                  <a:lnTo>
                    <a:pt x="253" y="99"/>
                  </a:lnTo>
                  <a:lnTo>
                    <a:pt x="258" y="102"/>
                  </a:lnTo>
                  <a:lnTo>
                    <a:pt x="260" y="10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39" name="Freeform 11">
              <a:extLst>
                <a:ext uri="{FF2B5EF4-FFF2-40B4-BE49-F238E27FC236}">
                  <a16:creationId xmlns:a16="http://schemas.microsoft.com/office/drawing/2014/main" id="{672B3467-A95D-C6EC-67B5-17B2175D4D92}"/>
                </a:ext>
              </a:extLst>
            </p:cNvPr>
            <p:cNvSpPr>
              <a:spLocks/>
            </p:cNvSpPr>
            <p:nvPr/>
          </p:nvSpPr>
          <p:spPr bwMode="auto">
            <a:xfrm>
              <a:off x="3527009" y="4745038"/>
              <a:ext cx="219075" cy="73025"/>
            </a:xfrm>
            <a:custGeom>
              <a:avLst/>
              <a:gdLst/>
              <a:ahLst/>
              <a:cxnLst>
                <a:cxn ang="0">
                  <a:pos x="35" y="11"/>
                </a:cxn>
                <a:cxn ang="0">
                  <a:pos x="39" y="7"/>
                </a:cxn>
                <a:cxn ang="0">
                  <a:pos x="35" y="6"/>
                </a:cxn>
                <a:cxn ang="0">
                  <a:pos x="28" y="6"/>
                </a:cxn>
                <a:cxn ang="0">
                  <a:pos x="17" y="13"/>
                </a:cxn>
                <a:cxn ang="0">
                  <a:pos x="11" y="13"/>
                </a:cxn>
                <a:cxn ang="0">
                  <a:pos x="9" y="17"/>
                </a:cxn>
                <a:cxn ang="0">
                  <a:pos x="5" y="18"/>
                </a:cxn>
                <a:cxn ang="0">
                  <a:pos x="2" y="17"/>
                </a:cxn>
                <a:cxn ang="0">
                  <a:pos x="3" y="11"/>
                </a:cxn>
                <a:cxn ang="0">
                  <a:pos x="6" y="8"/>
                </a:cxn>
                <a:cxn ang="0">
                  <a:pos x="23" y="1"/>
                </a:cxn>
                <a:cxn ang="0">
                  <a:pos x="35" y="0"/>
                </a:cxn>
                <a:cxn ang="0">
                  <a:pos x="43" y="0"/>
                </a:cxn>
                <a:cxn ang="0">
                  <a:pos x="52" y="2"/>
                </a:cxn>
                <a:cxn ang="0">
                  <a:pos x="59" y="3"/>
                </a:cxn>
                <a:cxn ang="0">
                  <a:pos x="65" y="5"/>
                </a:cxn>
                <a:cxn ang="0">
                  <a:pos x="70" y="10"/>
                </a:cxn>
                <a:cxn ang="0">
                  <a:pos x="78" y="12"/>
                </a:cxn>
                <a:cxn ang="0">
                  <a:pos x="92" y="17"/>
                </a:cxn>
                <a:cxn ang="0">
                  <a:pos x="96" y="23"/>
                </a:cxn>
                <a:cxn ang="0">
                  <a:pos x="101" y="24"/>
                </a:cxn>
                <a:cxn ang="0">
                  <a:pos x="117" y="28"/>
                </a:cxn>
                <a:cxn ang="0">
                  <a:pos x="117" y="33"/>
                </a:cxn>
                <a:cxn ang="0">
                  <a:pos x="122" y="35"/>
                </a:cxn>
                <a:cxn ang="0">
                  <a:pos x="129" y="35"/>
                </a:cxn>
                <a:cxn ang="0">
                  <a:pos x="135" y="39"/>
                </a:cxn>
                <a:cxn ang="0">
                  <a:pos x="136" y="42"/>
                </a:cxn>
                <a:cxn ang="0">
                  <a:pos x="124" y="45"/>
                </a:cxn>
                <a:cxn ang="0">
                  <a:pos x="114" y="44"/>
                </a:cxn>
                <a:cxn ang="0">
                  <a:pos x="103" y="45"/>
                </a:cxn>
                <a:cxn ang="0">
                  <a:pos x="95" y="46"/>
                </a:cxn>
                <a:cxn ang="0">
                  <a:pos x="94" y="43"/>
                </a:cxn>
                <a:cxn ang="0">
                  <a:pos x="99" y="36"/>
                </a:cxn>
                <a:cxn ang="0">
                  <a:pos x="97" y="34"/>
                </a:cxn>
                <a:cxn ang="0">
                  <a:pos x="89" y="33"/>
                </a:cxn>
                <a:cxn ang="0">
                  <a:pos x="82" y="30"/>
                </a:cxn>
                <a:cxn ang="0">
                  <a:pos x="80" y="22"/>
                </a:cxn>
                <a:cxn ang="0">
                  <a:pos x="76" y="21"/>
                </a:cxn>
                <a:cxn ang="0">
                  <a:pos x="65" y="20"/>
                </a:cxn>
                <a:cxn ang="0">
                  <a:pos x="56" y="16"/>
                </a:cxn>
                <a:cxn ang="0">
                  <a:pos x="48" y="14"/>
                </a:cxn>
                <a:cxn ang="0">
                  <a:pos x="38" y="13"/>
                </a:cxn>
              </a:cxnLst>
              <a:rect l="0" t="0" r="r" b="b"/>
              <a:pathLst>
                <a:path w="138" h="46">
                  <a:moveTo>
                    <a:pt x="33" y="11"/>
                  </a:moveTo>
                  <a:lnTo>
                    <a:pt x="35" y="11"/>
                  </a:lnTo>
                  <a:lnTo>
                    <a:pt x="40" y="9"/>
                  </a:lnTo>
                  <a:lnTo>
                    <a:pt x="39" y="7"/>
                  </a:lnTo>
                  <a:lnTo>
                    <a:pt x="37" y="6"/>
                  </a:lnTo>
                  <a:lnTo>
                    <a:pt x="35" y="6"/>
                  </a:lnTo>
                  <a:lnTo>
                    <a:pt x="31" y="6"/>
                  </a:lnTo>
                  <a:lnTo>
                    <a:pt x="28" y="6"/>
                  </a:lnTo>
                  <a:lnTo>
                    <a:pt x="24" y="7"/>
                  </a:lnTo>
                  <a:lnTo>
                    <a:pt x="17" y="13"/>
                  </a:lnTo>
                  <a:lnTo>
                    <a:pt x="15" y="13"/>
                  </a:lnTo>
                  <a:lnTo>
                    <a:pt x="11" y="13"/>
                  </a:lnTo>
                  <a:lnTo>
                    <a:pt x="10" y="14"/>
                  </a:lnTo>
                  <a:lnTo>
                    <a:pt x="9" y="17"/>
                  </a:lnTo>
                  <a:lnTo>
                    <a:pt x="6" y="18"/>
                  </a:lnTo>
                  <a:lnTo>
                    <a:pt x="5" y="18"/>
                  </a:lnTo>
                  <a:lnTo>
                    <a:pt x="0" y="19"/>
                  </a:lnTo>
                  <a:lnTo>
                    <a:pt x="2" y="17"/>
                  </a:lnTo>
                  <a:lnTo>
                    <a:pt x="4" y="15"/>
                  </a:lnTo>
                  <a:lnTo>
                    <a:pt x="3" y="11"/>
                  </a:lnTo>
                  <a:lnTo>
                    <a:pt x="5" y="9"/>
                  </a:lnTo>
                  <a:lnTo>
                    <a:pt x="6" y="8"/>
                  </a:lnTo>
                  <a:lnTo>
                    <a:pt x="13" y="4"/>
                  </a:lnTo>
                  <a:lnTo>
                    <a:pt x="23" y="1"/>
                  </a:lnTo>
                  <a:lnTo>
                    <a:pt x="30" y="1"/>
                  </a:lnTo>
                  <a:lnTo>
                    <a:pt x="35" y="0"/>
                  </a:lnTo>
                  <a:lnTo>
                    <a:pt x="39" y="0"/>
                  </a:lnTo>
                  <a:lnTo>
                    <a:pt x="43" y="0"/>
                  </a:lnTo>
                  <a:lnTo>
                    <a:pt x="47" y="1"/>
                  </a:lnTo>
                  <a:lnTo>
                    <a:pt x="52" y="2"/>
                  </a:lnTo>
                  <a:lnTo>
                    <a:pt x="56" y="3"/>
                  </a:lnTo>
                  <a:lnTo>
                    <a:pt x="59" y="3"/>
                  </a:lnTo>
                  <a:lnTo>
                    <a:pt x="62" y="3"/>
                  </a:lnTo>
                  <a:lnTo>
                    <a:pt x="65" y="5"/>
                  </a:lnTo>
                  <a:lnTo>
                    <a:pt x="68" y="9"/>
                  </a:lnTo>
                  <a:lnTo>
                    <a:pt x="70" y="10"/>
                  </a:lnTo>
                  <a:lnTo>
                    <a:pt x="74" y="11"/>
                  </a:lnTo>
                  <a:lnTo>
                    <a:pt x="78" y="12"/>
                  </a:lnTo>
                  <a:lnTo>
                    <a:pt x="86" y="14"/>
                  </a:lnTo>
                  <a:lnTo>
                    <a:pt x="92" y="17"/>
                  </a:lnTo>
                  <a:lnTo>
                    <a:pt x="94" y="19"/>
                  </a:lnTo>
                  <a:lnTo>
                    <a:pt x="96" y="23"/>
                  </a:lnTo>
                  <a:lnTo>
                    <a:pt x="98" y="24"/>
                  </a:lnTo>
                  <a:lnTo>
                    <a:pt x="101" y="24"/>
                  </a:lnTo>
                  <a:lnTo>
                    <a:pt x="111" y="27"/>
                  </a:lnTo>
                  <a:lnTo>
                    <a:pt x="117" y="28"/>
                  </a:lnTo>
                  <a:lnTo>
                    <a:pt x="119" y="30"/>
                  </a:lnTo>
                  <a:lnTo>
                    <a:pt x="117" y="33"/>
                  </a:lnTo>
                  <a:lnTo>
                    <a:pt x="118" y="34"/>
                  </a:lnTo>
                  <a:lnTo>
                    <a:pt x="122" y="35"/>
                  </a:lnTo>
                  <a:lnTo>
                    <a:pt x="126" y="34"/>
                  </a:lnTo>
                  <a:lnTo>
                    <a:pt x="129" y="35"/>
                  </a:lnTo>
                  <a:lnTo>
                    <a:pt x="132" y="38"/>
                  </a:lnTo>
                  <a:lnTo>
                    <a:pt x="135" y="39"/>
                  </a:lnTo>
                  <a:lnTo>
                    <a:pt x="138" y="41"/>
                  </a:lnTo>
                  <a:lnTo>
                    <a:pt x="136" y="42"/>
                  </a:lnTo>
                  <a:lnTo>
                    <a:pt x="131" y="42"/>
                  </a:lnTo>
                  <a:lnTo>
                    <a:pt x="124" y="45"/>
                  </a:lnTo>
                  <a:lnTo>
                    <a:pt x="120" y="45"/>
                  </a:lnTo>
                  <a:lnTo>
                    <a:pt x="114" y="44"/>
                  </a:lnTo>
                  <a:lnTo>
                    <a:pt x="108" y="44"/>
                  </a:lnTo>
                  <a:lnTo>
                    <a:pt x="103" y="45"/>
                  </a:lnTo>
                  <a:lnTo>
                    <a:pt x="98" y="45"/>
                  </a:lnTo>
                  <a:lnTo>
                    <a:pt x="95" y="46"/>
                  </a:lnTo>
                  <a:lnTo>
                    <a:pt x="92" y="45"/>
                  </a:lnTo>
                  <a:lnTo>
                    <a:pt x="94" y="43"/>
                  </a:lnTo>
                  <a:lnTo>
                    <a:pt x="98" y="39"/>
                  </a:lnTo>
                  <a:lnTo>
                    <a:pt x="99" y="36"/>
                  </a:lnTo>
                  <a:lnTo>
                    <a:pt x="98" y="35"/>
                  </a:lnTo>
                  <a:lnTo>
                    <a:pt x="97" y="34"/>
                  </a:lnTo>
                  <a:lnTo>
                    <a:pt x="93" y="33"/>
                  </a:lnTo>
                  <a:lnTo>
                    <a:pt x="89" y="33"/>
                  </a:lnTo>
                  <a:lnTo>
                    <a:pt x="86" y="32"/>
                  </a:lnTo>
                  <a:lnTo>
                    <a:pt x="82" y="30"/>
                  </a:lnTo>
                  <a:lnTo>
                    <a:pt x="81" y="26"/>
                  </a:lnTo>
                  <a:lnTo>
                    <a:pt x="80" y="22"/>
                  </a:lnTo>
                  <a:lnTo>
                    <a:pt x="78" y="21"/>
                  </a:lnTo>
                  <a:lnTo>
                    <a:pt x="76" y="21"/>
                  </a:lnTo>
                  <a:lnTo>
                    <a:pt x="70" y="21"/>
                  </a:lnTo>
                  <a:lnTo>
                    <a:pt x="65" y="20"/>
                  </a:lnTo>
                  <a:lnTo>
                    <a:pt x="61" y="19"/>
                  </a:lnTo>
                  <a:lnTo>
                    <a:pt x="56" y="16"/>
                  </a:lnTo>
                  <a:lnTo>
                    <a:pt x="51" y="14"/>
                  </a:lnTo>
                  <a:lnTo>
                    <a:pt x="48" y="14"/>
                  </a:lnTo>
                  <a:lnTo>
                    <a:pt x="41" y="14"/>
                  </a:lnTo>
                  <a:lnTo>
                    <a:pt x="38" y="13"/>
                  </a:lnTo>
                  <a:lnTo>
                    <a:pt x="33" y="1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0" name="Freeform 12">
              <a:extLst>
                <a:ext uri="{FF2B5EF4-FFF2-40B4-BE49-F238E27FC236}">
                  <a16:creationId xmlns:a16="http://schemas.microsoft.com/office/drawing/2014/main" id="{C8B43AD9-20CC-0FD4-1665-785458BED11F}"/>
                </a:ext>
              </a:extLst>
            </p:cNvPr>
            <p:cNvSpPr>
              <a:spLocks/>
            </p:cNvSpPr>
            <p:nvPr/>
          </p:nvSpPr>
          <p:spPr bwMode="auto">
            <a:xfrm>
              <a:off x="3433346" y="4848225"/>
              <a:ext cx="22225" cy="55563"/>
            </a:xfrm>
            <a:custGeom>
              <a:avLst/>
              <a:gdLst/>
              <a:ahLst/>
              <a:cxnLst>
                <a:cxn ang="0">
                  <a:pos x="12" y="0"/>
                </a:cxn>
                <a:cxn ang="0">
                  <a:pos x="11" y="2"/>
                </a:cxn>
                <a:cxn ang="0">
                  <a:pos x="14" y="1"/>
                </a:cxn>
                <a:cxn ang="0">
                  <a:pos x="14" y="4"/>
                </a:cxn>
                <a:cxn ang="0">
                  <a:pos x="12" y="12"/>
                </a:cxn>
                <a:cxn ang="0">
                  <a:pos x="13" y="13"/>
                </a:cxn>
                <a:cxn ang="0">
                  <a:pos x="12" y="18"/>
                </a:cxn>
                <a:cxn ang="0">
                  <a:pos x="13" y="20"/>
                </a:cxn>
                <a:cxn ang="0">
                  <a:pos x="12" y="22"/>
                </a:cxn>
                <a:cxn ang="0">
                  <a:pos x="10" y="28"/>
                </a:cxn>
                <a:cxn ang="0">
                  <a:pos x="8" y="30"/>
                </a:cxn>
                <a:cxn ang="0">
                  <a:pos x="6" y="30"/>
                </a:cxn>
                <a:cxn ang="0">
                  <a:pos x="6" y="32"/>
                </a:cxn>
                <a:cxn ang="0">
                  <a:pos x="4" y="33"/>
                </a:cxn>
                <a:cxn ang="0">
                  <a:pos x="4" y="35"/>
                </a:cxn>
                <a:cxn ang="0">
                  <a:pos x="0" y="35"/>
                </a:cxn>
                <a:cxn ang="0">
                  <a:pos x="1" y="9"/>
                </a:cxn>
                <a:cxn ang="0">
                  <a:pos x="1" y="7"/>
                </a:cxn>
                <a:cxn ang="0">
                  <a:pos x="2" y="6"/>
                </a:cxn>
                <a:cxn ang="0">
                  <a:pos x="5" y="8"/>
                </a:cxn>
                <a:cxn ang="0">
                  <a:pos x="8" y="3"/>
                </a:cxn>
                <a:cxn ang="0">
                  <a:pos x="9" y="0"/>
                </a:cxn>
                <a:cxn ang="0">
                  <a:pos x="12" y="0"/>
                </a:cxn>
              </a:cxnLst>
              <a:rect l="0" t="0" r="r" b="b"/>
              <a:pathLst>
                <a:path w="14" h="35">
                  <a:moveTo>
                    <a:pt x="12" y="0"/>
                  </a:moveTo>
                  <a:lnTo>
                    <a:pt x="11" y="2"/>
                  </a:lnTo>
                  <a:lnTo>
                    <a:pt x="14" y="1"/>
                  </a:lnTo>
                  <a:lnTo>
                    <a:pt x="14" y="4"/>
                  </a:lnTo>
                  <a:lnTo>
                    <a:pt x="12" y="12"/>
                  </a:lnTo>
                  <a:lnTo>
                    <a:pt x="13" y="13"/>
                  </a:lnTo>
                  <a:lnTo>
                    <a:pt x="12" y="18"/>
                  </a:lnTo>
                  <a:lnTo>
                    <a:pt x="13" y="20"/>
                  </a:lnTo>
                  <a:lnTo>
                    <a:pt x="12" y="22"/>
                  </a:lnTo>
                  <a:lnTo>
                    <a:pt x="10" y="28"/>
                  </a:lnTo>
                  <a:lnTo>
                    <a:pt x="8" y="30"/>
                  </a:lnTo>
                  <a:lnTo>
                    <a:pt x="6" y="30"/>
                  </a:lnTo>
                  <a:lnTo>
                    <a:pt x="6" y="32"/>
                  </a:lnTo>
                  <a:lnTo>
                    <a:pt x="4" y="33"/>
                  </a:lnTo>
                  <a:lnTo>
                    <a:pt x="4" y="35"/>
                  </a:lnTo>
                  <a:lnTo>
                    <a:pt x="0" y="35"/>
                  </a:lnTo>
                  <a:lnTo>
                    <a:pt x="1" y="9"/>
                  </a:lnTo>
                  <a:lnTo>
                    <a:pt x="1" y="7"/>
                  </a:lnTo>
                  <a:lnTo>
                    <a:pt x="2" y="6"/>
                  </a:lnTo>
                  <a:lnTo>
                    <a:pt x="5" y="8"/>
                  </a:lnTo>
                  <a:lnTo>
                    <a:pt x="8" y="3"/>
                  </a:lnTo>
                  <a:lnTo>
                    <a:pt x="9" y="0"/>
                  </a:lnTo>
                  <a:lnTo>
                    <a:pt x="1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1" name="Freeform 13">
              <a:extLst>
                <a:ext uri="{FF2B5EF4-FFF2-40B4-BE49-F238E27FC236}">
                  <a16:creationId xmlns:a16="http://schemas.microsoft.com/office/drawing/2014/main" id="{284A4D27-DD89-42E8-4A79-379A242ABB43}"/>
                </a:ext>
              </a:extLst>
            </p:cNvPr>
            <p:cNvSpPr>
              <a:spLocks/>
            </p:cNvSpPr>
            <p:nvPr/>
          </p:nvSpPr>
          <p:spPr bwMode="auto">
            <a:xfrm>
              <a:off x="3369846" y="4862513"/>
              <a:ext cx="84138" cy="87313"/>
            </a:xfrm>
            <a:custGeom>
              <a:avLst/>
              <a:gdLst/>
              <a:ahLst/>
              <a:cxnLst>
                <a:cxn ang="0">
                  <a:pos x="28" y="55"/>
                </a:cxn>
                <a:cxn ang="0">
                  <a:pos x="27" y="55"/>
                </a:cxn>
                <a:cxn ang="0">
                  <a:pos x="22" y="52"/>
                </a:cxn>
                <a:cxn ang="0">
                  <a:pos x="18" y="53"/>
                </a:cxn>
                <a:cxn ang="0">
                  <a:pos x="14" y="52"/>
                </a:cxn>
                <a:cxn ang="0">
                  <a:pos x="10" y="51"/>
                </a:cxn>
                <a:cxn ang="0">
                  <a:pos x="5" y="47"/>
                </a:cxn>
                <a:cxn ang="0">
                  <a:pos x="2" y="45"/>
                </a:cxn>
                <a:cxn ang="0">
                  <a:pos x="2" y="42"/>
                </a:cxn>
                <a:cxn ang="0">
                  <a:pos x="1" y="39"/>
                </a:cxn>
                <a:cxn ang="0">
                  <a:pos x="2" y="37"/>
                </a:cxn>
                <a:cxn ang="0">
                  <a:pos x="0" y="34"/>
                </a:cxn>
                <a:cxn ang="0">
                  <a:pos x="7" y="24"/>
                </a:cxn>
                <a:cxn ang="0">
                  <a:pos x="13" y="24"/>
                </a:cxn>
                <a:cxn ang="0">
                  <a:pos x="23" y="24"/>
                </a:cxn>
                <a:cxn ang="0">
                  <a:pos x="25" y="19"/>
                </a:cxn>
                <a:cxn ang="0">
                  <a:pos x="21" y="18"/>
                </a:cxn>
                <a:cxn ang="0">
                  <a:pos x="20" y="14"/>
                </a:cxn>
                <a:cxn ang="0">
                  <a:pos x="16" y="12"/>
                </a:cxn>
                <a:cxn ang="0">
                  <a:pos x="13" y="9"/>
                </a:cxn>
                <a:cxn ang="0">
                  <a:pos x="11" y="7"/>
                </a:cxn>
                <a:cxn ang="0">
                  <a:pos x="17" y="7"/>
                </a:cxn>
                <a:cxn ang="0">
                  <a:pos x="17" y="0"/>
                </a:cxn>
                <a:cxn ang="0">
                  <a:pos x="27" y="0"/>
                </a:cxn>
                <a:cxn ang="0">
                  <a:pos x="41" y="0"/>
                </a:cxn>
                <a:cxn ang="0">
                  <a:pos x="40" y="26"/>
                </a:cxn>
                <a:cxn ang="0">
                  <a:pos x="44" y="26"/>
                </a:cxn>
                <a:cxn ang="0">
                  <a:pos x="45" y="27"/>
                </a:cxn>
                <a:cxn ang="0">
                  <a:pos x="47" y="28"/>
                </a:cxn>
                <a:cxn ang="0">
                  <a:pos x="48" y="27"/>
                </a:cxn>
                <a:cxn ang="0">
                  <a:pos x="48" y="25"/>
                </a:cxn>
                <a:cxn ang="0">
                  <a:pos x="50" y="26"/>
                </a:cxn>
                <a:cxn ang="0">
                  <a:pos x="53" y="28"/>
                </a:cxn>
                <a:cxn ang="0">
                  <a:pos x="44" y="36"/>
                </a:cxn>
                <a:cxn ang="0">
                  <a:pos x="41" y="37"/>
                </a:cxn>
                <a:cxn ang="0">
                  <a:pos x="39" y="40"/>
                </a:cxn>
                <a:cxn ang="0">
                  <a:pos x="41" y="44"/>
                </a:cxn>
                <a:cxn ang="0">
                  <a:pos x="38" y="46"/>
                </a:cxn>
                <a:cxn ang="0">
                  <a:pos x="35" y="46"/>
                </a:cxn>
                <a:cxn ang="0">
                  <a:pos x="35" y="48"/>
                </a:cxn>
                <a:cxn ang="0">
                  <a:pos x="36" y="48"/>
                </a:cxn>
                <a:cxn ang="0">
                  <a:pos x="34" y="49"/>
                </a:cxn>
                <a:cxn ang="0">
                  <a:pos x="33" y="51"/>
                </a:cxn>
                <a:cxn ang="0">
                  <a:pos x="32" y="51"/>
                </a:cxn>
                <a:cxn ang="0">
                  <a:pos x="28" y="54"/>
                </a:cxn>
                <a:cxn ang="0">
                  <a:pos x="28" y="55"/>
                </a:cxn>
              </a:cxnLst>
              <a:rect l="0" t="0" r="r" b="b"/>
              <a:pathLst>
                <a:path w="53" h="55">
                  <a:moveTo>
                    <a:pt x="28" y="55"/>
                  </a:moveTo>
                  <a:lnTo>
                    <a:pt x="27" y="55"/>
                  </a:lnTo>
                  <a:lnTo>
                    <a:pt x="22" y="52"/>
                  </a:lnTo>
                  <a:lnTo>
                    <a:pt x="18" y="53"/>
                  </a:lnTo>
                  <a:lnTo>
                    <a:pt x="14" y="52"/>
                  </a:lnTo>
                  <a:lnTo>
                    <a:pt x="10" y="51"/>
                  </a:lnTo>
                  <a:lnTo>
                    <a:pt x="5" y="47"/>
                  </a:lnTo>
                  <a:lnTo>
                    <a:pt x="2" y="45"/>
                  </a:lnTo>
                  <a:lnTo>
                    <a:pt x="2" y="42"/>
                  </a:lnTo>
                  <a:lnTo>
                    <a:pt x="1" y="39"/>
                  </a:lnTo>
                  <a:lnTo>
                    <a:pt x="2" y="37"/>
                  </a:lnTo>
                  <a:lnTo>
                    <a:pt x="0" y="34"/>
                  </a:lnTo>
                  <a:lnTo>
                    <a:pt x="7" y="24"/>
                  </a:lnTo>
                  <a:lnTo>
                    <a:pt x="13" y="24"/>
                  </a:lnTo>
                  <a:lnTo>
                    <a:pt x="23" y="24"/>
                  </a:lnTo>
                  <a:lnTo>
                    <a:pt x="25" y="19"/>
                  </a:lnTo>
                  <a:lnTo>
                    <a:pt x="21" y="18"/>
                  </a:lnTo>
                  <a:lnTo>
                    <a:pt x="20" y="14"/>
                  </a:lnTo>
                  <a:lnTo>
                    <a:pt x="16" y="12"/>
                  </a:lnTo>
                  <a:lnTo>
                    <a:pt x="13" y="9"/>
                  </a:lnTo>
                  <a:lnTo>
                    <a:pt x="11" y="7"/>
                  </a:lnTo>
                  <a:lnTo>
                    <a:pt x="17" y="7"/>
                  </a:lnTo>
                  <a:lnTo>
                    <a:pt x="17" y="0"/>
                  </a:lnTo>
                  <a:lnTo>
                    <a:pt x="27" y="0"/>
                  </a:lnTo>
                  <a:lnTo>
                    <a:pt x="41" y="0"/>
                  </a:lnTo>
                  <a:lnTo>
                    <a:pt x="40" y="26"/>
                  </a:lnTo>
                  <a:lnTo>
                    <a:pt x="44" y="26"/>
                  </a:lnTo>
                  <a:lnTo>
                    <a:pt x="45" y="27"/>
                  </a:lnTo>
                  <a:lnTo>
                    <a:pt x="47" y="28"/>
                  </a:lnTo>
                  <a:lnTo>
                    <a:pt x="48" y="27"/>
                  </a:lnTo>
                  <a:lnTo>
                    <a:pt x="48" y="25"/>
                  </a:lnTo>
                  <a:lnTo>
                    <a:pt x="50" y="26"/>
                  </a:lnTo>
                  <a:lnTo>
                    <a:pt x="53" y="28"/>
                  </a:lnTo>
                  <a:lnTo>
                    <a:pt x="44" y="36"/>
                  </a:lnTo>
                  <a:lnTo>
                    <a:pt x="41" y="37"/>
                  </a:lnTo>
                  <a:lnTo>
                    <a:pt x="39" y="40"/>
                  </a:lnTo>
                  <a:lnTo>
                    <a:pt x="41" y="44"/>
                  </a:lnTo>
                  <a:lnTo>
                    <a:pt x="38" y="46"/>
                  </a:lnTo>
                  <a:lnTo>
                    <a:pt x="35" y="46"/>
                  </a:lnTo>
                  <a:lnTo>
                    <a:pt x="35" y="48"/>
                  </a:lnTo>
                  <a:lnTo>
                    <a:pt x="36" y="48"/>
                  </a:lnTo>
                  <a:lnTo>
                    <a:pt x="34" y="49"/>
                  </a:lnTo>
                  <a:lnTo>
                    <a:pt x="33" y="51"/>
                  </a:lnTo>
                  <a:lnTo>
                    <a:pt x="32" y="51"/>
                  </a:lnTo>
                  <a:lnTo>
                    <a:pt x="28" y="54"/>
                  </a:lnTo>
                  <a:lnTo>
                    <a:pt x="28" y="5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2" name="Freeform 14">
              <a:extLst>
                <a:ext uri="{FF2B5EF4-FFF2-40B4-BE49-F238E27FC236}">
                  <a16:creationId xmlns:a16="http://schemas.microsoft.com/office/drawing/2014/main" id="{EF312D78-AEE5-53A4-D359-8423B316BC60}"/>
                </a:ext>
              </a:extLst>
            </p:cNvPr>
            <p:cNvSpPr>
              <a:spLocks/>
            </p:cNvSpPr>
            <p:nvPr/>
          </p:nvSpPr>
          <p:spPr bwMode="auto">
            <a:xfrm>
              <a:off x="4782721" y="3373438"/>
              <a:ext cx="220663" cy="153988"/>
            </a:xfrm>
            <a:custGeom>
              <a:avLst/>
              <a:gdLst/>
              <a:ahLst/>
              <a:cxnLst>
                <a:cxn ang="0">
                  <a:pos x="0" y="27"/>
                </a:cxn>
                <a:cxn ang="0">
                  <a:pos x="8" y="25"/>
                </a:cxn>
                <a:cxn ang="0">
                  <a:pos x="10" y="21"/>
                </a:cxn>
                <a:cxn ang="0">
                  <a:pos x="9" y="11"/>
                </a:cxn>
                <a:cxn ang="0">
                  <a:pos x="16" y="17"/>
                </a:cxn>
                <a:cxn ang="0">
                  <a:pos x="22" y="15"/>
                </a:cxn>
                <a:cxn ang="0">
                  <a:pos x="18" y="6"/>
                </a:cxn>
                <a:cxn ang="0">
                  <a:pos x="26" y="6"/>
                </a:cxn>
                <a:cxn ang="0">
                  <a:pos x="36" y="11"/>
                </a:cxn>
                <a:cxn ang="0">
                  <a:pos x="37" y="25"/>
                </a:cxn>
                <a:cxn ang="0">
                  <a:pos x="40" y="40"/>
                </a:cxn>
                <a:cxn ang="0">
                  <a:pos x="46" y="33"/>
                </a:cxn>
                <a:cxn ang="0">
                  <a:pos x="52" y="29"/>
                </a:cxn>
                <a:cxn ang="0">
                  <a:pos x="52" y="15"/>
                </a:cxn>
                <a:cxn ang="0">
                  <a:pos x="58" y="18"/>
                </a:cxn>
                <a:cxn ang="0">
                  <a:pos x="63" y="26"/>
                </a:cxn>
                <a:cxn ang="0">
                  <a:pos x="66" y="24"/>
                </a:cxn>
                <a:cxn ang="0">
                  <a:pos x="66" y="15"/>
                </a:cxn>
                <a:cxn ang="0">
                  <a:pos x="72" y="12"/>
                </a:cxn>
                <a:cxn ang="0">
                  <a:pos x="79" y="22"/>
                </a:cxn>
                <a:cxn ang="0">
                  <a:pos x="82" y="20"/>
                </a:cxn>
                <a:cxn ang="0">
                  <a:pos x="86" y="15"/>
                </a:cxn>
                <a:cxn ang="0">
                  <a:pos x="99" y="14"/>
                </a:cxn>
                <a:cxn ang="0">
                  <a:pos x="102" y="0"/>
                </a:cxn>
                <a:cxn ang="0">
                  <a:pos x="112" y="8"/>
                </a:cxn>
                <a:cxn ang="0">
                  <a:pos x="123" y="13"/>
                </a:cxn>
                <a:cxn ang="0">
                  <a:pos x="123" y="25"/>
                </a:cxn>
                <a:cxn ang="0">
                  <a:pos x="138" y="31"/>
                </a:cxn>
                <a:cxn ang="0">
                  <a:pos x="139" y="41"/>
                </a:cxn>
                <a:cxn ang="0">
                  <a:pos x="138" y="50"/>
                </a:cxn>
                <a:cxn ang="0">
                  <a:pos x="134" y="55"/>
                </a:cxn>
                <a:cxn ang="0">
                  <a:pos x="128" y="57"/>
                </a:cxn>
                <a:cxn ang="0">
                  <a:pos x="125" y="69"/>
                </a:cxn>
                <a:cxn ang="0">
                  <a:pos x="119" y="71"/>
                </a:cxn>
                <a:cxn ang="0">
                  <a:pos x="112" y="75"/>
                </a:cxn>
                <a:cxn ang="0">
                  <a:pos x="100" y="83"/>
                </a:cxn>
                <a:cxn ang="0">
                  <a:pos x="91" y="85"/>
                </a:cxn>
                <a:cxn ang="0">
                  <a:pos x="81" y="94"/>
                </a:cxn>
                <a:cxn ang="0">
                  <a:pos x="72" y="97"/>
                </a:cxn>
                <a:cxn ang="0">
                  <a:pos x="60" y="94"/>
                </a:cxn>
                <a:cxn ang="0">
                  <a:pos x="49" y="86"/>
                </a:cxn>
                <a:cxn ang="0">
                  <a:pos x="40" y="86"/>
                </a:cxn>
                <a:cxn ang="0">
                  <a:pos x="24" y="84"/>
                </a:cxn>
                <a:cxn ang="0">
                  <a:pos x="24" y="78"/>
                </a:cxn>
                <a:cxn ang="0">
                  <a:pos x="35" y="66"/>
                </a:cxn>
                <a:cxn ang="0">
                  <a:pos x="27" y="64"/>
                </a:cxn>
                <a:cxn ang="0">
                  <a:pos x="23" y="57"/>
                </a:cxn>
                <a:cxn ang="0">
                  <a:pos x="12" y="60"/>
                </a:cxn>
                <a:cxn ang="0">
                  <a:pos x="7" y="57"/>
                </a:cxn>
                <a:cxn ang="0">
                  <a:pos x="10" y="53"/>
                </a:cxn>
                <a:cxn ang="0">
                  <a:pos x="18" y="51"/>
                </a:cxn>
                <a:cxn ang="0">
                  <a:pos x="29" y="48"/>
                </a:cxn>
                <a:cxn ang="0">
                  <a:pos x="32" y="41"/>
                </a:cxn>
                <a:cxn ang="0">
                  <a:pos x="29" y="35"/>
                </a:cxn>
                <a:cxn ang="0">
                  <a:pos x="24" y="33"/>
                </a:cxn>
                <a:cxn ang="0">
                  <a:pos x="13" y="33"/>
                </a:cxn>
                <a:cxn ang="0">
                  <a:pos x="6" y="37"/>
                </a:cxn>
                <a:cxn ang="0">
                  <a:pos x="0" y="30"/>
                </a:cxn>
              </a:cxnLst>
              <a:rect l="0" t="0" r="r" b="b"/>
              <a:pathLst>
                <a:path w="139" h="97">
                  <a:moveTo>
                    <a:pt x="0" y="30"/>
                  </a:moveTo>
                  <a:lnTo>
                    <a:pt x="0" y="27"/>
                  </a:lnTo>
                  <a:lnTo>
                    <a:pt x="3" y="25"/>
                  </a:lnTo>
                  <a:lnTo>
                    <a:pt x="8" y="25"/>
                  </a:lnTo>
                  <a:lnTo>
                    <a:pt x="12" y="24"/>
                  </a:lnTo>
                  <a:lnTo>
                    <a:pt x="10" y="21"/>
                  </a:lnTo>
                  <a:lnTo>
                    <a:pt x="7" y="16"/>
                  </a:lnTo>
                  <a:lnTo>
                    <a:pt x="9" y="11"/>
                  </a:lnTo>
                  <a:lnTo>
                    <a:pt x="11" y="11"/>
                  </a:lnTo>
                  <a:lnTo>
                    <a:pt x="16" y="17"/>
                  </a:lnTo>
                  <a:lnTo>
                    <a:pt x="21" y="18"/>
                  </a:lnTo>
                  <a:lnTo>
                    <a:pt x="22" y="15"/>
                  </a:lnTo>
                  <a:lnTo>
                    <a:pt x="21" y="11"/>
                  </a:lnTo>
                  <a:lnTo>
                    <a:pt x="18" y="6"/>
                  </a:lnTo>
                  <a:lnTo>
                    <a:pt x="19" y="2"/>
                  </a:lnTo>
                  <a:lnTo>
                    <a:pt x="26" y="6"/>
                  </a:lnTo>
                  <a:lnTo>
                    <a:pt x="31" y="7"/>
                  </a:lnTo>
                  <a:lnTo>
                    <a:pt x="36" y="11"/>
                  </a:lnTo>
                  <a:lnTo>
                    <a:pt x="38" y="19"/>
                  </a:lnTo>
                  <a:lnTo>
                    <a:pt x="37" y="25"/>
                  </a:lnTo>
                  <a:lnTo>
                    <a:pt x="35" y="29"/>
                  </a:lnTo>
                  <a:lnTo>
                    <a:pt x="40" y="40"/>
                  </a:lnTo>
                  <a:lnTo>
                    <a:pt x="44" y="35"/>
                  </a:lnTo>
                  <a:lnTo>
                    <a:pt x="46" y="33"/>
                  </a:lnTo>
                  <a:lnTo>
                    <a:pt x="49" y="32"/>
                  </a:lnTo>
                  <a:lnTo>
                    <a:pt x="52" y="29"/>
                  </a:lnTo>
                  <a:lnTo>
                    <a:pt x="53" y="26"/>
                  </a:lnTo>
                  <a:lnTo>
                    <a:pt x="52" y="15"/>
                  </a:lnTo>
                  <a:lnTo>
                    <a:pt x="55" y="11"/>
                  </a:lnTo>
                  <a:lnTo>
                    <a:pt x="58" y="18"/>
                  </a:lnTo>
                  <a:lnTo>
                    <a:pt x="60" y="23"/>
                  </a:lnTo>
                  <a:lnTo>
                    <a:pt x="63" y="26"/>
                  </a:lnTo>
                  <a:lnTo>
                    <a:pt x="64" y="26"/>
                  </a:lnTo>
                  <a:lnTo>
                    <a:pt x="66" y="24"/>
                  </a:lnTo>
                  <a:lnTo>
                    <a:pt x="64" y="17"/>
                  </a:lnTo>
                  <a:lnTo>
                    <a:pt x="66" y="15"/>
                  </a:lnTo>
                  <a:lnTo>
                    <a:pt x="67" y="14"/>
                  </a:lnTo>
                  <a:lnTo>
                    <a:pt x="72" y="12"/>
                  </a:lnTo>
                  <a:lnTo>
                    <a:pt x="76" y="18"/>
                  </a:lnTo>
                  <a:lnTo>
                    <a:pt x="79" y="22"/>
                  </a:lnTo>
                  <a:lnTo>
                    <a:pt x="82" y="23"/>
                  </a:lnTo>
                  <a:lnTo>
                    <a:pt x="82" y="20"/>
                  </a:lnTo>
                  <a:lnTo>
                    <a:pt x="80" y="12"/>
                  </a:lnTo>
                  <a:lnTo>
                    <a:pt x="86" y="15"/>
                  </a:lnTo>
                  <a:lnTo>
                    <a:pt x="95" y="16"/>
                  </a:lnTo>
                  <a:lnTo>
                    <a:pt x="99" y="14"/>
                  </a:lnTo>
                  <a:lnTo>
                    <a:pt x="102" y="11"/>
                  </a:lnTo>
                  <a:lnTo>
                    <a:pt x="102" y="0"/>
                  </a:lnTo>
                  <a:lnTo>
                    <a:pt x="109" y="2"/>
                  </a:lnTo>
                  <a:lnTo>
                    <a:pt x="112" y="8"/>
                  </a:lnTo>
                  <a:lnTo>
                    <a:pt x="119" y="13"/>
                  </a:lnTo>
                  <a:lnTo>
                    <a:pt x="123" y="13"/>
                  </a:lnTo>
                  <a:lnTo>
                    <a:pt x="124" y="17"/>
                  </a:lnTo>
                  <a:lnTo>
                    <a:pt x="123" y="25"/>
                  </a:lnTo>
                  <a:lnTo>
                    <a:pt x="128" y="29"/>
                  </a:lnTo>
                  <a:lnTo>
                    <a:pt x="138" y="31"/>
                  </a:lnTo>
                  <a:lnTo>
                    <a:pt x="138" y="33"/>
                  </a:lnTo>
                  <a:lnTo>
                    <a:pt x="139" y="41"/>
                  </a:lnTo>
                  <a:lnTo>
                    <a:pt x="139" y="46"/>
                  </a:lnTo>
                  <a:lnTo>
                    <a:pt x="138" y="50"/>
                  </a:lnTo>
                  <a:lnTo>
                    <a:pt x="137" y="53"/>
                  </a:lnTo>
                  <a:lnTo>
                    <a:pt x="134" y="55"/>
                  </a:lnTo>
                  <a:lnTo>
                    <a:pt x="130" y="56"/>
                  </a:lnTo>
                  <a:lnTo>
                    <a:pt x="128" y="57"/>
                  </a:lnTo>
                  <a:lnTo>
                    <a:pt x="128" y="63"/>
                  </a:lnTo>
                  <a:lnTo>
                    <a:pt x="125" y="69"/>
                  </a:lnTo>
                  <a:lnTo>
                    <a:pt x="122" y="71"/>
                  </a:lnTo>
                  <a:lnTo>
                    <a:pt x="119" y="71"/>
                  </a:lnTo>
                  <a:lnTo>
                    <a:pt x="116" y="69"/>
                  </a:lnTo>
                  <a:lnTo>
                    <a:pt x="112" y="75"/>
                  </a:lnTo>
                  <a:lnTo>
                    <a:pt x="108" y="77"/>
                  </a:lnTo>
                  <a:lnTo>
                    <a:pt x="100" y="83"/>
                  </a:lnTo>
                  <a:lnTo>
                    <a:pt x="95" y="85"/>
                  </a:lnTo>
                  <a:lnTo>
                    <a:pt x="91" y="85"/>
                  </a:lnTo>
                  <a:lnTo>
                    <a:pt x="86" y="86"/>
                  </a:lnTo>
                  <a:lnTo>
                    <a:pt x="81" y="94"/>
                  </a:lnTo>
                  <a:lnTo>
                    <a:pt x="79" y="96"/>
                  </a:lnTo>
                  <a:lnTo>
                    <a:pt x="72" y="97"/>
                  </a:lnTo>
                  <a:lnTo>
                    <a:pt x="68" y="96"/>
                  </a:lnTo>
                  <a:lnTo>
                    <a:pt x="60" y="94"/>
                  </a:lnTo>
                  <a:lnTo>
                    <a:pt x="57" y="92"/>
                  </a:lnTo>
                  <a:lnTo>
                    <a:pt x="49" y="86"/>
                  </a:lnTo>
                  <a:lnTo>
                    <a:pt x="43" y="85"/>
                  </a:lnTo>
                  <a:lnTo>
                    <a:pt x="40" y="86"/>
                  </a:lnTo>
                  <a:lnTo>
                    <a:pt x="34" y="85"/>
                  </a:lnTo>
                  <a:lnTo>
                    <a:pt x="24" y="84"/>
                  </a:lnTo>
                  <a:lnTo>
                    <a:pt x="22" y="81"/>
                  </a:lnTo>
                  <a:lnTo>
                    <a:pt x="24" y="78"/>
                  </a:lnTo>
                  <a:lnTo>
                    <a:pt x="31" y="74"/>
                  </a:lnTo>
                  <a:lnTo>
                    <a:pt x="35" y="66"/>
                  </a:lnTo>
                  <a:lnTo>
                    <a:pt x="30" y="65"/>
                  </a:lnTo>
                  <a:lnTo>
                    <a:pt x="27" y="64"/>
                  </a:lnTo>
                  <a:lnTo>
                    <a:pt x="25" y="58"/>
                  </a:lnTo>
                  <a:lnTo>
                    <a:pt x="23" y="57"/>
                  </a:lnTo>
                  <a:lnTo>
                    <a:pt x="21" y="58"/>
                  </a:lnTo>
                  <a:lnTo>
                    <a:pt x="12" y="60"/>
                  </a:lnTo>
                  <a:lnTo>
                    <a:pt x="9" y="60"/>
                  </a:lnTo>
                  <a:lnTo>
                    <a:pt x="7" y="57"/>
                  </a:lnTo>
                  <a:lnTo>
                    <a:pt x="7" y="54"/>
                  </a:lnTo>
                  <a:lnTo>
                    <a:pt x="10" y="53"/>
                  </a:lnTo>
                  <a:lnTo>
                    <a:pt x="13" y="51"/>
                  </a:lnTo>
                  <a:lnTo>
                    <a:pt x="18" y="51"/>
                  </a:lnTo>
                  <a:lnTo>
                    <a:pt x="22" y="50"/>
                  </a:lnTo>
                  <a:lnTo>
                    <a:pt x="29" y="48"/>
                  </a:lnTo>
                  <a:lnTo>
                    <a:pt x="31" y="45"/>
                  </a:lnTo>
                  <a:lnTo>
                    <a:pt x="32" y="41"/>
                  </a:lnTo>
                  <a:lnTo>
                    <a:pt x="31" y="37"/>
                  </a:lnTo>
                  <a:lnTo>
                    <a:pt x="29" y="35"/>
                  </a:lnTo>
                  <a:lnTo>
                    <a:pt x="27" y="35"/>
                  </a:lnTo>
                  <a:lnTo>
                    <a:pt x="24" y="33"/>
                  </a:lnTo>
                  <a:lnTo>
                    <a:pt x="18" y="32"/>
                  </a:lnTo>
                  <a:lnTo>
                    <a:pt x="13" y="33"/>
                  </a:lnTo>
                  <a:lnTo>
                    <a:pt x="10" y="36"/>
                  </a:lnTo>
                  <a:lnTo>
                    <a:pt x="6" y="37"/>
                  </a:lnTo>
                  <a:lnTo>
                    <a:pt x="0" y="33"/>
                  </a:lnTo>
                  <a:lnTo>
                    <a:pt x="0" y="3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3" name="Freeform 15">
              <a:extLst>
                <a:ext uri="{FF2B5EF4-FFF2-40B4-BE49-F238E27FC236}">
                  <a16:creationId xmlns:a16="http://schemas.microsoft.com/office/drawing/2014/main" id="{40913267-3FCF-0EB6-4010-3318318DA859}"/>
                </a:ext>
              </a:extLst>
            </p:cNvPr>
            <p:cNvSpPr>
              <a:spLocks/>
            </p:cNvSpPr>
            <p:nvPr/>
          </p:nvSpPr>
          <p:spPr bwMode="auto">
            <a:xfrm>
              <a:off x="3414296" y="4935538"/>
              <a:ext cx="50800" cy="26988"/>
            </a:xfrm>
            <a:custGeom>
              <a:avLst/>
              <a:gdLst/>
              <a:ahLst/>
              <a:cxnLst>
                <a:cxn ang="0">
                  <a:pos x="31" y="12"/>
                </a:cxn>
                <a:cxn ang="0">
                  <a:pos x="31" y="13"/>
                </a:cxn>
                <a:cxn ang="0">
                  <a:pos x="30" y="14"/>
                </a:cxn>
                <a:cxn ang="0">
                  <a:pos x="30" y="15"/>
                </a:cxn>
                <a:cxn ang="0">
                  <a:pos x="29" y="17"/>
                </a:cxn>
                <a:cxn ang="0">
                  <a:pos x="25" y="17"/>
                </a:cxn>
                <a:cxn ang="0">
                  <a:pos x="20" y="16"/>
                </a:cxn>
                <a:cxn ang="0">
                  <a:pos x="10" y="13"/>
                </a:cxn>
                <a:cxn ang="0">
                  <a:pos x="2" y="10"/>
                </a:cxn>
                <a:cxn ang="0">
                  <a:pos x="0" y="9"/>
                </a:cxn>
                <a:cxn ang="0">
                  <a:pos x="0" y="8"/>
                </a:cxn>
                <a:cxn ang="0">
                  <a:pos x="4" y="5"/>
                </a:cxn>
                <a:cxn ang="0">
                  <a:pos x="5" y="5"/>
                </a:cxn>
                <a:cxn ang="0">
                  <a:pos x="6" y="3"/>
                </a:cxn>
                <a:cxn ang="0">
                  <a:pos x="8" y="2"/>
                </a:cxn>
                <a:cxn ang="0">
                  <a:pos x="7" y="2"/>
                </a:cxn>
                <a:cxn ang="0">
                  <a:pos x="7" y="0"/>
                </a:cxn>
                <a:cxn ang="0">
                  <a:pos x="10" y="0"/>
                </a:cxn>
                <a:cxn ang="0">
                  <a:pos x="14" y="1"/>
                </a:cxn>
                <a:cxn ang="0">
                  <a:pos x="15" y="3"/>
                </a:cxn>
                <a:cxn ang="0">
                  <a:pos x="17" y="4"/>
                </a:cxn>
                <a:cxn ang="0">
                  <a:pos x="21" y="6"/>
                </a:cxn>
                <a:cxn ang="0">
                  <a:pos x="21" y="8"/>
                </a:cxn>
                <a:cxn ang="0">
                  <a:pos x="23" y="8"/>
                </a:cxn>
                <a:cxn ang="0">
                  <a:pos x="26" y="5"/>
                </a:cxn>
                <a:cxn ang="0">
                  <a:pos x="29" y="7"/>
                </a:cxn>
                <a:cxn ang="0">
                  <a:pos x="31" y="7"/>
                </a:cxn>
                <a:cxn ang="0">
                  <a:pos x="32" y="8"/>
                </a:cxn>
                <a:cxn ang="0">
                  <a:pos x="31" y="12"/>
                </a:cxn>
              </a:cxnLst>
              <a:rect l="0" t="0" r="r" b="b"/>
              <a:pathLst>
                <a:path w="32" h="17">
                  <a:moveTo>
                    <a:pt x="31" y="12"/>
                  </a:moveTo>
                  <a:lnTo>
                    <a:pt x="31" y="13"/>
                  </a:lnTo>
                  <a:lnTo>
                    <a:pt x="30" y="14"/>
                  </a:lnTo>
                  <a:lnTo>
                    <a:pt x="30" y="15"/>
                  </a:lnTo>
                  <a:lnTo>
                    <a:pt x="29" y="17"/>
                  </a:lnTo>
                  <a:lnTo>
                    <a:pt x="25" y="17"/>
                  </a:lnTo>
                  <a:lnTo>
                    <a:pt x="20" y="16"/>
                  </a:lnTo>
                  <a:lnTo>
                    <a:pt x="10" y="13"/>
                  </a:lnTo>
                  <a:lnTo>
                    <a:pt x="2" y="10"/>
                  </a:lnTo>
                  <a:lnTo>
                    <a:pt x="0" y="9"/>
                  </a:lnTo>
                  <a:lnTo>
                    <a:pt x="0" y="8"/>
                  </a:lnTo>
                  <a:lnTo>
                    <a:pt x="4" y="5"/>
                  </a:lnTo>
                  <a:lnTo>
                    <a:pt x="5" y="5"/>
                  </a:lnTo>
                  <a:lnTo>
                    <a:pt x="6" y="3"/>
                  </a:lnTo>
                  <a:lnTo>
                    <a:pt x="8" y="2"/>
                  </a:lnTo>
                  <a:lnTo>
                    <a:pt x="7" y="2"/>
                  </a:lnTo>
                  <a:lnTo>
                    <a:pt x="7" y="0"/>
                  </a:lnTo>
                  <a:lnTo>
                    <a:pt x="10" y="0"/>
                  </a:lnTo>
                  <a:lnTo>
                    <a:pt x="14" y="1"/>
                  </a:lnTo>
                  <a:lnTo>
                    <a:pt x="15" y="3"/>
                  </a:lnTo>
                  <a:lnTo>
                    <a:pt x="17" y="4"/>
                  </a:lnTo>
                  <a:lnTo>
                    <a:pt x="21" y="6"/>
                  </a:lnTo>
                  <a:lnTo>
                    <a:pt x="21" y="8"/>
                  </a:lnTo>
                  <a:lnTo>
                    <a:pt x="23" y="8"/>
                  </a:lnTo>
                  <a:lnTo>
                    <a:pt x="26" y="5"/>
                  </a:lnTo>
                  <a:lnTo>
                    <a:pt x="29" y="7"/>
                  </a:lnTo>
                  <a:lnTo>
                    <a:pt x="31" y="7"/>
                  </a:lnTo>
                  <a:lnTo>
                    <a:pt x="32" y="8"/>
                  </a:lnTo>
                  <a:lnTo>
                    <a:pt x="31" y="1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4" name="Freeform 16">
              <a:extLst>
                <a:ext uri="{FF2B5EF4-FFF2-40B4-BE49-F238E27FC236}">
                  <a16:creationId xmlns:a16="http://schemas.microsoft.com/office/drawing/2014/main" id="{EDAFC332-2B5E-6537-DC56-D35431BDDA8C}"/>
                </a:ext>
              </a:extLst>
            </p:cNvPr>
            <p:cNvSpPr>
              <a:spLocks/>
            </p:cNvSpPr>
            <p:nvPr/>
          </p:nvSpPr>
          <p:spPr bwMode="auto">
            <a:xfrm>
              <a:off x="3430171" y="4902200"/>
              <a:ext cx="123825" cy="63500"/>
            </a:xfrm>
            <a:custGeom>
              <a:avLst/>
              <a:gdLst/>
              <a:ahLst/>
              <a:cxnLst>
                <a:cxn ang="0">
                  <a:pos x="15" y="3"/>
                </a:cxn>
                <a:cxn ang="0">
                  <a:pos x="16" y="3"/>
                </a:cxn>
                <a:cxn ang="0">
                  <a:pos x="20" y="2"/>
                </a:cxn>
                <a:cxn ang="0">
                  <a:pos x="24" y="1"/>
                </a:cxn>
                <a:cxn ang="0">
                  <a:pos x="28" y="2"/>
                </a:cxn>
                <a:cxn ang="0">
                  <a:pos x="31" y="2"/>
                </a:cxn>
                <a:cxn ang="0">
                  <a:pos x="39" y="3"/>
                </a:cxn>
                <a:cxn ang="0">
                  <a:pos x="43" y="1"/>
                </a:cxn>
                <a:cxn ang="0">
                  <a:pos x="46" y="0"/>
                </a:cxn>
                <a:cxn ang="0">
                  <a:pos x="49" y="2"/>
                </a:cxn>
                <a:cxn ang="0">
                  <a:pos x="54" y="1"/>
                </a:cxn>
                <a:cxn ang="0">
                  <a:pos x="58" y="1"/>
                </a:cxn>
                <a:cxn ang="0">
                  <a:pos x="62" y="1"/>
                </a:cxn>
                <a:cxn ang="0">
                  <a:pos x="65" y="2"/>
                </a:cxn>
                <a:cxn ang="0">
                  <a:pos x="68" y="3"/>
                </a:cxn>
                <a:cxn ang="0">
                  <a:pos x="68" y="5"/>
                </a:cxn>
                <a:cxn ang="0">
                  <a:pos x="67" y="6"/>
                </a:cxn>
                <a:cxn ang="0">
                  <a:pos x="69" y="8"/>
                </a:cxn>
                <a:cxn ang="0">
                  <a:pos x="73" y="10"/>
                </a:cxn>
                <a:cxn ang="0">
                  <a:pos x="76" y="10"/>
                </a:cxn>
                <a:cxn ang="0">
                  <a:pos x="78" y="14"/>
                </a:cxn>
                <a:cxn ang="0">
                  <a:pos x="70" y="16"/>
                </a:cxn>
                <a:cxn ang="0">
                  <a:pos x="67" y="18"/>
                </a:cxn>
                <a:cxn ang="0">
                  <a:pos x="66" y="18"/>
                </a:cxn>
                <a:cxn ang="0">
                  <a:pos x="63" y="18"/>
                </a:cxn>
                <a:cxn ang="0">
                  <a:pos x="61" y="17"/>
                </a:cxn>
                <a:cxn ang="0">
                  <a:pos x="59" y="17"/>
                </a:cxn>
                <a:cxn ang="0">
                  <a:pos x="58" y="18"/>
                </a:cxn>
                <a:cxn ang="0">
                  <a:pos x="55" y="23"/>
                </a:cxn>
                <a:cxn ang="0">
                  <a:pos x="48" y="29"/>
                </a:cxn>
                <a:cxn ang="0">
                  <a:pos x="43" y="26"/>
                </a:cxn>
                <a:cxn ang="0">
                  <a:pos x="40" y="30"/>
                </a:cxn>
                <a:cxn ang="0">
                  <a:pos x="35" y="30"/>
                </a:cxn>
                <a:cxn ang="0">
                  <a:pos x="35" y="36"/>
                </a:cxn>
                <a:cxn ang="0">
                  <a:pos x="33" y="38"/>
                </a:cxn>
                <a:cxn ang="0">
                  <a:pos x="32" y="39"/>
                </a:cxn>
                <a:cxn ang="0">
                  <a:pos x="26" y="40"/>
                </a:cxn>
                <a:cxn ang="0">
                  <a:pos x="24" y="36"/>
                </a:cxn>
                <a:cxn ang="0">
                  <a:pos x="24" y="35"/>
                </a:cxn>
                <a:cxn ang="0">
                  <a:pos x="21" y="33"/>
                </a:cxn>
                <a:cxn ang="0">
                  <a:pos x="22" y="29"/>
                </a:cxn>
                <a:cxn ang="0">
                  <a:pos x="21" y="28"/>
                </a:cxn>
                <a:cxn ang="0">
                  <a:pos x="19" y="28"/>
                </a:cxn>
                <a:cxn ang="0">
                  <a:pos x="16" y="26"/>
                </a:cxn>
                <a:cxn ang="0">
                  <a:pos x="13" y="29"/>
                </a:cxn>
                <a:cxn ang="0">
                  <a:pos x="11" y="29"/>
                </a:cxn>
                <a:cxn ang="0">
                  <a:pos x="11" y="27"/>
                </a:cxn>
                <a:cxn ang="0">
                  <a:pos x="7" y="25"/>
                </a:cxn>
                <a:cxn ang="0">
                  <a:pos x="5" y="24"/>
                </a:cxn>
                <a:cxn ang="0">
                  <a:pos x="4" y="22"/>
                </a:cxn>
                <a:cxn ang="0">
                  <a:pos x="0" y="21"/>
                </a:cxn>
                <a:cxn ang="0">
                  <a:pos x="3" y="19"/>
                </a:cxn>
                <a:cxn ang="0">
                  <a:pos x="1" y="15"/>
                </a:cxn>
                <a:cxn ang="0">
                  <a:pos x="3" y="12"/>
                </a:cxn>
                <a:cxn ang="0">
                  <a:pos x="6" y="11"/>
                </a:cxn>
                <a:cxn ang="0">
                  <a:pos x="15" y="3"/>
                </a:cxn>
              </a:cxnLst>
              <a:rect l="0" t="0" r="r" b="b"/>
              <a:pathLst>
                <a:path w="78" h="40">
                  <a:moveTo>
                    <a:pt x="15" y="3"/>
                  </a:moveTo>
                  <a:lnTo>
                    <a:pt x="16" y="3"/>
                  </a:lnTo>
                  <a:lnTo>
                    <a:pt x="20" y="2"/>
                  </a:lnTo>
                  <a:lnTo>
                    <a:pt x="24" y="1"/>
                  </a:lnTo>
                  <a:lnTo>
                    <a:pt x="28" y="2"/>
                  </a:lnTo>
                  <a:lnTo>
                    <a:pt x="31" y="2"/>
                  </a:lnTo>
                  <a:lnTo>
                    <a:pt x="39" y="3"/>
                  </a:lnTo>
                  <a:lnTo>
                    <a:pt x="43" y="1"/>
                  </a:lnTo>
                  <a:lnTo>
                    <a:pt x="46" y="0"/>
                  </a:lnTo>
                  <a:lnTo>
                    <a:pt x="49" y="2"/>
                  </a:lnTo>
                  <a:lnTo>
                    <a:pt x="54" y="1"/>
                  </a:lnTo>
                  <a:lnTo>
                    <a:pt x="58" y="1"/>
                  </a:lnTo>
                  <a:lnTo>
                    <a:pt x="62" y="1"/>
                  </a:lnTo>
                  <a:lnTo>
                    <a:pt x="65" y="2"/>
                  </a:lnTo>
                  <a:lnTo>
                    <a:pt x="68" y="3"/>
                  </a:lnTo>
                  <a:lnTo>
                    <a:pt x="68" y="5"/>
                  </a:lnTo>
                  <a:lnTo>
                    <a:pt x="67" y="6"/>
                  </a:lnTo>
                  <a:lnTo>
                    <a:pt x="69" y="8"/>
                  </a:lnTo>
                  <a:lnTo>
                    <a:pt x="73" y="10"/>
                  </a:lnTo>
                  <a:lnTo>
                    <a:pt x="76" y="10"/>
                  </a:lnTo>
                  <a:lnTo>
                    <a:pt x="78" y="14"/>
                  </a:lnTo>
                  <a:lnTo>
                    <a:pt x="70" y="16"/>
                  </a:lnTo>
                  <a:lnTo>
                    <a:pt x="67" y="18"/>
                  </a:lnTo>
                  <a:lnTo>
                    <a:pt x="66" y="18"/>
                  </a:lnTo>
                  <a:lnTo>
                    <a:pt x="63" y="18"/>
                  </a:lnTo>
                  <a:lnTo>
                    <a:pt x="61" y="17"/>
                  </a:lnTo>
                  <a:lnTo>
                    <a:pt x="59" y="17"/>
                  </a:lnTo>
                  <a:lnTo>
                    <a:pt x="58" y="18"/>
                  </a:lnTo>
                  <a:lnTo>
                    <a:pt x="55" y="23"/>
                  </a:lnTo>
                  <a:lnTo>
                    <a:pt x="48" y="29"/>
                  </a:lnTo>
                  <a:lnTo>
                    <a:pt x="43" y="26"/>
                  </a:lnTo>
                  <a:lnTo>
                    <a:pt x="40" y="30"/>
                  </a:lnTo>
                  <a:lnTo>
                    <a:pt x="35" y="30"/>
                  </a:lnTo>
                  <a:lnTo>
                    <a:pt x="35" y="36"/>
                  </a:lnTo>
                  <a:lnTo>
                    <a:pt x="33" y="38"/>
                  </a:lnTo>
                  <a:lnTo>
                    <a:pt x="32" y="39"/>
                  </a:lnTo>
                  <a:lnTo>
                    <a:pt x="26" y="40"/>
                  </a:lnTo>
                  <a:lnTo>
                    <a:pt x="24" y="36"/>
                  </a:lnTo>
                  <a:lnTo>
                    <a:pt x="24" y="35"/>
                  </a:lnTo>
                  <a:lnTo>
                    <a:pt x="21" y="33"/>
                  </a:lnTo>
                  <a:lnTo>
                    <a:pt x="22" y="29"/>
                  </a:lnTo>
                  <a:lnTo>
                    <a:pt x="21" y="28"/>
                  </a:lnTo>
                  <a:lnTo>
                    <a:pt x="19" y="28"/>
                  </a:lnTo>
                  <a:lnTo>
                    <a:pt x="16" y="26"/>
                  </a:lnTo>
                  <a:lnTo>
                    <a:pt x="13" y="29"/>
                  </a:lnTo>
                  <a:lnTo>
                    <a:pt x="11" y="29"/>
                  </a:lnTo>
                  <a:lnTo>
                    <a:pt x="11" y="27"/>
                  </a:lnTo>
                  <a:lnTo>
                    <a:pt x="7" y="25"/>
                  </a:lnTo>
                  <a:lnTo>
                    <a:pt x="5" y="24"/>
                  </a:lnTo>
                  <a:lnTo>
                    <a:pt x="4" y="22"/>
                  </a:lnTo>
                  <a:lnTo>
                    <a:pt x="0" y="21"/>
                  </a:lnTo>
                  <a:lnTo>
                    <a:pt x="3" y="19"/>
                  </a:lnTo>
                  <a:lnTo>
                    <a:pt x="1" y="15"/>
                  </a:lnTo>
                  <a:lnTo>
                    <a:pt x="3" y="12"/>
                  </a:lnTo>
                  <a:lnTo>
                    <a:pt x="6" y="11"/>
                  </a:lnTo>
                  <a:lnTo>
                    <a:pt x="15" y="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5" name="Freeform 17">
              <a:extLst>
                <a:ext uri="{FF2B5EF4-FFF2-40B4-BE49-F238E27FC236}">
                  <a16:creationId xmlns:a16="http://schemas.microsoft.com/office/drawing/2014/main" id="{B0B31917-F802-6331-7194-8D2B2A2F33E0}"/>
                </a:ext>
              </a:extLst>
            </p:cNvPr>
            <p:cNvSpPr>
              <a:spLocks/>
            </p:cNvSpPr>
            <p:nvPr/>
          </p:nvSpPr>
          <p:spPr bwMode="auto">
            <a:xfrm>
              <a:off x="3658771" y="4848225"/>
              <a:ext cx="42863" cy="14288"/>
            </a:xfrm>
            <a:custGeom>
              <a:avLst/>
              <a:gdLst/>
              <a:ahLst/>
              <a:cxnLst>
                <a:cxn ang="0">
                  <a:pos x="14" y="9"/>
                </a:cxn>
                <a:cxn ang="0">
                  <a:pos x="12" y="9"/>
                </a:cxn>
                <a:cxn ang="0">
                  <a:pos x="8" y="7"/>
                </a:cxn>
                <a:cxn ang="0">
                  <a:pos x="7" y="6"/>
                </a:cxn>
                <a:cxn ang="0">
                  <a:pos x="4" y="4"/>
                </a:cxn>
                <a:cxn ang="0">
                  <a:pos x="1" y="3"/>
                </a:cxn>
                <a:cxn ang="0">
                  <a:pos x="0" y="2"/>
                </a:cxn>
                <a:cxn ang="0">
                  <a:pos x="4" y="0"/>
                </a:cxn>
                <a:cxn ang="0">
                  <a:pos x="8" y="0"/>
                </a:cxn>
                <a:cxn ang="0">
                  <a:pos x="16" y="1"/>
                </a:cxn>
                <a:cxn ang="0">
                  <a:pos x="21" y="3"/>
                </a:cxn>
                <a:cxn ang="0">
                  <a:pos x="25" y="5"/>
                </a:cxn>
                <a:cxn ang="0">
                  <a:pos x="27" y="7"/>
                </a:cxn>
                <a:cxn ang="0">
                  <a:pos x="27" y="8"/>
                </a:cxn>
                <a:cxn ang="0">
                  <a:pos x="25" y="8"/>
                </a:cxn>
                <a:cxn ang="0">
                  <a:pos x="20" y="6"/>
                </a:cxn>
                <a:cxn ang="0">
                  <a:pos x="17" y="7"/>
                </a:cxn>
                <a:cxn ang="0">
                  <a:pos x="16" y="9"/>
                </a:cxn>
                <a:cxn ang="0">
                  <a:pos x="14" y="9"/>
                </a:cxn>
              </a:cxnLst>
              <a:rect l="0" t="0" r="r" b="b"/>
              <a:pathLst>
                <a:path w="27" h="9">
                  <a:moveTo>
                    <a:pt x="14" y="9"/>
                  </a:moveTo>
                  <a:lnTo>
                    <a:pt x="12" y="9"/>
                  </a:lnTo>
                  <a:lnTo>
                    <a:pt x="8" y="7"/>
                  </a:lnTo>
                  <a:lnTo>
                    <a:pt x="7" y="6"/>
                  </a:lnTo>
                  <a:lnTo>
                    <a:pt x="4" y="4"/>
                  </a:lnTo>
                  <a:lnTo>
                    <a:pt x="1" y="3"/>
                  </a:lnTo>
                  <a:lnTo>
                    <a:pt x="0" y="2"/>
                  </a:lnTo>
                  <a:lnTo>
                    <a:pt x="4" y="0"/>
                  </a:lnTo>
                  <a:lnTo>
                    <a:pt x="8" y="0"/>
                  </a:lnTo>
                  <a:lnTo>
                    <a:pt x="16" y="1"/>
                  </a:lnTo>
                  <a:lnTo>
                    <a:pt x="21" y="3"/>
                  </a:lnTo>
                  <a:lnTo>
                    <a:pt x="25" y="5"/>
                  </a:lnTo>
                  <a:lnTo>
                    <a:pt x="27" y="7"/>
                  </a:lnTo>
                  <a:lnTo>
                    <a:pt x="27" y="8"/>
                  </a:lnTo>
                  <a:lnTo>
                    <a:pt x="25" y="8"/>
                  </a:lnTo>
                  <a:lnTo>
                    <a:pt x="20" y="6"/>
                  </a:lnTo>
                  <a:lnTo>
                    <a:pt x="17" y="7"/>
                  </a:lnTo>
                  <a:lnTo>
                    <a:pt x="16" y="9"/>
                  </a:lnTo>
                  <a:lnTo>
                    <a:pt x="14" y="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6" name="Freeform 18">
              <a:extLst>
                <a:ext uri="{FF2B5EF4-FFF2-40B4-BE49-F238E27FC236}">
                  <a16:creationId xmlns:a16="http://schemas.microsoft.com/office/drawing/2014/main" id="{64F6EDDE-0E71-C818-612B-1406FD5DA918}"/>
                </a:ext>
              </a:extLst>
            </p:cNvPr>
            <p:cNvSpPr>
              <a:spLocks/>
            </p:cNvSpPr>
            <p:nvPr/>
          </p:nvSpPr>
          <p:spPr bwMode="auto">
            <a:xfrm>
              <a:off x="3465096" y="4924425"/>
              <a:ext cx="90488" cy="88900"/>
            </a:xfrm>
            <a:custGeom>
              <a:avLst/>
              <a:gdLst/>
              <a:ahLst/>
              <a:cxnLst>
                <a:cxn ang="0">
                  <a:pos x="24" y="52"/>
                </a:cxn>
                <a:cxn ang="0">
                  <a:pos x="22" y="48"/>
                </a:cxn>
                <a:cxn ang="0">
                  <a:pos x="17" y="43"/>
                </a:cxn>
                <a:cxn ang="0">
                  <a:pos x="11" y="36"/>
                </a:cxn>
                <a:cxn ang="0">
                  <a:pos x="6" y="31"/>
                </a:cxn>
                <a:cxn ang="0">
                  <a:pos x="2" y="28"/>
                </a:cxn>
                <a:cxn ang="0">
                  <a:pos x="0" y="27"/>
                </a:cxn>
                <a:cxn ang="0">
                  <a:pos x="0" y="26"/>
                </a:cxn>
                <a:cxn ang="0">
                  <a:pos x="4" y="26"/>
                </a:cxn>
                <a:cxn ang="0">
                  <a:pos x="10" y="25"/>
                </a:cxn>
                <a:cxn ang="0">
                  <a:pos x="11" y="24"/>
                </a:cxn>
                <a:cxn ang="0">
                  <a:pos x="13" y="22"/>
                </a:cxn>
                <a:cxn ang="0">
                  <a:pos x="13" y="16"/>
                </a:cxn>
                <a:cxn ang="0">
                  <a:pos x="18" y="16"/>
                </a:cxn>
                <a:cxn ang="0">
                  <a:pos x="21" y="12"/>
                </a:cxn>
                <a:cxn ang="0">
                  <a:pos x="26" y="15"/>
                </a:cxn>
                <a:cxn ang="0">
                  <a:pos x="33" y="9"/>
                </a:cxn>
                <a:cxn ang="0">
                  <a:pos x="36" y="4"/>
                </a:cxn>
                <a:cxn ang="0">
                  <a:pos x="37" y="3"/>
                </a:cxn>
                <a:cxn ang="0">
                  <a:pos x="39" y="3"/>
                </a:cxn>
                <a:cxn ang="0">
                  <a:pos x="41" y="4"/>
                </a:cxn>
                <a:cxn ang="0">
                  <a:pos x="44" y="4"/>
                </a:cxn>
                <a:cxn ang="0">
                  <a:pos x="45" y="4"/>
                </a:cxn>
                <a:cxn ang="0">
                  <a:pos x="48" y="2"/>
                </a:cxn>
                <a:cxn ang="0">
                  <a:pos x="56" y="0"/>
                </a:cxn>
                <a:cxn ang="0">
                  <a:pos x="57" y="3"/>
                </a:cxn>
                <a:cxn ang="0">
                  <a:pos x="57" y="4"/>
                </a:cxn>
                <a:cxn ang="0">
                  <a:pos x="57" y="8"/>
                </a:cxn>
                <a:cxn ang="0">
                  <a:pos x="56" y="12"/>
                </a:cxn>
                <a:cxn ang="0">
                  <a:pos x="53" y="17"/>
                </a:cxn>
                <a:cxn ang="0">
                  <a:pos x="52" y="21"/>
                </a:cxn>
                <a:cxn ang="0">
                  <a:pos x="52" y="27"/>
                </a:cxn>
                <a:cxn ang="0">
                  <a:pos x="51" y="34"/>
                </a:cxn>
                <a:cxn ang="0">
                  <a:pos x="50" y="38"/>
                </a:cxn>
                <a:cxn ang="0">
                  <a:pos x="49" y="46"/>
                </a:cxn>
                <a:cxn ang="0">
                  <a:pos x="50" y="50"/>
                </a:cxn>
                <a:cxn ang="0">
                  <a:pos x="50" y="52"/>
                </a:cxn>
                <a:cxn ang="0">
                  <a:pos x="51" y="55"/>
                </a:cxn>
                <a:cxn ang="0">
                  <a:pos x="50" y="56"/>
                </a:cxn>
                <a:cxn ang="0">
                  <a:pos x="45" y="55"/>
                </a:cxn>
                <a:cxn ang="0">
                  <a:pos x="44" y="53"/>
                </a:cxn>
                <a:cxn ang="0">
                  <a:pos x="42" y="53"/>
                </a:cxn>
                <a:cxn ang="0">
                  <a:pos x="40" y="52"/>
                </a:cxn>
                <a:cxn ang="0">
                  <a:pos x="36" y="54"/>
                </a:cxn>
                <a:cxn ang="0">
                  <a:pos x="27" y="51"/>
                </a:cxn>
                <a:cxn ang="0">
                  <a:pos x="24" y="52"/>
                </a:cxn>
              </a:cxnLst>
              <a:rect l="0" t="0" r="r" b="b"/>
              <a:pathLst>
                <a:path w="57" h="56">
                  <a:moveTo>
                    <a:pt x="24" y="52"/>
                  </a:moveTo>
                  <a:lnTo>
                    <a:pt x="22" y="48"/>
                  </a:lnTo>
                  <a:lnTo>
                    <a:pt x="17" y="43"/>
                  </a:lnTo>
                  <a:lnTo>
                    <a:pt x="11" y="36"/>
                  </a:lnTo>
                  <a:lnTo>
                    <a:pt x="6" y="31"/>
                  </a:lnTo>
                  <a:lnTo>
                    <a:pt x="2" y="28"/>
                  </a:lnTo>
                  <a:lnTo>
                    <a:pt x="0" y="27"/>
                  </a:lnTo>
                  <a:lnTo>
                    <a:pt x="0" y="26"/>
                  </a:lnTo>
                  <a:lnTo>
                    <a:pt x="4" y="26"/>
                  </a:lnTo>
                  <a:lnTo>
                    <a:pt x="10" y="25"/>
                  </a:lnTo>
                  <a:lnTo>
                    <a:pt x="11" y="24"/>
                  </a:lnTo>
                  <a:lnTo>
                    <a:pt x="13" y="22"/>
                  </a:lnTo>
                  <a:lnTo>
                    <a:pt x="13" y="16"/>
                  </a:lnTo>
                  <a:lnTo>
                    <a:pt x="18" y="16"/>
                  </a:lnTo>
                  <a:lnTo>
                    <a:pt x="21" y="12"/>
                  </a:lnTo>
                  <a:lnTo>
                    <a:pt x="26" y="15"/>
                  </a:lnTo>
                  <a:lnTo>
                    <a:pt x="33" y="9"/>
                  </a:lnTo>
                  <a:lnTo>
                    <a:pt x="36" y="4"/>
                  </a:lnTo>
                  <a:lnTo>
                    <a:pt x="37" y="3"/>
                  </a:lnTo>
                  <a:lnTo>
                    <a:pt x="39" y="3"/>
                  </a:lnTo>
                  <a:lnTo>
                    <a:pt x="41" y="4"/>
                  </a:lnTo>
                  <a:lnTo>
                    <a:pt x="44" y="4"/>
                  </a:lnTo>
                  <a:lnTo>
                    <a:pt x="45" y="4"/>
                  </a:lnTo>
                  <a:lnTo>
                    <a:pt x="48" y="2"/>
                  </a:lnTo>
                  <a:lnTo>
                    <a:pt x="56" y="0"/>
                  </a:lnTo>
                  <a:lnTo>
                    <a:pt x="57" y="3"/>
                  </a:lnTo>
                  <a:lnTo>
                    <a:pt x="57" y="4"/>
                  </a:lnTo>
                  <a:lnTo>
                    <a:pt x="57" y="8"/>
                  </a:lnTo>
                  <a:lnTo>
                    <a:pt x="56" y="12"/>
                  </a:lnTo>
                  <a:lnTo>
                    <a:pt x="53" y="17"/>
                  </a:lnTo>
                  <a:lnTo>
                    <a:pt x="52" y="21"/>
                  </a:lnTo>
                  <a:lnTo>
                    <a:pt x="52" y="27"/>
                  </a:lnTo>
                  <a:lnTo>
                    <a:pt x="51" y="34"/>
                  </a:lnTo>
                  <a:lnTo>
                    <a:pt x="50" y="38"/>
                  </a:lnTo>
                  <a:lnTo>
                    <a:pt x="49" y="46"/>
                  </a:lnTo>
                  <a:lnTo>
                    <a:pt x="50" y="50"/>
                  </a:lnTo>
                  <a:lnTo>
                    <a:pt x="50" y="52"/>
                  </a:lnTo>
                  <a:lnTo>
                    <a:pt x="51" y="55"/>
                  </a:lnTo>
                  <a:lnTo>
                    <a:pt x="50" y="56"/>
                  </a:lnTo>
                  <a:lnTo>
                    <a:pt x="45" y="55"/>
                  </a:lnTo>
                  <a:lnTo>
                    <a:pt x="44" y="53"/>
                  </a:lnTo>
                  <a:lnTo>
                    <a:pt x="42" y="53"/>
                  </a:lnTo>
                  <a:lnTo>
                    <a:pt x="40" y="52"/>
                  </a:lnTo>
                  <a:lnTo>
                    <a:pt x="36" y="54"/>
                  </a:lnTo>
                  <a:lnTo>
                    <a:pt x="27" y="51"/>
                  </a:lnTo>
                  <a:lnTo>
                    <a:pt x="24" y="5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7" name="Freeform 19">
              <a:extLst>
                <a:ext uri="{FF2B5EF4-FFF2-40B4-BE49-F238E27FC236}">
                  <a16:creationId xmlns:a16="http://schemas.microsoft.com/office/drawing/2014/main" id="{F2069FA4-B8A9-A8B9-9485-8810EC4821E2}"/>
                </a:ext>
              </a:extLst>
            </p:cNvPr>
            <p:cNvSpPr>
              <a:spLocks/>
            </p:cNvSpPr>
            <p:nvPr/>
          </p:nvSpPr>
          <p:spPr bwMode="auto">
            <a:xfrm>
              <a:off x="3739734" y="4816475"/>
              <a:ext cx="57150" cy="41275"/>
            </a:xfrm>
            <a:custGeom>
              <a:avLst/>
              <a:gdLst/>
              <a:ahLst/>
              <a:cxnLst>
                <a:cxn ang="0">
                  <a:pos x="35" y="2"/>
                </a:cxn>
                <a:cxn ang="0">
                  <a:pos x="35" y="5"/>
                </a:cxn>
                <a:cxn ang="0">
                  <a:pos x="36" y="13"/>
                </a:cxn>
                <a:cxn ang="0">
                  <a:pos x="36" y="14"/>
                </a:cxn>
                <a:cxn ang="0">
                  <a:pos x="33" y="17"/>
                </a:cxn>
                <a:cxn ang="0">
                  <a:pos x="33" y="18"/>
                </a:cxn>
                <a:cxn ang="0">
                  <a:pos x="36" y="26"/>
                </a:cxn>
                <a:cxn ang="0">
                  <a:pos x="32" y="23"/>
                </a:cxn>
                <a:cxn ang="0">
                  <a:pos x="30" y="23"/>
                </a:cxn>
                <a:cxn ang="0">
                  <a:pos x="25" y="23"/>
                </a:cxn>
                <a:cxn ang="0">
                  <a:pos x="20" y="23"/>
                </a:cxn>
                <a:cxn ang="0">
                  <a:pos x="16" y="23"/>
                </a:cxn>
                <a:cxn ang="0">
                  <a:pos x="13" y="22"/>
                </a:cxn>
                <a:cxn ang="0">
                  <a:pos x="10" y="23"/>
                </a:cxn>
                <a:cxn ang="0">
                  <a:pos x="8" y="25"/>
                </a:cxn>
                <a:cxn ang="0">
                  <a:pos x="7" y="25"/>
                </a:cxn>
                <a:cxn ang="0">
                  <a:pos x="1" y="21"/>
                </a:cxn>
                <a:cxn ang="0">
                  <a:pos x="0" y="19"/>
                </a:cxn>
                <a:cxn ang="0">
                  <a:pos x="0" y="18"/>
                </a:cxn>
                <a:cxn ang="0">
                  <a:pos x="2" y="17"/>
                </a:cxn>
                <a:cxn ang="0">
                  <a:pos x="8" y="18"/>
                </a:cxn>
                <a:cxn ang="0">
                  <a:pos x="12" y="18"/>
                </a:cxn>
                <a:cxn ang="0">
                  <a:pos x="18" y="19"/>
                </a:cxn>
                <a:cxn ang="0">
                  <a:pos x="22" y="20"/>
                </a:cxn>
                <a:cxn ang="0">
                  <a:pos x="26" y="18"/>
                </a:cxn>
                <a:cxn ang="0">
                  <a:pos x="28" y="17"/>
                </a:cxn>
                <a:cxn ang="0">
                  <a:pos x="27" y="17"/>
                </a:cxn>
                <a:cxn ang="0">
                  <a:pos x="23" y="14"/>
                </a:cxn>
                <a:cxn ang="0">
                  <a:pos x="22" y="12"/>
                </a:cxn>
                <a:cxn ang="0">
                  <a:pos x="23" y="7"/>
                </a:cxn>
                <a:cxn ang="0">
                  <a:pos x="22" y="5"/>
                </a:cxn>
                <a:cxn ang="0">
                  <a:pos x="20" y="5"/>
                </a:cxn>
                <a:cxn ang="0">
                  <a:pos x="14" y="4"/>
                </a:cxn>
                <a:cxn ang="0">
                  <a:pos x="13" y="2"/>
                </a:cxn>
                <a:cxn ang="0">
                  <a:pos x="13" y="1"/>
                </a:cxn>
                <a:cxn ang="0">
                  <a:pos x="13" y="1"/>
                </a:cxn>
                <a:cxn ang="0">
                  <a:pos x="16" y="0"/>
                </a:cxn>
                <a:cxn ang="0">
                  <a:pos x="20" y="0"/>
                </a:cxn>
                <a:cxn ang="0">
                  <a:pos x="24" y="0"/>
                </a:cxn>
                <a:cxn ang="0">
                  <a:pos x="31" y="2"/>
                </a:cxn>
                <a:cxn ang="0">
                  <a:pos x="34" y="3"/>
                </a:cxn>
                <a:cxn ang="0">
                  <a:pos x="35" y="2"/>
                </a:cxn>
              </a:cxnLst>
              <a:rect l="0" t="0" r="r" b="b"/>
              <a:pathLst>
                <a:path w="36" h="26">
                  <a:moveTo>
                    <a:pt x="35" y="2"/>
                  </a:moveTo>
                  <a:lnTo>
                    <a:pt x="35" y="5"/>
                  </a:lnTo>
                  <a:lnTo>
                    <a:pt x="36" y="13"/>
                  </a:lnTo>
                  <a:lnTo>
                    <a:pt x="36" y="14"/>
                  </a:lnTo>
                  <a:lnTo>
                    <a:pt x="33" y="17"/>
                  </a:lnTo>
                  <a:lnTo>
                    <a:pt x="33" y="18"/>
                  </a:lnTo>
                  <a:lnTo>
                    <a:pt x="36" y="26"/>
                  </a:lnTo>
                  <a:lnTo>
                    <a:pt x="32" y="23"/>
                  </a:lnTo>
                  <a:lnTo>
                    <a:pt x="30" y="23"/>
                  </a:lnTo>
                  <a:lnTo>
                    <a:pt x="25" y="23"/>
                  </a:lnTo>
                  <a:lnTo>
                    <a:pt x="20" y="23"/>
                  </a:lnTo>
                  <a:lnTo>
                    <a:pt x="16" y="23"/>
                  </a:lnTo>
                  <a:lnTo>
                    <a:pt x="13" y="22"/>
                  </a:lnTo>
                  <a:lnTo>
                    <a:pt x="10" y="23"/>
                  </a:lnTo>
                  <a:lnTo>
                    <a:pt x="8" y="25"/>
                  </a:lnTo>
                  <a:lnTo>
                    <a:pt x="7" y="25"/>
                  </a:lnTo>
                  <a:lnTo>
                    <a:pt x="1" y="21"/>
                  </a:lnTo>
                  <a:lnTo>
                    <a:pt x="0" y="19"/>
                  </a:lnTo>
                  <a:lnTo>
                    <a:pt x="0" y="18"/>
                  </a:lnTo>
                  <a:lnTo>
                    <a:pt x="2" y="17"/>
                  </a:lnTo>
                  <a:lnTo>
                    <a:pt x="8" y="18"/>
                  </a:lnTo>
                  <a:lnTo>
                    <a:pt x="12" y="18"/>
                  </a:lnTo>
                  <a:lnTo>
                    <a:pt x="18" y="19"/>
                  </a:lnTo>
                  <a:lnTo>
                    <a:pt x="22" y="20"/>
                  </a:lnTo>
                  <a:lnTo>
                    <a:pt x="26" y="18"/>
                  </a:lnTo>
                  <a:lnTo>
                    <a:pt x="28" y="17"/>
                  </a:lnTo>
                  <a:lnTo>
                    <a:pt x="27" y="17"/>
                  </a:lnTo>
                  <a:lnTo>
                    <a:pt x="23" y="14"/>
                  </a:lnTo>
                  <a:lnTo>
                    <a:pt x="22" y="12"/>
                  </a:lnTo>
                  <a:lnTo>
                    <a:pt x="23" y="7"/>
                  </a:lnTo>
                  <a:lnTo>
                    <a:pt x="22" y="5"/>
                  </a:lnTo>
                  <a:lnTo>
                    <a:pt x="20" y="5"/>
                  </a:lnTo>
                  <a:lnTo>
                    <a:pt x="14" y="4"/>
                  </a:lnTo>
                  <a:lnTo>
                    <a:pt x="13" y="2"/>
                  </a:lnTo>
                  <a:lnTo>
                    <a:pt x="13" y="1"/>
                  </a:lnTo>
                  <a:lnTo>
                    <a:pt x="13" y="1"/>
                  </a:lnTo>
                  <a:lnTo>
                    <a:pt x="16" y="0"/>
                  </a:lnTo>
                  <a:lnTo>
                    <a:pt x="20" y="0"/>
                  </a:lnTo>
                  <a:lnTo>
                    <a:pt x="24" y="0"/>
                  </a:lnTo>
                  <a:lnTo>
                    <a:pt x="31" y="2"/>
                  </a:lnTo>
                  <a:lnTo>
                    <a:pt x="34" y="3"/>
                  </a:lnTo>
                  <a:lnTo>
                    <a:pt x="35" y="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8" name="Freeform 20">
              <a:extLst>
                <a:ext uri="{FF2B5EF4-FFF2-40B4-BE49-F238E27FC236}">
                  <a16:creationId xmlns:a16="http://schemas.microsoft.com/office/drawing/2014/main" id="{60FCDD01-B4DE-9D38-3A17-56163CB3A6DB}"/>
                </a:ext>
              </a:extLst>
            </p:cNvPr>
            <p:cNvSpPr>
              <a:spLocks/>
            </p:cNvSpPr>
            <p:nvPr/>
          </p:nvSpPr>
          <p:spPr bwMode="auto">
            <a:xfrm>
              <a:off x="3792121" y="4816475"/>
              <a:ext cx="73025" cy="47625"/>
            </a:xfrm>
            <a:custGeom>
              <a:avLst/>
              <a:gdLst/>
              <a:ahLst/>
              <a:cxnLst>
                <a:cxn ang="0">
                  <a:pos x="3" y="26"/>
                </a:cxn>
                <a:cxn ang="0">
                  <a:pos x="0" y="18"/>
                </a:cxn>
                <a:cxn ang="0">
                  <a:pos x="0" y="17"/>
                </a:cxn>
                <a:cxn ang="0">
                  <a:pos x="3" y="14"/>
                </a:cxn>
                <a:cxn ang="0">
                  <a:pos x="3" y="13"/>
                </a:cxn>
                <a:cxn ang="0">
                  <a:pos x="2" y="5"/>
                </a:cxn>
                <a:cxn ang="0">
                  <a:pos x="2" y="2"/>
                </a:cxn>
                <a:cxn ang="0">
                  <a:pos x="5" y="0"/>
                </a:cxn>
                <a:cxn ang="0">
                  <a:pos x="7" y="1"/>
                </a:cxn>
                <a:cxn ang="0">
                  <a:pos x="9" y="1"/>
                </a:cxn>
                <a:cxn ang="0">
                  <a:pos x="12" y="0"/>
                </a:cxn>
                <a:cxn ang="0">
                  <a:pos x="14" y="0"/>
                </a:cxn>
                <a:cxn ang="0">
                  <a:pos x="15" y="1"/>
                </a:cxn>
                <a:cxn ang="0">
                  <a:pos x="16" y="2"/>
                </a:cxn>
                <a:cxn ang="0">
                  <a:pos x="21" y="4"/>
                </a:cxn>
                <a:cxn ang="0">
                  <a:pos x="25" y="3"/>
                </a:cxn>
                <a:cxn ang="0">
                  <a:pos x="27" y="6"/>
                </a:cxn>
                <a:cxn ang="0">
                  <a:pos x="28" y="8"/>
                </a:cxn>
                <a:cxn ang="0">
                  <a:pos x="31" y="10"/>
                </a:cxn>
                <a:cxn ang="0">
                  <a:pos x="34" y="11"/>
                </a:cxn>
                <a:cxn ang="0">
                  <a:pos x="37" y="12"/>
                </a:cxn>
                <a:cxn ang="0">
                  <a:pos x="43" y="14"/>
                </a:cxn>
                <a:cxn ang="0">
                  <a:pos x="45" y="17"/>
                </a:cxn>
                <a:cxn ang="0">
                  <a:pos x="46" y="18"/>
                </a:cxn>
                <a:cxn ang="0">
                  <a:pos x="45" y="20"/>
                </a:cxn>
                <a:cxn ang="0">
                  <a:pos x="45" y="21"/>
                </a:cxn>
                <a:cxn ang="0">
                  <a:pos x="43" y="24"/>
                </a:cxn>
                <a:cxn ang="0">
                  <a:pos x="41" y="23"/>
                </a:cxn>
                <a:cxn ang="0">
                  <a:pos x="39" y="20"/>
                </a:cxn>
                <a:cxn ang="0">
                  <a:pos x="36" y="19"/>
                </a:cxn>
                <a:cxn ang="0">
                  <a:pos x="31" y="20"/>
                </a:cxn>
                <a:cxn ang="0">
                  <a:pos x="30" y="19"/>
                </a:cxn>
                <a:cxn ang="0">
                  <a:pos x="28" y="19"/>
                </a:cxn>
                <a:cxn ang="0">
                  <a:pos x="26" y="20"/>
                </a:cxn>
                <a:cxn ang="0">
                  <a:pos x="21" y="23"/>
                </a:cxn>
                <a:cxn ang="0">
                  <a:pos x="19" y="23"/>
                </a:cxn>
                <a:cxn ang="0">
                  <a:pos x="17" y="20"/>
                </a:cxn>
                <a:cxn ang="0">
                  <a:pos x="16" y="19"/>
                </a:cxn>
                <a:cxn ang="0">
                  <a:pos x="15" y="20"/>
                </a:cxn>
                <a:cxn ang="0">
                  <a:pos x="11" y="22"/>
                </a:cxn>
                <a:cxn ang="0">
                  <a:pos x="9" y="27"/>
                </a:cxn>
                <a:cxn ang="0">
                  <a:pos x="7" y="30"/>
                </a:cxn>
                <a:cxn ang="0">
                  <a:pos x="5" y="30"/>
                </a:cxn>
                <a:cxn ang="0">
                  <a:pos x="3" y="26"/>
                </a:cxn>
              </a:cxnLst>
              <a:rect l="0" t="0" r="r" b="b"/>
              <a:pathLst>
                <a:path w="46" h="30">
                  <a:moveTo>
                    <a:pt x="3" y="26"/>
                  </a:moveTo>
                  <a:lnTo>
                    <a:pt x="0" y="18"/>
                  </a:lnTo>
                  <a:lnTo>
                    <a:pt x="0" y="17"/>
                  </a:lnTo>
                  <a:lnTo>
                    <a:pt x="3" y="14"/>
                  </a:lnTo>
                  <a:lnTo>
                    <a:pt x="3" y="13"/>
                  </a:lnTo>
                  <a:lnTo>
                    <a:pt x="2" y="5"/>
                  </a:lnTo>
                  <a:lnTo>
                    <a:pt x="2" y="2"/>
                  </a:lnTo>
                  <a:lnTo>
                    <a:pt x="5" y="0"/>
                  </a:lnTo>
                  <a:lnTo>
                    <a:pt x="7" y="1"/>
                  </a:lnTo>
                  <a:lnTo>
                    <a:pt x="9" y="1"/>
                  </a:lnTo>
                  <a:lnTo>
                    <a:pt x="12" y="0"/>
                  </a:lnTo>
                  <a:lnTo>
                    <a:pt x="14" y="0"/>
                  </a:lnTo>
                  <a:lnTo>
                    <a:pt x="15" y="1"/>
                  </a:lnTo>
                  <a:lnTo>
                    <a:pt x="16" y="2"/>
                  </a:lnTo>
                  <a:lnTo>
                    <a:pt x="21" y="4"/>
                  </a:lnTo>
                  <a:lnTo>
                    <a:pt x="25" y="3"/>
                  </a:lnTo>
                  <a:lnTo>
                    <a:pt x="27" y="6"/>
                  </a:lnTo>
                  <a:lnTo>
                    <a:pt x="28" y="8"/>
                  </a:lnTo>
                  <a:lnTo>
                    <a:pt x="31" y="10"/>
                  </a:lnTo>
                  <a:lnTo>
                    <a:pt x="34" y="11"/>
                  </a:lnTo>
                  <a:lnTo>
                    <a:pt x="37" y="12"/>
                  </a:lnTo>
                  <a:lnTo>
                    <a:pt x="43" y="14"/>
                  </a:lnTo>
                  <a:lnTo>
                    <a:pt x="45" y="17"/>
                  </a:lnTo>
                  <a:lnTo>
                    <a:pt x="46" y="18"/>
                  </a:lnTo>
                  <a:lnTo>
                    <a:pt x="45" y="20"/>
                  </a:lnTo>
                  <a:lnTo>
                    <a:pt x="45" y="21"/>
                  </a:lnTo>
                  <a:lnTo>
                    <a:pt x="43" y="24"/>
                  </a:lnTo>
                  <a:lnTo>
                    <a:pt x="41" y="23"/>
                  </a:lnTo>
                  <a:lnTo>
                    <a:pt x="39" y="20"/>
                  </a:lnTo>
                  <a:lnTo>
                    <a:pt x="36" y="19"/>
                  </a:lnTo>
                  <a:lnTo>
                    <a:pt x="31" y="20"/>
                  </a:lnTo>
                  <a:lnTo>
                    <a:pt x="30" y="19"/>
                  </a:lnTo>
                  <a:lnTo>
                    <a:pt x="28" y="19"/>
                  </a:lnTo>
                  <a:lnTo>
                    <a:pt x="26" y="20"/>
                  </a:lnTo>
                  <a:lnTo>
                    <a:pt x="21" y="23"/>
                  </a:lnTo>
                  <a:lnTo>
                    <a:pt x="19" y="23"/>
                  </a:lnTo>
                  <a:lnTo>
                    <a:pt x="17" y="20"/>
                  </a:lnTo>
                  <a:lnTo>
                    <a:pt x="16" y="19"/>
                  </a:lnTo>
                  <a:lnTo>
                    <a:pt x="15" y="20"/>
                  </a:lnTo>
                  <a:lnTo>
                    <a:pt x="11" y="22"/>
                  </a:lnTo>
                  <a:lnTo>
                    <a:pt x="9" y="27"/>
                  </a:lnTo>
                  <a:lnTo>
                    <a:pt x="7" y="30"/>
                  </a:lnTo>
                  <a:lnTo>
                    <a:pt x="5" y="30"/>
                  </a:lnTo>
                  <a:lnTo>
                    <a:pt x="3"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49" name="Freeform 21">
              <a:extLst>
                <a:ext uri="{FF2B5EF4-FFF2-40B4-BE49-F238E27FC236}">
                  <a16:creationId xmlns:a16="http://schemas.microsoft.com/office/drawing/2014/main" id="{BB4A85D1-277F-F0D9-9AEF-2C91E95499B4}"/>
                </a:ext>
              </a:extLst>
            </p:cNvPr>
            <p:cNvSpPr>
              <a:spLocks/>
            </p:cNvSpPr>
            <p:nvPr/>
          </p:nvSpPr>
          <p:spPr bwMode="auto">
            <a:xfrm>
              <a:off x="3503196" y="5005388"/>
              <a:ext cx="68263" cy="65088"/>
            </a:xfrm>
            <a:custGeom>
              <a:avLst/>
              <a:gdLst/>
              <a:ahLst/>
              <a:cxnLst>
                <a:cxn ang="0">
                  <a:pos x="32" y="9"/>
                </a:cxn>
                <a:cxn ang="0">
                  <a:pos x="36" y="15"/>
                </a:cxn>
                <a:cxn ang="0">
                  <a:pos x="41" y="19"/>
                </a:cxn>
                <a:cxn ang="0">
                  <a:pos x="43" y="21"/>
                </a:cxn>
                <a:cxn ang="0">
                  <a:pos x="40" y="21"/>
                </a:cxn>
                <a:cxn ang="0">
                  <a:pos x="38" y="24"/>
                </a:cxn>
                <a:cxn ang="0">
                  <a:pos x="41" y="29"/>
                </a:cxn>
                <a:cxn ang="0">
                  <a:pos x="40" y="34"/>
                </a:cxn>
                <a:cxn ang="0">
                  <a:pos x="39" y="37"/>
                </a:cxn>
                <a:cxn ang="0">
                  <a:pos x="38" y="39"/>
                </a:cxn>
                <a:cxn ang="0">
                  <a:pos x="36" y="33"/>
                </a:cxn>
                <a:cxn ang="0">
                  <a:pos x="33" y="32"/>
                </a:cxn>
                <a:cxn ang="0">
                  <a:pos x="34" y="35"/>
                </a:cxn>
                <a:cxn ang="0">
                  <a:pos x="34" y="36"/>
                </a:cxn>
                <a:cxn ang="0">
                  <a:pos x="29" y="33"/>
                </a:cxn>
                <a:cxn ang="0">
                  <a:pos x="30" y="28"/>
                </a:cxn>
                <a:cxn ang="0">
                  <a:pos x="26" y="25"/>
                </a:cxn>
                <a:cxn ang="0">
                  <a:pos x="22" y="22"/>
                </a:cxn>
                <a:cxn ang="0">
                  <a:pos x="16" y="19"/>
                </a:cxn>
                <a:cxn ang="0">
                  <a:pos x="15" y="16"/>
                </a:cxn>
                <a:cxn ang="0">
                  <a:pos x="10" y="13"/>
                </a:cxn>
                <a:cxn ang="0">
                  <a:pos x="9" y="14"/>
                </a:cxn>
                <a:cxn ang="0">
                  <a:pos x="12" y="16"/>
                </a:cxn>
                <a:cxn ang="0">
                  <a:pos x="10" y="21"/>
                </a:cxn>
                <a:cxn ang="0">
                  <a:pos x="7" y="18"/>
                </a:cxn>
                <a:cxn ang="0">
                  <a:pos x="2" y="15"/>
                </a:cxn>
                <a:cxn ang="0">
                  <a:pos x="0" y="10"/>
                </a:cxn>
                <a:cxn ang="0">
                  <a:pos x="3" y="7"/>
                </a:cxn>
                <a:cxn ang="0">
                  <a:pos x="0" y="3"/>
                </a:cxn>
                <a:cxn ang="0">
                  <a:pos x="2" y="1"/>
                </a:cxn>
                <a:cxn ang="0">
                  <a:pos x="3" y="0"/>
                </a:cxn>
                <a:cxn ang="0">
                  <a:pos x="16" y="1"/>
                </a:cxn>
                <a:cxn ang="0">
                  <a:pos x="20" y="2"/>
                </a:cxn>
                <a:cxn ang="0">
                  <a:pos x="26" y="5"/>
                </a:cxn>
              </a:cxnLst>
              <a:rect l="0" t="0" r="r" b="b"/>
              <a:pathLst>
                <a:path w="43" h="41">
                  <a:moveTo>
                    <a:pt x="27" y="4"/>
                  </a:moveTo>
                  <a:lnTo>
                    <a:pt x="32" y="9"/>
                  </a:lnTo>
                  <a:lnTo>
                    <a:pt x="35" y="13"/>
                  </a:lnTo>
                  <a:lnTo>
                    <a:pt x="36" y="15"/>
                  </a:lnTo>
                  <a:lnTo>
                    <a:pt x="38" y="15"/>
                  </a:lnTo>
                  <a:lnTo>
                    <a:pt x="41" y="19"/>
                  </a:lnTo>
                  <a:lnTo>
                    <a:pt x="43" y="21"/>
                  </a:lnTo>
                  <a:lnTo>
                    <a:pt x="43" y="21"/>
                  </a:lnTo>
                  <a:lnTo>
                    <a:pt x="43" y="22"/>
                  </a:lnTo>
                  <a:lnTo>
                    <a:pt x="40" y="21"/>
                  </a:lnTo>
                  <a:lnTo>
                    <a:pt x="39" y="22"/>
                  </a:lnTo>
                  <a:lnTo>
                    <a:pt x="38" y="24"/>
                  </a:lnTo>
                  <a:lnTo>
                    <a:pt x="38" y="27"/>
                  </a:lnTo>
                  <a:lnTo>
                    <a:pt x="41" y="29"/>
                  </a:lnTo>
                  <a:lnTo>
                    <a:pt x="39" y="31"/>
                  </a:lnTo>
                  <a:lnTo>
                    <a:pt x="40" y="34"/>
                  </a:lnTo>
                  <a:lnTo>
                    <a:pt x="38" y="36"/>
                  </a:lnTo>
                  <a:lnTo>
                    <a:pt x="39" y="37"/>
                  </a:lnTo>
                  <a:lnTo>
                    <a:pt x="38" y="41"/>
                  </a:lnTo>
                  <a:lnTo>
                    <a:pt x="38" y="39"/>
                  </a:lnTo>
                  <a:lnTo>
                    <a:pt x="36" y="37"/>
                  </a:lnTo>
                  <a:lnTo>
                    <a:pt x="36" y="33"/>
                  </a:lnTo>
                  <a:lnTo>
                    <a:pt x="34" y="32"/>
                  </a:lnTo>
                  <a:lnTo>
                    <a:pt x="33" y="32"/>
                  </a:lnTo>
                  <a:lnTo>
                    <a:pt x="32" y="32"/>
                  </a:lnTo>
                  <a:lnTo>
                    <a:pt x="34" y="35"/>
                  </a:lnTo>
                  <a:lnTo>
                    <a:pt x="34" y="36"/>
                  </a:lnTo>
                  <a:lnTo>
                    <a:pt x="34" y="36"/>
                  </a:lnTo>
                  <a:lnTo>
                    <a:pt x="29" y="34"/>
                  </a:lnTo>
                  <a:lnTo>
                    <a:pt x="29" y="33"/>
                  </a:lnTo>
                  <a:lnTo>
                    <a:pt x="30" y="31"/>
                  </a:lnTo>
                  <a:lnTo>
                    <a:pt x="30" y="28"/>
                  </a:lnTo>
                  <a:lnTo>
                    <a:pt x="29" y="27"/>
                  </a:lnTo>
                  <a:lnTo>
                    <a:pt x="26" y="25"/>
                  </a:lnTo>
                  <a:lnTo>
                    <a:pt x="22" y="23"/>
                  </a:lnTo>
                  <a:lnTo>
                    <a:pt x="22" y="22"/>
                  </a:lnTo>
                  <a:lnTo>
                    <a:pt x="18" y="21"/>
                  </a:lnTo>
                  <a:lnTo>
                    <a:pt x="16" y="19"/>
                  </a:lnTo>
                  <a:lnTo>
                    <a:pt x="16" y="17"/>
                  </a:lnTo>
                  <a:lnTo>
                    <a:pt x="15" y="16"/>
                  </a:lnTo>
                  <a:lnTo>
                    <a:pt x="14" y="15"/>
                  </a:lnTo>
                  <a:lnTo>
                    <a:pt x="10" y="13"/>
                  </a:lnTo>
                  <a:lnTo>
                    <a:pt x="8" y="11"/>
                  </a:lnTo>
                  <a:lnTo>
                    <a:pt x="9" y="14"/>
                  </a:lnTo>
                  <a:lnTo>
                    <a:pt x="10" y="16"/>
                  </a:lnTo>
                  <a:lnTo>
                    <a:pt x="12" y="16"/>
                  </a:lnTo>
                  <a:lnTo>
                    <a:pt x="13" y="18"/>
                  </a:lnTo>
                  <a:lnTo>
                    <a:pt x="10" y="21"/>
                  </a:lnTo>
                  <a:lnTo>
                    <a:pt x="9" y="19"/>
                  </a:lnTo>
                  <a:lnTo>
                    <a:pt x="7" y="18"/>
                  </a:lnTo>
                  <a:lnTo>
                    <a:pt x="4" y="16"/>
                  </a:lnTo>
                  <a:lnTo>
                    <a:pt x="2" y="15"/>
                  </a:lnTo>
                  <a:lnTo>
                    <a:pt x="1" y="13"/>
                  </a:lnTo>
                  <a:lnTo>
                    <a:pt x="0" y="10"/>
                  </a:lnTo>
                  <a:lnTo>
                    <a:pt x="1" y="8"/>
                  </a:lnTo>
                  <a:lnTo>
                    <a:pt x="3" y="7"/>
                  </a:lnTo>
                  <a:lnTo>
                    <a:pt x="3" y="4"/>
                  </a:lnTo>
                  <a:lnTo>
                    <a:pt x="0" y="3"/>
                  </a:lnTo>
                  <a:lnTo>
                    <a:pt x="2" y="2"/>
                  </a:lnTo>
                  <a:lnTo>
                    <a:pt x="2" y="1"/>
                  </a:lnTo>
                  <a:lnTo>
                    <a:pt x="0" y="1"/>
                  </a:lnTo>
                  <a:lnTo>
                    <a:pt x="3" y="0"/>
                  </a:lnTo>
                  <a:lnTo>
                    <a:pt x="12" y="3"/>
                  </a:lnTo>
                  <a:lnTo>
                    <a:pt x="16" y="1"/>
                  </a:lnTo>
                  <a:lnTo>
                    <a:pt x="18" y="2"/>
                  </a:lnTo>
                  <a:lnTo>
                    <a:pt x="20" y="2"/>
                  </a:lnTo>
                  <a:lnTo>
                    <a:pt x="21" y="4"/>
                  </a:lnTo>
                  <a:lnTo>
                    <a:pt x="26" y="5"/>
                  </a:lnTo>
                  <a:lnTo>
                    <a:pt x="27"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0" name="Freeform 22">
              <a:extLst>
                <a:ext uri="{FF2B5EF4-FFF2-40B4-BE49-F238E27FC236}">
                  <a16:creationId xmlns:a16="http://schemas.microsoft.com/office/drawing/2014/main" id="{2BDA3703-419F-54D9-A129-6F55717CA246}"/>
                </a:ext>
              </a:extLst>
            </p:cNvPr>
            <p:cNvSpPr>
              <a:spLocks/>
            </p:cNvSpPr>
            <p:nvPr/>
          </p:nvSpPr>
          <p:spPr bwMode="auto">
            <a:xfrm>
              <a:off x="3890546" y="4846638"/>
              <a:ext cx="30163" cy="12700"/>
            </a:xfrm>
            <a:custGeom>
              <a:avLst/>
              <a:gdLst/>
              <a:ahLst/>
              <a:cxnLst>
                <a:cxn ang="0">
                  <a:pos x="4" y="8"/>
                </a:cxn>
                <a:cxn ang="0">
                  <a:pos x="1" y="8"/>
                </a:cxn>
                <a:cxn ang="0">
                  <a:pos x="0" y="7"/>
                </a:cxn>
                <a:cxn ang="0">
                  <a:pos x="0" y="3"/>
                </a:cxn>
                <a:cxn ang="0">
                  <a:pos x="0" y="1"/>
                </a:cxn>
                <a:cxn ang="0">
                  <a:pos x="0" y="1"/>
                </a:cxn>
                <a:cxn ang="0">
                  <a:pos x="2" y="0"/>
                </a:cxn>
                <a:cxn ang="0">
                  <a:pos x="5" y="1"/>
                </a:cxn>
                <a:cxn ang="0">
                  <a:pos x="7" y="0"/>
                </a:cxn>
                <a:cxn ang="0">
                  <a:pos x="16" y="1"/>
                </a:cxn>
                <a:cxn ang="0">
                  <a:pos x="19" y="2"/>
                </a:cxn>
                <a:cxn ang="0">
                  <a:pos x="19" y="3"/>
                </a:cxn>
                <a:cxn ang="0">
                  <a:pos x="18" y="5"/>
                </a:cxn>
                <a:cxn ang="0">
                  <a:pos x="17" y="6"/>
                </a:cxn>
                <a:cxn ang="0">
                  <a:pos x="16" y="7"/>
                </a:cxn>
                <a:cxn ang="0">
                  <a:pos x="14" y="7"/>
                </a:cxn>
                <a:cxn ang="0">
                  <a:pos x="10" y="7"/>
                </a:cxn>
                <a:cxn ang="0">
                  <a:pos x="6" y="7"/>
                </a:cxn>
                <a:cxn ang="0">
                  <a:pos x="4" y="8"/>
                </a:cxn>
              </a:cxnLst>
              <a:rect l="0" t="0" r="r" b="b"/>
              <a:pathLst>
                <a:path w="19" h="8">
                  <a:moveTo>
                    <a:pt x="4" y="8"/>
                  </a:moveTo>
                  <a:lnTo>
                    <a:pt x="1" y="8"/>
                  </a:lnTo>
                  <a:lnTo>
                    <a:pt x="0" y="7"/>
                  </a:lnTo>
                  <a:lnTo>
                    <a:pt x="0" y="3"/>
                  </a:lnTo>
                  <a:lnTo>
                    <a:pt x="0" y="1"/>
                  </a:lnTo>
                  <a:lnTo>
                    <a:pt x="0" y="1"/>
                  </a:lnTo>
                  <a:lnTo>
                    <a:pt x="2" y="0"/>
                  </a:lnTo>
                  <a:lnTo>
                    <a:pt x="5" y="1"/>
                  </a:lnTo>
                  <a:lnTo>
                    <a:pt x="7" y="0"/>
                  </a:lnTo>
                  <a:lnTo>
                    <a:pt x="16" y="1"/>
                  </a:lnTo>
                  <a:lnTo>
                    <a:pt x="19" y="2"/>
                  </a:lnTo>
                  <a:lnTo>
                    <a:pt x="19" y="3"/>
                  </a:lnTo>
                  <a:lnTo>
                    <a:pt x="18" y="5"/>
                  </a:lnTo>
                  <a:lnTo>
                    <a:pt x="17" y="6"/>
                  </a:lnTo>
                  <a:lnTo>
                    <a:pt x="16" y="7"/>
                  </a:lnTo>
                  <a:lnTo>
                    <a:pt x="14" y="7"/>
                  </a:lnTo>
                  <a:lnTo>
                    <a:pt x="10" y="7"/>
                  </a:lnTo>
                  <a:lnTo>
                    <a:pt x="6" y="7"/>
                  </a:lnTo>
                  <a:lnTo>
                    <a:pt x="4" y="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1" name="Freeform 23">
              <a:extLst>
                <a:ext uri="{FF2B5EF4-FFF2-40B4-BE49-F238E27FC236}">
                  <a16:creationId xmlns:a16="http://schemas.microsoft.com/office/drawing/2014/main" id="{59E46A7B-F007-4061-0242-19004BB9CF30}"/>
                </a:ext>
              </a:extLst>
            </p:cNvPr>
            <p:cNvSpPr>
              <a:spLocks/>
            </p:cNvSpPr>
            <p:nvPr/>
          </p:nvSpPr>
          <p:spPr bwMode="auto">
            <a:xfrm>
              <a:off x="3563521" y="5037138"/>
              <a:ext cx="120650" cy="52388"/>
            </a:xfrm>
            <a:custGeom>
              <a:avLst/>
              <a:gdLst/>
              <a:ahLst/>
              <a:cxnLst>
                <a:cxn ang="0">
                  <a:pos x="8" y="3"/>
                </a:cxn>
                <a:cxn ang="0">
                  <a:pos x="9" y="8"/>
                </a:cxn>
                <a:cxn ang="0">
                  <a:pos x="15" y="9"/>
                </a:cxn>
                <a:cxn ang="0">
                  <a:pos x="19" y="10"/>
                </a:cxn>
                <a:cxn ang="0">
                  <a:pos x="26" y="10"/>
                </a:cxn>
                <a:cxn ang="0">
                  <a:pos x="37" y="6"/>
                </a:cxn>
                <a:cxn ang="0">
                  <a:pos x="47" y="1"/>
                </a:cxn>
                <a:cxn ang="0">
                  <a:pos x="52" y="2"/>
                </a:cxn>
                <a:cxn ang="0">
                  <a:pos x="61" y="4"/>
                </a:cxn>
                <a:cxn ang="0">
                  <a:pos x="69" y="9"/>
                </a:cxn>
                <a:cxn ang="0">
                  <a:pos x="72" y="15"/>
                </a:cxn>
                <a:cxn ang="0">
                  <a:pos x="76" y="22"/>
                </a:cxn>
                <a:cxn ang="0">
                  <a:pos x="74" y="25"/>
                </a:cxn>
                <a:cxn ang="0">
                  <a:pos x="70" y="26"/>
                </a:cxn>
                <a:cxn ang="0">
                  <a:pos x="69" y="28"/>
                </a:cxn>
                <a:cxn ang="0">
                  <a:pos x="66" y="33"/>
                </a:cxn>
                <a:cxn ang="0">
                  <a:pos x="61" y="23"/>
                </a:cxn>
                <a:cxn ang="0">
                  <a:pos x="61" y="19"/>
                </a:cxn>
                <a:cxn ang="0">
                  <a:pos x="67" y="19"/>
                </a:cxn>
                <a:cxn ang="0">
                  <a:pos x="65" y="17"/>
                </a:cxn>
                <a:cxn ang="0">
                  <a:pos x="62" y="16"/>
                </a:cxn>
                <a:cxn ang="0">
                  <a:pos x="58" y="14"/>
                </a:cxn>
                <a:cxn ang="0">
                  <a:pos x="57" y="11"/>
                </a:cxn>
                <a:cxn ang="0">
                  <a:pos x="55" y="10"/>
                </a:cxn>
                <a:cxn ang="0">
                  <a:pos x="54" y="9"/>
                </a:cxn>
                <a:cxn ang="0">
                  <a:pos x="48" y="8"/>
                </a:cxn>
                <a:cxn ang="0">
                  <a:pos x="42" y="10"/>
                </a:cxn>
                <a:cxn ang="0">
                  <a:pos x="42" y="14"/>
                </a:cxn>
                <a:cxn ang="0">
                  <a:pos x="37" y="17"/>
                </a:cxn>
                <a:cxn ang="0">
                  <a:pos x="33" y="19"/>
                </a:cxn>
                <a:cxn ang="0">
                  <a:pos x="35" y="23"/>
                </a:cxn>
                <a:cxn ang="0">
                  <a:pos x="39" y="28"/>
                </a:cxn>
                <a:cxn ang="0">
                  <a:pos x="37" y="29"/>
                </a:cxn>
                <a:cxn ang="0">
                  <a:pos x="33" y="31"/>
                </a:cxn>
                <a:cxn ang="0">
                  <a:pos x="28" y="31"/>
                </a:cxn>
                <a:cxn ang="0">
                  <a:pos x="27" y="29"/>
                </a:cxn>
                <a:cxn ang="0">
                  <a:pos x="24" y="23"/>
                </a:cxn>
                <a:cxn ang="0">
                  <a:pos x="18" y="24"/>
                </a:cxn>
                <a:cxn ang="0">
                  <a:pos x="16" y="20"/>
                </a:cxn>
                <a:cxn ang="0">
                  <a:pos x="7" y="17"/>
                </a:cxn>
                <a:cxn ang="0">
                  <a:pos x="2" y="18"/>
                </a:cxn>
                <a:cxn ang="0">
                  <a:pos x="1" y="17"/>
                </a:cxn>
                <a:cxn ang="0">
                  <a:pos x="2" y="14"/>
                </a:cxn>
                <a:cxn ang="0">
                  <a:pos x="3" y="9"/>
                </a:cxn>
                <a:cxn ang="0">
                  <a:pos x="0" y="4"/>
                </a:cxn>
                <a:cxn ang="0">
                  <a:pos x="2" y="1"/>
                </a:cxn>
                <a:cxn ang="0">
                  <a:pos x="5" y="1"/>
                </a:cxn>
              </a:cxnLst>
              <a:rect l="0" t="0" r="r" b="b"/>
              <a:pathLst>
                <a:path w="76" h="33">
                  <a:moveTo>
                    <a:pt x="5" y="1"/>
                  </a:moveTo>
                  <a:lnTo>
                    <a:pt x="8" y="3"/>
                  </a:lnTo>
                  <a:lnTo>
                    <a:pt x="9" y="6"/>
                  </a:lnTo>
                  <a:lnTo>
                    <a:pt x="9" y="8"/>
                  </a:lnTo>
                  <a:lnTo>
                    <a:pt x="12" y="9"/>
                  </a:lnTo>
                  <a:lnTo>
                    <a:pt x="15" y="9"/>
                  </a:lnTo>
                  <a:lnTo>
                    <a:pt x="17" y="8"/>
                  </a:lnTo>
                  <a:lnTo>
                    <a:pt x="19" y="10"/>
                  </a:lnTo>
                  <a:lnTo>
                    <a:pt x="23" y="11"/>
                  </a:lnTo>
                  <a:lnTo>
                    <a:pt x="26" y="10"/>
                  </a:lnTo>
                  <a:lnTo>
                    <a:pt x="34" y="6"/>
                  </a:lnTo>
                  <a:lnTo>
                    <a:pt x="37" y="6"/>
                  </a:lnTo>
                  <a:lnTo>
                    <a:pt x="45" y="0"/>
                  </a:lnTo>
                  <a:lnTo>
                    <a:pt x="47" y="1"/>
                  </a:lnTo>
                  <a:lnTo>
                    <a:pt x="52" y="1"/>
                  </a:lnTo>
                  <a:lnTo>
                    <a:pt x="52" y="2"/>
                  </a:lnTo>
                  <a:lnTo>
                    <a:pt x="57" y="2"/>
                  </a:lnTo>
                  <a:lnTo>
                    <a:pt x="61" y="4"/>
                  </a:lnTo>
                  <a:lnTo>
                    <a:pt x="65" y="6"/>
                  </a:lnTo>
                  <a:lnTo>
                    <a:pt x="69" y="9"/>
                  </a:lnTo>
                  <a:lnTo>
                    <a:pt x="71" y="13"/>
                  </a:lnTo>
                  <a:lnTo>
                    <a:pt x="72" y="15"/>
                  </a:lnTo>
                  <a:lnTo>
                    <a:pt x="73" y="16"/>
                  </a:lnTo>
                  <a:lnTo>
                    <a:pt x="76" y="22"/>
                  </a:lnTo>
                  <a:lnTo>
                    <a:pt x="74" y="22"/>
                  </a:lnTo>
                  <a:lnTo>
                    <a:pt x="74" y="25"/>
                  </a:lnTo>
                  <a:lnTo>
                    <a:pt x="70" y="28"/>
                  </a:lnTo>
                  <a:lnTo>
                    <a:pt x="70" y="26"/>
                  </a:lnTo>
                  <a:lnTo>
                    <a:pt x="69" y="25"/>
                  </a:lnTo>
                  <a:lnTo>
                    <a:pt x="69" y="28"/>
                  </a:lnTo>
                  <a:lnTo>
                    <a:pt x="67" y="28"/>
                  </a:lnTo>
                  <a:lnTo>
                    <a:pt x="66" y="33"/>
                  </a:lnTo>
                  <a:lnTo>
                    <a:pt x="64" y="28"/>
                  </a:lnTo>
                  <a:lnTo>
                    <a:pt x="61" y="23"/>
                  </a:lnTo>
                  <a:lnTo>
                    <a:pt x="60" y="21"/>
                  </a:lnTo>
                  <a:lnTo>
                    <a:pt x="61" y="19"/>
                  </a:lnTo>
                  <a:lnTo>
                    <a:pt x="63" y="19"/>
                  </a:lnTo>
                  <a:lnTo>
                    <a:pt x="67" y="19"/>
                  </a:lnTo>
                  <a:lnTo>
                    <a:pt x="66" y="18"/>
                  </a:lnTo>
                  <a:lnTo>
                    <a:pt x="65" y="17"/>
                  </a:lnTo>
                  <a:lnTo>
                    <a:pt x="64" y="14"/>
                  </a:lnTo>
                  <a:lnTo>
                    <a:pt x="62" y="16"/>
                  </a:lnTo>
                  <a:lnTo>
                    <a:pt x="60" y="17"/>
                  </a:lnTo>
                  <a:lnTo>
                    <a:pt x="58" y="14"/>
                  </a:lnTo>
                  <a:lnTo>
                    <a:pt x="58" y="13"/>
                  </a:lnTo>
                  <a:lnTo>
                    <a:pt x="57" y="11"/>
                  </a:lnTo>
                  <a:lnTo>
                    <a:pt x="56" y="12"/>
                  </a:lnTo>
                  <a:lnTo>
                    <a:pt x="55" y="10"/>
                  </a:lnTo>
                  <a:lnTo>
                    <a:pt x="54" y="11"/>
                  </a:lnTo>
                  <a:lnTo>
                    <a:pt x="54" y="9"/>
                  </a:lnTo>
                  <a:lnTo>
                    <a:pt x="51" y="8"/>
                  </a:lnTo>
                  <a:lnTo>
                    <a:pt x="48" y="8"/>
                  </a:lnTo>
                  <a:lnTo>
                    <a:pt x="45" y="10"/>
                  </a:lnTo>
                  <a:lnTo>
                    <a:pt x="42" y="10"/>
                  </a:lnTo>
                  <a:lnTo>
                    <a:pt x="42" y="12"/>
                  </a:lnTo>
                  <a:lnTo>
                    <a:pt x="42" y="14"/>
                  </a:lnTo>
                  <a:lnTo>
                    <a:pt x="39" y="16"/>
                  </a:lnTo>
                  <a:lnTo>
                    <a:pt x="37" y="17"/>
                  </a:lnTo>
                  <a:lnTo>
                    <a:pt x="35" y="17"/>
                  </a:lnTo>
                  <a:lnTo>
                    <a:pt x="33" y="19"/>
                  </a:lnTo>
                  <a:lnTo>
                    <a:pt x="33" y="21"/>
                  </a:lnTo>
                  <a:lnTo>
                    <a:pt x="35" y="23"/>
                  </a:lnTo>
                  <a:lnTo>
                    <a:pt x="38" y="25"/>
                  </a:lnTo>
                  <a:lnTo>
                    <a:pt x="39" y="28"/>
                  </a:lnTo>
                  <a:lnTo>
                    <a:pt x="39" y="29"/>
                  </a:lnTo>
                  <a:lnTo>
                    <a:pt x="37" y="29"/>
                  </a:lnTo>
                  <a:lnTo>
                    <a:pt x="36" y="29"/>
                  </a:lnTo>
                  <a:lnTo>
                    <a:pt x="33" y="31"/>
                  </a:lnTo>
                  <a:lnTo>
                    <a:pt x="30" y="32"/>
                  </a:lnTo>
                  <a:lnTo>
                    <a:pt x="28" y="31"/>
                  </a:lnTo>
                  <a:lnTo>
                    <a:pt x="27" y="31"/>
                  </a:lnTo>
                  <a:lnTo>
                    <a:pt x="27" y="29"/>
                  </a:lnTo>
                  <a:lnTo>
                    <a:pt x="25" y="25"/>
                  </a:lnTo>
                  <a:lnTo>
                    <a:pt x="24" y="23"/>
                  </a:lnTo>
                  <a:lnTo>
                    <a:pt x="23" y="26"/>
                  </a:lnTo>
                  <a:lnTo>
                    <a:pt x="18" y="24"/>
                  </a:lnTo>
                  <a:lnTo>
                    <a:pt x="17" y="20"/>
                  </a:lnTo>
                  <a:lnTo>
                    <a:pt x="16" y="20"/>
                  </a:lnTo>
                  <a:lnTo>
                    <a:pt x="10" y="19"/>
                  </a:lnTo>
                  <a:lnTo>
                    <a:pt x="7" y="17"/>
                  </a:lnTo>
                  <a:lnTo>
                    <a:pt x="4" y="17"/>
                  </a:lnTo>
                  <a:lnTo>
                    <a:pt x="2" y="18"/>
                  </a:lnTo>
                  <a:lnTo>
                    <a:pt x="0" y="21"/>
                  </a:lnTo>
                  <a:lnTo>
                    <a:pt x="1" y="17"/>
                  </a:lnTo>
                  <a:lnTo>
                    <a:pt x="0" y="16"/>
                  </a:lnTo>
                  <a:lnTo>
                    <a:pt x="2" y="14"/>
                  </a:lnTo>
                  <a:lnTo>
                    <a:pt x="1" y="11"/>
                  </a:lnTo>
                  <a:lnTo>
                    <a:pt x="3" y="9"/>
                  </a:lnTo>
                  <a:lnTo>
                    <a:pt x="0" y="7"/>
                  </a:lnTo>
                  <a:lnTo>
                    <a:pt x="0" y="4"/>
                  </a:lnTo>
                  <a:lnTo>
                    <a:pt x="1" y="2"/>
                  </a:lnTo>
                  <a:lnTo>
                    <a:pt x="2" y="1"/>
                  </a:lnTo>
                  <a:lnTo>
                    <a:pt x="5" y="2"/>
                  </a:lnTo>
                  <a:lnTo>
                    <a:pt x="5" y="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2" name="Freeform 24">
              <a:extLst>
                <a:ext uri="{FF2B5EF4-FFF2-40B4-BE49-F238E27FC236}">
                  <a16:creationId xmlns:a16="http://schemas.microsoft.com/office/drawing/2014/main" id="{A3B5B1D2-5FE0-4531-0666-CD4ED2A51B5D}"/>
                </a:ext>
              </a:extLst>
            </p:cNvPr>
            <p:cNvSpPr>
              <a:spLocks/>
            </p:cNvSpPr>
            <p:nvPr/>
          </p:nvSpPr>
          <p:spPr bwMode="auto">
            <a:xfrm>
              <a:off x="3996909" y="5011738"/>
              <a:ext cx="19050" cy="17463"/>
            </a:xfrm>
            <a:custGeom>
              <a:avLst/>
              <a:gdLst/>
              <a:ahLst/>
              <a:cxnLst>
                <a:cxn ang="0">
                  <a:pos x="12" y="0"/>
                </a:cxn>
                <a:cxn ang="0">
                  <a:pos x="12" y="2"/>
                </a:cxn>
                <a:cxn ang="0">
                  <a:pos x="11" y="2"/>
                </a:cxn>
                <a:cxn ang="0">
                  <a:pos x="11" y="3"/>
                </a:cxn>
                <a:cxn ang="0">
                  <a:pos x="11" y="5"/>
                </a:cxn>
                <a:cxn ang="0">
                  <a:pos x="10" y="5"/>
                </a:cxn>
                <a:cxn ang="0">
                  <a:pos x="11" y="7"/>
                </a:cxn>
                <a:cxn ang="0">
                  <a:pos x="11" y="10"/>
                </a:cxn>
                <a:cxn ang="0">
                  <a:pos x="9" y="11"/>
                </a:cxn>
                <a:cxn ang="0">
                  <a:pos x="8" y="11"/>
                </a:cxn>
                <a:cxn ang="0">
                  <a:pos x="7" y="11"/>
                </a:cxn>
                <a:cxn ang="0">
                  <a:pos x="4" y="11"/>
                </a:cxn>
                <a:cxn ang="0">
                  <a:pos x="3" y="11"/>
                </a:cxn>
                <a:cxn ang="0">
                  <a:pos x="2" y="11"/>
                </a:cxn>
                <a:cxn ang="0">
                  <a:pos x="0" y="11"/>
                </a:cxn>
                <a:cxn ang="0">
                  <a:pos x="0" y="10"/>
                </a:cxn>
                <a:cxn ang="0">
                  <a:pos x="0" y="10"/>
                </a:cxn>
                <a:cxn ang="0">
                  <a:pos x="1" y="10"/>
                </a:cxn>
                <a:cxn ang="0">
                  <a:pos x="3" y="9"/>
                </a:cxn>
                <a:cxn ang="0">
                  <a:pos x="3" y="8"/>
                </a:cxn>
                <a:cxn ang="0">
                  <a:pos x="4" y="8"/>
                </a:cxn>
                <a:cxn ang="0">
                  <a:pos x="4" y="9"/>
                </a:cxn>
                <a:cxn ang="0">
                  <a:pos x="5" y="8"/>
                </a:cxn>
                <a:cxn ang="0">
                  <a:pos x="5" y="6"/>
                </a:cxn>
                <a:cxn ang="0">
                  <a:pos x="5" y="5"/>
                </a:cxn>
                <a:cxn ang="0">
                  <a:pos x="5" y="4"/>
                </a:cxn>
                <a:cxn ang="0">
                  <a:pos x="5" y="3"/>
                </a:cxn>
                <a:cxn ang="0">
                  <a:pos x="4" y="3"/>
                </a:cxn>
                <a:cxn ang="0">
                  <a:pos x="3" y="2"/>
                </a:cxn>
                <a:cxn ang="0">
                  <a:pos x="3" y="2"/>
                </a:cxn>
                <a:cxn ang="0">
                  <a:pos x="4" y="2"/>
                </a:cxn>
                <a:cxn ang="0">
                  <a:pos x="6" y="2"/>
                </a:cxn>
                <a:cxn ang="0">
                  <a:pos x="6" y="1"/>
                </a:cxn>
                <a:cxn ang="0">
                  <a:pos x="9" y="1"/>
                </a:cxn>
                <a:cxn ang="0">
                  <a:pos x="9" y="1"/>
                </a:cxn>
                <a:cxn ang="0">
                  <a:pos x="11" y="0"/>
                </a:cxn>
                <a:cxn ang="0">
                  <a:pos x="12" y="0"/>
                </a:cxn>
              </a:cxnLst>
              <a:rect l="0" t="0" r="r" b="b"/>
              <a:pathLst>
                <a:path w="12" h="11">
                  <a:moveTo>
                    <a:pt x="12" y="0"/>
                  </a:moveTo>
                  <a:lnTo>
                    <a:pt x="12" y="2"/>
                  </a:lnTo>
                  <a:lnTo>
                    <a:pt x="11" y="2"/>
                  </a:lnTo>
                  <a:lnTo>
                    <a:pt x="11" y="3"/>
                  </a:lnTo>
                  <a:lnTo>
                    <a:pt x="11" y="5"/>
                  </a:lnTo>
                  <a:lnTo>
                    <a:pt x="10" y="5"/>
                  </a:lnTo>
                  <a:lnTo>
                    <a:pt x="11" y="7"/>
                  </a:lnTo>
                  <a:lnTo>
                    <a:pt x="11" y="10"/>
                  </a:lnTo>
                  <a:lnTo>
                    <a:pt x="9" y="11"/>
                  </a:lnTo>
                  <a:lnTo>
                    <a:pt x="8" y="11"/>
                  </a:lnTo>
                  <a:lnTo>
                    <a:pt x="7" y="11"/>
                  </a:lnTo>
                  <a:lnTo>
                    <a:pt x="4" y="11"/>
                  </a:lnTo>
                  <a:lnTo>
                    <a:pt x="3" y="11"/>
                  </a:lnTo>
                  <a:lnTo>
                    <a:pt x="2" y="11"/>
                  </a:lnTo>
                  <a:lnTo>
                    <a:pt x="0" y="11"/>
                  </a:lnTo>
                  <a:lnTo>
                    <a:pt x="0" y="10"/>
                  </a:lnTo>
                  <a:lnTo>
                    <a:pt x="0" y="10"/>
                  </a:lnTo>
                  <a:lnTo>
                    <a:pt x="1" y="10"/>
                  </a:lnTo>
                  <a:lnTo>
                    <a:pt x="3" y="9"/>
                  </a:lnTo>
                  <a:lnTo>
                    <a:pt x="3" y="8"/>
                  </a:lnTo>
                  <a:lnTo>
                    <a:pt x="4" y="8"/>
                  </a:lnTo>
                  <a:lnTo>
                    <a:pt x="4" y="9"/>
                  </a:lnTo>
                  <a:lnTo>
                    <a:pt x="5" y="8"/>
                  </a:lnTo>
                  <a:lnTo>
                    <a:pt x="5" y="6"/>
                  </a:lnTo>
                  <a:lnTo>
                    <a:pt x="5" y="5"/>
                  </a:lnTo>
                  <a:lnTo>
                    <a:pt x="5" y="4"/>
                  </a:lnTo>
                  <a:lnTo>
                    <a:pt x="5" y="3"/>
                  </a:lnTo>
                  <a:lnTo>
                    <a:pt x="4" y="3"/>
                  </a:lnTo>
                  <a:lnTo>
                    <a:pt x="3" y="2"/>
                  </a:lnTo>
                  <a:lnTo>
                    <a:pt x="3" y="2"/>
                  </a:lnTo>
                  <a:lnTo>
                    <a:pt x="4" y="2"/>
                  </a:lnTo>
                  <a:lnTo>
                    <a:pt x="6" y="2"/>
                  </a:lnTo>
                  <a:lnTo>
                    <a:pt x="6" y="1"/>
                  </a:lnTo>
                  <a:lnTo>
                    <a:pt x="9" y="1"/>
                  </a:lnTo>
                  <a:lnTo>
                    <a:pt x="9" y="1"/>
                  </a:lnTo>
                  <a:lnTo>
                    <a:pt x="11" y="0"/>
                  </a:lnTo>
                  <a:lnTo>
                    <a:pt x="1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3" name="Freeform 25">
              <a:extLst>
                <a:ext uri="{FF2B5EF4-FFF2-40B4-BE49-F238E27FC236}">
                  <a16:creationId xmlns:a16="http://schemas.microsoft.com/office/drawing/2014/main" id="{DA13CEF4-8785-E2B1-EABF-E276637E4182}"/>
                </a:ext>
              </a:extLst>
            </p:cNvPr>
            <p:cNvSpPr>
              <a:spLocks/>
            </p:cNvSpPr>
            <p:nvPr/>
          </p:nvSpPr>
          <p:spPr bwMode="auto">
            <a:xfrm>
              <a:off x="3763546" y="4983163"/>
              <a:ext cx="280988" cy="242888"/>
            </a:xfrm>
            <a:custGeom>
              <a:avLst/>
              <a:gdLst/>
              <a:ahLst/>
              <a:cxnLst>
                <a:cxn ang="0">
                  <a:pos x="163" y="100"/>
                </a:cxn>
                <a:cxn ang="0">
                  <a:pos x="142" y="107"/>
                </a:cxn>
                <a:cxn ang="0">
                  <a:pos x="133" y="111"/>
                </a:cxn>
                <a:cxn ang="0">
                  <a:pos x="117" y="107"/>
                </a:cxn>
                <a:cxn ang="0">
                  <a:pos x="117" y="112"/>
                </a:cxn>
                <a:cxn ang="0">
                  <a:pos x="123" y="130"/>
                </a:cxn>
                <a:cxn ang="0">
                  <a:pos x="130" y="134"/>
                </a:cxn>
                <a:cxn ang="0">
                  <a:pos x="121" y="141"/>
                </a:cxn>
                <a:cxn ang="0">
                  <a:pos x="108" y="149"/>
                </a:cxn>
                <a:cxn ang="0">
                  <a:pos x="101" y="148"/>
                </a:cxn>
                <a:cxn ang="0">
                  <a:pos x="87" y="148"/>
                </a:cxn>
                <a:cxn ang="0">
                  <a:pos x="82" y="137"/>
                </a:cxn>
                <a:cxn ang="0">
                  <a:pos x="72" y="124"/>
                </a:cxn>
                <a:cxn ang="0">
                  <a:pos x="76" y="111"/>
                </a:cxn>
                <a:cxn ang="0">
                  <a:pos x="70" y="98"/>
                </a:cxn>
                <a:cxn ang="0">
                  <a:pos x="73" y="89"/>
                </a:cxn>
                <a:cxn ang="0">
                  <a:pos x="61" y="80"/>
                </a:cxn>
                <a:cxn ang="0">
                  <a:pos x="49" y="79"/>
                </a:cxn>
                <a:cxn ang="0">
                  <a:pos x="36" y="68"/>
                </a:cxn>
                <a:cxn ang="0">
                  <a:pos x="17" y="68"/>
                </a:cxn>
                <a:cxn ang="0">
                  <a:pos x="13" y="54"/>
                </a:cxn>
                <a:cxn ang="0">
                  <a:pos x="3" y="39"/>
                </a:cxn>
                <a:cxn ang="0">
                  <a:pos x="5" y="29"/>
                </a:cxn>
                <a:cxn ang="0">
                  <a:pos x="16" y="14"/>
                </a:cxn>
                <a:cxn ang="0">
                  <a:pos x="19" y="5"/>
                </a:cxn>
                <a:cxn ang="0">
                  <a:pos x="22" y="5"/>
                </a:cxn>
                <a:cxn ang="0">
                  <a:pos x="19" y="14"/>
                </a:cxn>
                <a:cxn ang="0">
                  <a:pos x="20" y="21"/>
                </a:cxn>
                <a:cxn ang="0">
                  <a:pos x="17" y="33"/>
                </a:cxn>
                <a:cxn ang="0">
                  <a:pos x="25" y="41"/>
                </a:cxn>
                <a:cxn ang="0">
                  <a:pos x="30" y="34"/>
                </a:cxn>
                <a:cxn ang="0">
                  <a:pos x="24" y="23"/>
                </a:cxn>
                <a:cxn ang="0">
                  <a:pos x="24" y="18"/>
                </a:cxn>
                <a:cxn ang="0">
                  <a:pos x="41" y="11"/>
                </a:cxn>
                <a:cxn ang="0">
                  <a:pos x="46" y="8"/>
                </a:cxn>
                <a:cxn ang="0">
                  <a:pos x="44" y="6"/>
                </a:cxn>
                <a:cxn ang="0">
                  <a:pos x="39" y="3"/>
                </a:cxn>
                <a:cxn ang="0">
                  <a:pos x="44" y="0"/>
                </a:cxn>
                <a:cxn ang="0">
                  <a:pos x="46" y="6"/>
                </a:cxn>
                <a:cxn ang="0">
                  <a:pos x="50" y="9"/>
                </a:cxn>
                <a:cxn ang="0">
                  <a:pos x="62" y="12"/>
                </a:cxn>
                <a:cxn ang="0">
                  <a:pos x="70" y="22"/>
                </a:cxn>
                <a:cxn ang="0">
                  <a:pos x="89" y="20"/>
                </a:cxn>
                <a:cxn ang="0">
                  <a:pos x="101" y="26"/>
                </a:cxn>
                <a:cxn ang="0">
                  <a:pos x="115" y="26"/>
                </a:cxn>
                <a:cxn ang="0">
                  <a:pos x="132" y="20"/>
                </a:cxn>
                <a:cxn ang="0">
                  <a:pos x="145" y="21"/>
                </a:cxn>
                <a:cxn ang="0">
                  <a:pos x="135" y="23"/>
                </a:cxn>
                <a:cxn ang="0">
                  <a:pos x="144" y="33"/>
                </a:cxn>
                <a:cxn ang="0">
                  <a:pos x="152" y="31"/>
                </a:cxn>
                <a:cxn ang="0">
                  <a:pos x="163" y="38"/>
                </a:cxn>
                <a:cxn ang="0">
                  <a:pos x="151" y="48"/>
                </a:cxn>
                <a:cxn ang="0">
                  <a:pos x="161" y="48"/>
                </a:cxn>
                <a:cxn ang="0">
                  <a:pos x="177" y="52"/>
                </a:cxn>
                <a:cxn ang="0">
                  <a:pos x="166" y="64"/>
                </a:cxn>
                <a:cxn ang="0">
                  <a:pos x="166" y="72"/>
                </a:cxn>
                <a:cxn ang="0">
                  <a:pos x="158" y="83"/>
                </a:cxn>
                <a:cxn ang="0">
                  <a:pos x="167" y="95"/>
                </a:cxn>
              </a:cxnLst>
              <a:rect l="0" t="0" r="r" b="b"/>
              <a:pathLst>
                <a:path w="177" h="153">
                  <a:moveTo>
                    <a:pt x="167" y="95"/>
                  </a:moveTo>
                  <a:lnTo>
                    <a:pt x="167" y="96"/>
                  </a:lnTo>
                  <a:lnTo>
                    <a:pt x="166" y="98"/>
                  </a:lnTo>
                  <a:lnTo>
                    <a:pt x="163" y="100"/>
                  </a:lnTo>
                  <a:lnTo>
                    <a:pt x="153" y="106"/>
                  </a:lnTo>
                  <a:lnTo>
                    <a:pt x="148" y="107"/>
                  </a:lnTo>
                  <a:lnTo>
                    <a:pt x="145" y="107"/>
                  </a:lnTo>
                  <a:lnTo>
                    <a:pt x="142" y="107"/>
                  </a:lnTo>
                  <a:lnTo>
                    <a:pt x="140" y="108"/>
                  </a:lnTo>
                  <a:lnTo>
                    <a:pt x="139" y="114"/>
                  </a:lnTo>
                  <a:lnTo>
                    <a:pt x="137" y="115"/>
                  </a:lnTo>
                  <a:lnTo>
                    <a:pt x="133" y="111"/>
                  </a:lnTo>
                  <a:lnTo>
                    <a:pt x="131" y="110"/>
                  </a:lnTo>
                  <a:lnTo>
                    <a:pt x="124" y="110"/>
                  </a:lnTo>
                  <a:lnTo>
                    <a:pt x="122" y="110"/>
                  </a:lnTo>
                  <a:lnTo>
                    <a:pt x="117" y="107"/>
                  </a:lnTo>
                  <a:lnTo>
                    <a:pt x="115" y="107"/>
                  </a:lnTo>
                  <a:lnTo>
                    <a:pt x="114" y="107"/>
                  </a:lnTo>
                  <a:lnTo>
                    <a:pt x="114" y="108"/>
                  </a:lnTo>
                  <a:lnTo>
                    <a:pt x="117" y="112"/>
                  </a:lnTo>
                  <a:lnTo>
                    <a:pt x="120" y="116"/>
                  </a:lnTo>
                  <a:lnTo>
                    <a:pt x="121" y="125"/>
                  </a:lnTo>
                  <a:lnTo>
                    <a:pt x="122" y="128"/>
                  </a:lnTo>
                  <a:lnTo>
                    <a:pt x="123" y="130"/>
                  </a:lnTo>
                  <a:lnTo>
                    <a:pt x="129" y="130"/>
                  </a:lnTo>
                  <a:lnTo>
                    <a:pt x="131" y="131"/>
                  </a:lnTo>
                  <a:lnTo>
                    <a:pt x="132" y="132"/>
                  </a:lnTo>
                  <a:lnTo>
                    <a:pt x="130" y="134"/>
                  </a:lnTo>
                  <a:lnTo>
                    <a:pt x="127" y="135"/>
                  </a:lnTo>
                  <a:lnTo>
                    <a:pt x="123" y="136"/>
                  </a:lnTo>
                  <a:lnTo>
                    <a:pt x="122" y="137"/>
                  </a:lnTo>
                  <a:lnTo>
                    <a:pt x="121" y="141"/>
                  </a:lnTo>
                  <a:lnTo>
                    <a:pt x="119" y="143"/>
                  </a:lnTo>
                  <a:lnTo>
                    <a:pt x="115" y="143"/>
                  </a:lnTo>
                  <a:lnTo>
                    <a:pt x="112" y="145"/>
                  </a:lnTo>
                  <a:lnTo>
                    <a:pt x="108" y="149"/>
                  </a:lnTo>
                  <a:lnTo>
                    <a:pt x="104" y="153"/>
                  </a:lnTo>
                  <a:lnTo>
                    <a:pt x="102" y="153"/>
                  </a:lnTo>
                  <a:lnTo>
                    <a:pt x="101" y="149"/>
                  </a:lnTo>
                  <a:lnTo>
                    <a:pt x="101" y="148"/>
                  </a:lnTo>
                  <a:lnTo>
                    <a:pt x="96" y="152"/>
                  </a:lnTo>
                  <a:lnTo>
                    <a:pt x="94" y="152"/>
                  </a:lnTo>
                  <a:lnTo>
                    <a:pt x="91" y="151"/>
                  </a:lnTo>
                  <a:lnTo>
                    <a:pt x="87" y="148"/>
                  </a:lnTo>
                  <a:lnTo>
                    <a:pt x="84" y="147"/>
                  </a:lnTo>
                  <a:lnTo>
                    <a:pt x="83" y="145"/>
                  </a:lnTo>
                  <a:lnTo>
                    <a:pt x="83" y="142"/>
                  </a:lnTo>
                  <a:lnTo>
                    <a:pt x="82" y="137"/>
                  </a:lnTo>
                  <a:lnTo>
                    <a:pt x="81" y="135"/>
                  </a:lnTo>
                  <a:lnTo>
                    <a:pt x="80" y="134"/>
                  </a:lnTo>
                  <a:lnTo>
                    <a:pt x="75" y="127"/>
                  </a:lnTo>
                  <a:lnTo>
                    <a:pt x="72" y="124"/>
                  </a:lnTo>
                  <a:lnTo>
                    <a:pt x="75" y="121"/>
                  </a:lnTo>
                  <a:lnTo>
                    <a:pt x="79" y="117"/>
                  </a:lnTo>
                  <a:lnTo>
                    <a:pt x="79" y="116"/>
                  </a:lnTo>
                  <a:lnTo>
                    <a:pt x="76" y="111"/>
                  </a:lnTo>
                  <a:lnTo>
                    <a:pt x="75" y="109"/>
                  </a:lnTo>
                  <a:lnTo>
                    <a:pt x="72" y="104"/>
                  </a:lnTo>
                  <a:lnTo>
                    <a:pt x="71" y="100"/>
                  </a:lnTo>
                  <a:lnTo>
                    <a:pt x="70" y="98"/>
                  </a:lnTo>
                  <a:lnTo>
                    <a:pt x="70" y="95"/>
                  </a:lnTo>
                  <a:lnTo>
                    <a:pt x="70" y="93"/>
                  </a:lnTo>
                  <a:lnTo>
                    <a:pt x="71" y="92"/>
                  </a:lnTo>
                  <a:lnTo>
                    <a:pt x="73" y="89"/>
                  </a:lnTo>
                  <a:lnTo>
                    <a:pt x="74" y="83"/>
                  </a:lnTo>
                  <a:lnTo>
                    <a:pt x="76" y="80"/>
                  </a:lnTo>
                  <a:lnTo>
                    <a:pt x="72" y="79"/>
                  </a:lnTo>
                  <a:lnTo>
                    <a:pt x="61" y="80"/>
                  </a:lnTo>
                  <a:lnTo>
                    <a:pt x="56" y="81"/>
                  </a:lnTo>
                  <a:lnTo>
                    <a:pt x="53" y="82"/>
                  </a:lnTo>
                  <a:lnTo>
                    <a:pt x="52" y="82"/>
                  </a:lnTo>
                  <a:lnTo>
                    <a:pt x="49" y="79"/>
                  </a:lnTo>
                  <a:lnTo>
                    <a:pt x="44" y="73"/>
                  </a:lnTo>
                  <a:lnTo>
                    <a:pt x="43" y="71"/>
                  </a:lnTo>
                  <a:lnTo>
                    <a:pt x="39" y="69"/>
                  </a:lnTo>
                  <a:lnTo>
                    <a:pt x="36" y="68"/>
                  </a:lnTo>
                  <a:lnTo>
                    <a:pt x="29" y="69"/>
                  </a:lnTo>
                  <a:lnTo>
                    <a:pt x="22" y="69"/>
                  </a:lnTo>
                  <a:lnTo>
                    <a:pt x="19" y="69"/>
                  </a:lnTo>
                  <a:lnTo>
                    <a:pt x="17" y="68"/>
                  </a:lnTo>
                  <a:lnTo>
                    <a:pt x="15" y="65"/>
                  </a:lnTo>
                  <a:lnTo>
                    <a:pt x="12" y="63"/>
                  </a:lnTo>
                  <a:lnTo>
                    <a:pt x="12" y="61"/>
                  </a:lnTo>
                  <a:lnTo>
                    <a:pt x="13" y="54"/>
                  </a:lnTo>
                  <a:lnTo>
                    <a:pt x="12" y="52"/>
                  </a:lnTo>
                  <a:lnTo>
                    <a:pt x="7" y="43"/>
                  </a:lnTo>
                  <a:lnTo>
                    <a:pt x="6" y="39"/>
                  </a:lnTo>
                  <a:lnTo>
                    <a:pt x="3" y="39"/>
                  </a:lnTo>
                  <a:lnTo>
                    <a:pt x="2" y="40"/>
                  </a:lnTo>
                  <a:lnTo>
                    <a:pt x="0" y="40"/>
                  </a:lnTo>
                  <a:lnTo>
                    <a:pt x="4" y="33"/>
                  </a:lnTo>
                  <a:lnTo>
                    <a:pt x="5" y="29"/>
                  </a:lnTo>
                  <a:lnTo>
                    <a:pt x="6" y="24"/>
                  </a:lnTo>
                  <a:lnTo>
                    <a:pt x="12" y="14"/>
                  </a:lnTo>
                  <a:lnTo>
                    <a:pt x="14" y="13"/>
                  </a:lnTo>
                  <a:lnTo>
                    <a:pt x="16" y="14"/>
                  </a:lnTo>
                  <a:lnTo>
                    <a:pt x="16" y="11"/>
                  </a:lnTo>
                  <a:lnTo>
                    <a:pt x="16" y="8"/>
                  </a:lnTo>
                  <a:lnTo>
                    <a:pt x="16" y="6"/>
                  </a:lnTo>
                  <a:lnTo>
                    <a:pt x="19" y="5"/>
                  </a:lnTo>
                  <a:lnTo>
                    <a:pt x="22" y="4"/>
                  </a:lnTo>
                  <a:lnTo>
                    <a:pt x="27" y="3"/>
                  </a:lnTo>
                  <a:lnTo>
                    <a:pt x="28" y="4"/>
                  </a:lnTo>
                  <a:lnTo>
                    <a:pt x="22" y="5"/>
                  </a:lnTo>
                  <a:lnTo>
                    <a:pt x="18" y="7"/>
                  </a:lnTo>
                  <a:lnTo>
                    <a:pt x="17" y="8"/>
                  </a:lnTo>
                  <a:lnTo>
                    <a:pt x="18" y="12"/>
                  </a:lnTo>
                  <a:lnTo>
                    <a:pt x="19" y="14"/>
                  </a:lnTo>
                  <a:lnTo>
                    <a:pt x="21" y="15"/>
                  </a:lnTo>
                  <a:lnTo>
                    <a:pt x="20" y="16"/>
                  </a:lnTo>
                  <a:lnTo>
                    <a:pt x="21" y="19"/>
                  </a:lnTo>
                  <a:lnTo>
                    <a:pt x="20" y="21"/>
                  </a:lnTo>
                  <a:lnTo>
                    <a:pt x="18" y="24"/>
                  </a:lnTo>
                  <a:lnTo>
                    <a:pt x="16" y="29"/>
                  </a:lnTo>
                  <a:lnTo>
                    <a:pt x="16" y="31"/>
                  </a:lnTo>
                  <a:lnTo>
                    <a:pt x="17" y="33"/>
                  </a:lnTo>
                  <a:lnTo>
                    <a:pt x="19" y="35"/>
                  </a:lnTo>
                  <a:lnTo>
                    <a:pt x="20" y="39"/>
                  </a:lnTo>
                  <a:lnTo>
                    <a:pt x="22" y="41"/>
                  </a:lnTo>
                  <a:lnTo>
                    <a:pt x="25" y="41"/>
                  </a:lnTo>
                  <a:lnTo>
                    <a:pt x="27" y="40"/>
                  </a:lnTo>
                  <a:lnTo>
                    <a:pt x="29" y="38"/>
                  </a:lnTo>
                  <a:lnTo>
                    <a:pt x="30" y="38"/>
                  </a:lnTo>
                  <a:lnTo>
                    <a:pt x="30" y="34"/>
                  </a:lnTo>
                  <a:lnTo>
                    <a:pt x="29" y="30"/>
                  </a:lnTo>
                  <a:lnTo>
                    <a:pt x="28" y="29"/>
                  </a:lnTo>
                  <a:lnTo>
                    <a:pt x="25" y="24"/>
                  </a:lnTo>
                  <a:lnTo>
                    <a:pt x="24" y="23"/>
                  </a:lnTo>
                  <a:lnTo>
                    <a:pt x="24" y="21"/>
                  </a:lnTo>
                  <a:lnTo>
                    <a:pt x="22" y="20"/>
                  </a:lnTo>
                  <a:lnTo>
                    <a:pt x="24" y="19"/>
                  </a:lnTo>
                  <a:lnTo>
                    <a:pt x="24" y="18"/>
                  </a:lnTo>
                  <a:lnTo>
                    <a:pt x="23" y="17"/>
                  </a:lnTo>
                  <a:lnTo>
                    <a:pt x="29" y="14"/>
                  </a:lnTo>
                  <a:lnTo>
                    <a:pt x="35" y="12"/>
                  </a:lnTo>
                  <a:lnTo>
                    <a:pt x="41" y="11"/>
                  </a:lnTo>
                  <a:lnTo>
                    <a:pt x="42" y="9"/>
                  </a:lnTo>
                  <a:lnTo>
                    <a:pt x="46" y="9"/>
                  </a:lnTo>
                  <a:lnTo>
                    <a:pt x="46" y="9"/>
                  </a:lnTo>
                  <a:lnTo>
                    <a:pt x="46" y="8"/>
                  </a:lnTo>
                  <a:lnTo>
                    <a:pt x="46" y="7"/>
                  </a:lnTo>
                  <a:lnTo>
                    <a:pt x="45" y="6"/>
                  </a:lnTo>
                  <a:lnTo>
                    <a:pt x="45" y="6"/>
                  </a:lnTo>
                  <a:lnTo>
                    <a:pt x="44" y="6"/>
                  </a:lnTo>
                  <a:lnTo>
                    <a:pt x="43" y="6"/>
                  </a:lnTo>
                  <a:lnTo>
                    <a:pt x="42" y="6"/>
                  </a:lnTo>
                  <a:lnTo>
                    <a:pt x="40" y="6"/>
                  </a:lnTo>
                  <a:lnTo>
                    <a:pt x="39" y="3"/>
                  </a:lnTo>
                  <a:lnTo>
                    <a:pt x="39" y="1"/>
                  </a:lnTo>
                  <a:lnTo>
                    <a:pt x="42" y="0"/>
                  </a:lnTo>
                  <a:lnTo>
                    <a:pt x="43" y="0"/>
                  </a:lnTo>
                  <a:lnTo>
                    <a:pt x="44" y="0"/>
                  </a:lnTo>
                  <a:lnTo>
                    <a:pt x="45" y="3"/>
                  </a:lnTo>
                  <a:lnTo>
                    <a:pt x="46" y="3"/>
                  </a:lnTo>
                  <a:lnTo>
                    <a:pt x="46" y="5"/>
                  </a:lnTo>
                  <a:lnTo>
                    <a:pt x="46" y="6"/>
                  </a:lnTo>
                  <a:lnTo>
                    <a:pt x="46" y="6"/>
                  </a:lnTo>
                  <a:lnTo>
                    <a:pt x="46" y="7"/>
                  </a:lnTo>
                  <a:lnTo>
                    <a:pt x="48" y="9"/>
                  </a:lnTo>
                  <a:lnTo>
                    <a:pt x="50" y="9"/>
                  </a:lnTo>
                  <a:lnTo>
                    <a:pt x="54" y="9"/>
                  </a:lnTo>
                  <a:lnTo>
                    <a:pt x="57" y="10"/>
                  </a:lnTo>
                  <a:lnTo>
                    <a:pt x="60" y="11"/>
                  </a:lnTo>
                  <a:lnTo>
                    <a:pt x="62" y="12"/>
                  </a:lnTo>
                  <a:lnTo>
                    <a:pt x="64" y="16"/>
                  </a:lnTo>
                  <a:lnTo>
                    <a:pt x="66" y="20"/>
                  </a:lnTo>
                  <a:lnTo>
                    <a:pt x="67" y="22"/>
                  </a:lnTo>
                  <a:lnTo>
                    <a:pt x="70" y="22"/>
                  </a:lnTo>
                  <a:lnTo>
                    <a:pt x="76" y="21"/>
                  </a:lnTo>
                  <a:lnTo>
                    <a:pt x="81" y="21"/>
                  </a:lnTo>
                  <a:lnTo>
                    <a:pt x="85" y="21"/>
                  </a:lnTo>
                  <a:lnTo>
                    <a:pt x="89" y="20"/>
                  </a:lnTo>
                  <a:lnTo>
                    <a:pt x="93" y="21"/>
                  </a:lnTo>
                  <a:lnTo>
                    <a:pt x="96" y="24"/>
                  </a:lnTo>
                  <a:lnTo>
                    <a:pt x="97" y="25"/>
                  </a:lnTo>
                  <a:lnTo>
                    <a:pt x="101" y="26"/>
                  </a:lnTo>
                  <a:lnTo>
                    <a:pt x="103" y="27"/>
                  </a:lnTo>
                  <a:lnTo>
                    <a:pt x="110" y="27"/>
                  </a:lnTo>
                  <a:lnTo>
                    <a:pt x="112" y="27"/>
                  </a:lnTo>
                  <a:lnTo>
                    <a:pt x="115" y="26"/>
                  </a:lnTo>
                  <a:lnTo>
                    <a:pt x="121" y="21"/>
                  </a:lnTo>
                  <a:lnTo>
                    <a:pt x="123" y="20"/>
                  </a:lnTo>
                  <a:lnTo>
                    <a:pt x="126" y="20"/>
                  </a:lnTo>
                  <a:lnTo>
                    <a:pt x="132" y="20"/>
                  </a:lnTo>
                  <a:lnTo>
                    <a:pt x="139" y="19"/>
                  </a:lnTo>
                  <a:lnTo>
                    <a:pt x="144" y="20"/>
                  </a:lnTo>
                  <a:lnTo>
                    <a:pt x="145" y="20"/>
                  </a:lnTo>
                  <a:lnTo>
                    <a:pt x="145" y="21"/>
                  </a:lnTo>
                  <a:lnTo>
                    <a:pt x="143" y="22"/>
                  </a:lnTo>
                  <a:lnTo>
                    <a:pt x="138" y="22"/>
                  </a:lnTo>
                  <a:lnTo>
                    <a:pt x="136" y="22"/>
                  </a:lnTo>
                  <a:lnTo>
                    <a:pt x="135" y="23"/>
                  </a:lnTo>
                  <a:lnTo>
                    <a:pt x="136" y="24"/>
                  </a:lnTo>
                  <a:lnTo>
                    <a:pt x="139" y="26"/>
                  </a:lnTo>
                  <a:lnTo>
                    <a:pt x="143" y="29"/>
                  </a:lnTo>
                  <a:lnTo>
                    <a:pt x="144" y="33"/>
                  </a:lnTo>
                  <a:lnTo>
                    <a:pt x="145" y="30"/>
                  </a:lnTo>
                  <a:lnTo>
                    <a:pt x="147" y="29"/>
                  </a:lnTo>
                  <a:lnTo>
                    <a:pt x="149" y="30"/>
                  </a:lnTo>
                  <a:lnTo>
                    <a:pt x="152" y="31"/>
                  </a:lnTo>
                  <a:lnTo>
                    <a:pt x="154" y="31"/>
                  </a:lnTo>
                  <a:lnTo>
                    <a:pt x="156" y="33"/>
                  </a:lnTo>
                  <a:lnTo>
                    <a:pt x="161" y="36"/>
                  </a:lnTo>
                  <a:lnTo>
                    <a:pt x="163" y="38"/>
                  </a:lnTo>
                  <a:lnTo>
                    <a:pt x="159" y="41"/>
                  </a:lnTo>
                  <a:lnTo>
                    <a:pt x="158" y="44"/>
                  </a:lnTo>
                  <a:lnTo>
                    <a:pt x="157" y="46"/>
                  </a:lnTo>
                  <a:lnTo>
                    <a:pt x="151" y="48"/>
                  </a:lnTo>
                  <a:lnTo>
                    <a:pt x="154" y="48"/>
                  </a:lnTo>
                  <a:lnTo>
                    <a:pt x="157" y="49"/>
                  </a:lnTo>
                  <a:lnTo>
                    <a:pt x="159" y="49"/>
                  </a:lnTo>
                  <a:lnTo>
                    <a:pt x="161" y="48"/>
                  </a:lnTo>
                  <a:lnTo>
                    <a:pt x="167" y="48"/>
                  </a:lnTo>
                  <a:lnTo>
                    <a:pt x="171" y="48"/>
                  </a:lnTo>
                  <a:lnTo>
                    <a:pt x="176" y="50"/>
                  </a:lnTo>
                  <a:lnTo>
                    <a:pt x="177" y="52"/>
                  </a:lnTo>
                  <a:lnTo>
                    <a:pt x="176" y="54"/>
                  </a:lnTo>
                  <a:lnTo>
                    <a:pt x="166" y="62"/>
                  </a:lnTo>
                  <a:lnTo>
                    <a:pt x="166" y="63"/>
                  </a:lnTo>
                  <a:lnTo>
                    <a:pt x="166" y="64"/>
                  </a:lnTo>
                  <a:lnTo>
                    <a:pt x="170" y="68"/>
                  </a:lnTo>
                  <a:lnTo>
                    <a:pt x="171" y="69"/>
                  </a:lnTo>
                  <a:lnTo>
                    <a:pt x="169" y="71"/>
                  </a:lnTo>
                  <a:lnTo>
                    <a:pt x="166" y="72"/>
                  </a:lnTo>
                  <a:lnTo>
                    <a:pt x="160" y="73"/>
                  </a:lnTo>
                  <a:lnTo>
                    <a:pt x="160" y="76"/>
                  </a:lnTo>
                  <a:lnTo>
                    <a:pt x="160" y="80"/>
                  </a:lnTo>
                  <a:lnTo>
                    <a:pt x="158" y="83"/>
                  </a:lnTo>
                  <a:lnTo>
                    <a:pt x="157" y="84"/>
                  </a:lnTo>
                  <a:lnTo>
                    <a:pt x="159" y="87"/>
                  </a:lnTo>
                  <a:lnTo>
                    <a:pt x="164" y="91"/>
                  </a:lnTo>
                  <a:lnTo>
                    <a:pt x="167" y="9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4" name="Freeform 26">
              <a:extLst>
                <a:ext uri="{FF2B5EF4-FFF2-40B4-BE49-F238E27FC236}">
                  <a16:creationId xmlns:a16="http://schemas.microsoft.com/office/drawing/2014/main" id="{EC06C80B-3456-DE58-1684-A2A167C0EDEF}"/>
                </a:ext>
              </a:extLst>
            </p:cNvPr>
            <p:cNvSpPr>
              <a:spLocks/>
            </p:cNvSpPr>
            <p:nvPr/>
          </p:nvSpPr>
          <p:spPr bwMode="auto">
            <a:xfrm>
              <a:off x="3604796" y="5210175"/>
              <a:ext cx="119063" cy="133350"/>
            </a:xfrm>
            <a:custGeom>
              <a:avLst/>
              <a:gdLst/>
              <a:ahLst/>
              <a:cxnLst>
                <a:cxn ang="0">
                  <a:pos x="11" y="62"/>
                </a:cxn>
                <a:cxn ang="0">
                  <a:pos x="16" y="54"/>
                </a:cxn>
                <a:cxn ang="0">
                  <a:pos x="15" y="48"/>
                </a:cxn>
                <a:cxn ang="0">
                  <a:pos x="12" y="50"/>
                </a:cxn>
                <a:cxn ang="0">
                  <a:pos x="6" y="53"/>
                </a:cxn>
                <a:cxn ang="0">
                  <a:pos x="0" y="48"/>
                </a:cxn>
                <a:cxn ang="0">
                  <a:pos x="3" y="45"/>
                </a:cxn>
                <a:cxn ang="0">
                  <a:pos x="2" y="39"/>
                </a:cxn>
                <a:cxn ang="0">
                  <a:pos x="2" y="35"/>
                </a:cxn>
                <a:cxn ang="0">
                  <a:pos x="1" y="30"/>
                </a:cxn>
                <a:cxn ang="0">
                  <a:pos x="8" y="26"/>
                </a:cxn>
                <a:cxn ang="0">
                  <a:pos x="6" y="23"/>
                </a:cxn>
                <a:cxn ang="0">
                  <a:pos x="10" y="18"/>
                </a:cxn>
                <a:cxn ang="0">
                  <a:pos x="12" y="12"/>
                </a:cxn>
                <a:cxn ang="0">
                  <a:pos x="11" y="8"/>
                </a:cxn>
                <a:cxn ang="0">
                  <a:pos x="16" y="6"/>
                </a:cxn>
                <a:cxn ang="0">
                  <a:pos x="23" y="3"/>
                </a:cxn>
                <a:cxn ang="0">
                  <a:pos x="26" y="0"/>
                </a:cxn>
                <a:cxn ang="0">
                  <a:pos x="44" y="8"/>
                </a:cxn>
                <a:cxn ang="0">
                  <a:pos x="46" y="12"/>
                </a:cxn>
                <a:cxn ang="0">
                  <a:pos x="54" y="16"/>
                </a:cxn>
                <a:cxn ang="0">
                  <a:pos x="63" y="13"/>
                </a:cxn>
                <a:cxn ang="0">
                  <a:pos x="68" y="17"/>
                </a:cxn>
                <a:cxn ang="0">
                  <a:pos x="71" y="19"/>
                </a:cxn>
                <a:cxn ang="0">
                  <a:pos x="73" y="24"/>
                </a:cxn>
                <a:cxn ang="0">
                  <a:pos x="75" y="30"/>
                </a:cxn>
                <a:cxn ang="0">
                  <a:pos x="70" y="39"/>
                </a:cxn>
                <a:cxn ang="0">
                  <a:pos x="62" y="48"/>
                </a:cxn>
                <a:cxn ang="0">
                  <a:pos x="54" y="53"/>
                </a:cxn>
                <a:cxn ang="0">
                  <a:pos x="43" y="57"/>
                </a:cxn>
                <a:cxn ang="0">
                  <a:pos x="35" y="64"/>
                </a:cxn>
                <a:cxn ang="0">
                  <a:pos x="27" y="81"/>
                </a:cxn>
                <a:cxn ang="0">
                  <a:pos x="24" y="84"/>
                </a:cxn>
                <a:cxn ang="0">
                  <a:pos x="20" y="80"/>
                </a:cxn>
                <a:cxn ang="0">
                  <a:pos x="17" y="76"/>
                </a:cxn>
                <a:cxn ang="0">
                  <a:pos x="9" y="75"/>
                </a:cxn>
                <a:cxn ang="0">
                  <a:pos x="8" y="71"/>
                </a:cxn>
                <a:cxn ang="0">
                  <a:pos x="10" y="66"/>
                </a:cxn>
              </a:cxnLst>
              <a:rect l="0" t="0" r="r" b="b"/>
              <a:pathLst>
                <a:path w="75" h="84">
                  <a:moveTo>
                    <a:pt x="10" y="63"/>
                  </a:moveTo>
                  <a:lnTo>
                    <a:pt x="11" y="62"/>
                  </a:lnTo>
                  <a:lnTo>
                    <a:pt x="12" y="60"/>
                  </a:lnTo>
                  <a:lnTo>
                    <a:pt x="16" y="54"/>
                  </a:lnTo>
                  <a:lnTo>
                    <a:pt x="16" y="53"/>
                  </a:lnTo>
                  <a:lnTo>
                    <a:pt x="15" y="48"/>
                  </a:lnTo>
                  <a:lnTo>
                    <a:pt x="15" y="46"/>
                  </a:lnTo>
                  <a:lnTo>
                    <a:pt x="12" y="50"/>
                  </a:lnTo>
                  <a:lnTo>
                    <a:pt x="8" y="53"/>
                  </a:lnTo>
                  <a:lnTo>
                    <a:pt x="6" y="53"/>
                  </a:lnTo>
                  <a:lnTo>
                    <a:pt x="2" y="51"/>
                  </a:lnTo>
                  <a:lnTo>
                    <a:pt x="0" y="48"/>
                  </a:lnTo>
                  <a:lnTo>
                    <a:pt x="2" y="47"/>
                  </a:lnTo>
                  <a:lnTo>
                    <a:pt x="3" y="45"/>
                  </a:lnTo>
                  <a:lnTo>
                    <a:pt x="2" y="42"/>
                  </a:lnTo>
                  <a:lnTo>
                    <a:pt x="2" y="39"/>
                  </a:lnTo>
                  <a:lnTo>
                    <a:pt x="3" y="37"/>
                  </a:lnTo>
                  <a:lnTo>
                    <a:pt x="2" y="35"/>
                  </a:lnTo>
                  <a:lnTo>
                    <a:pt x="0" y="31"/>
                  </a:lnTo>
                  <a:lnTo>
                    <a:pt x="1" y="30"/>
                  </a:lnTo>
                  <a:lnTo>
                    <a:pt x="4" y="29"/>
                  </a:lnTo>
                  <a:lnTo>
                    <a:pt x="8" y="26"/>
                  </a:lnTo>
                  <a:lnTo>
                    <a:pt x="6" y="24"/>
                  </a:lnTo>
                  <a:lnTo>
                    <a:pt x="6" y="23"/>
                  </a:lnTo>
                  <a:lnTo>
                    <a:pt x="7" y="21"/>
                  </a:lnTo>
                  <a:lnTo>
                    <a:pt x="10" y="18"/>
                  </a:lnTo>
                  <a:lnTo>
                    <a:pt x="11" y="17"/>
                  </a:lnTo>
                  <a:lnTo>
                    <a:pt x="12" y="12"/>
                  </a:lnTo>
                  <a:lnTo>
                    <a:pt x="11" y="9"/>
                  </a:lnTo>
                  <a:lnTo>
                    <a:pt x="11" y="8"/>
                  </a:lnTo>
                  <a:lnTo>
                    <a:pt x="11" y="7"/>
                  </a:lnTo>
                  <a:lnTo>
                    <a:pt x="16" y="6"/>
                  </a:lnTo>
                  <a:lnTo>
                    <a:pt x="21" y="4"/>
                  </a:lnTo>
                  <a:lnTo>
                    <a:pt x="23" y="3"/>
                  </a:lnTo>
                  <a:lnTo>
                    <a:pt x="26" y="1"/>
                  </a:lnTo>
                  <a:lnTo>
                    <a:pt x="26" y="0"/>
                  </a:lnTo>
                  <a:lnTo>
                    <a:pt x="35" y="4"/>
                  </a:lnTo>
                  <a:lnTo>
                    <a:pt x="44" y="8"/>
                  </a:lnTo>
                  <a:lnTo>
                    <a:pt x="45" y="10"/>
                  </a:lnTo>
                  <a:lnTo>
                    <a:pt x="46" y="12"/>
                  </a:lnTo>
                  <a:lnTo>
                    <a:pt x="48" y="14"/>
                  </a:lnTo>
                  <a:lnTo>
                    <a:pt x="54" y="16"/>
                  </a:lnTo>
                  <a:lnTo>
                    <a:pt x="58" y="16"/>
                  </a:lnTo>
                  <a:lnTo>
                    <a:pt x="63" y="13"/>
                  </a:lnTo>
                  <a:lnTo>
                    <a:pt x="64" y="13"/>
                  </a:lnTo>
                  <a:lnTo>
                    <a:pt x="68" y="17"/>
                  </a:lnTo>
                  <a:lnTo>
                    <a:pt x="69" y="18"/>
                  </a:lnTo>
                  <a:lnTo>
                    <a:pt x="71" y="19"/>
                  </a:lnTo>
                  <a:lnTo>
                    <a:pt x="71" y="19"/>
                  </a:lnTo>
                  <a:lnTo>
                    <a:pt x="73" y="24"/>
                  </a:lnTo>
                  <a:lnTo>
                    <a:pt x="75" y="29"/>
                  </a:lnTo>
                  <a:lnTo>
                    <a:pt x="75" y="30"/>
                  </a:lnTo>
                  <a:lnTo>
                    <a:pt x="73" y="33"/>
                  </a:lnTo>
                  <a:lnTo>
                    <a:pt x="70" y="39"/>
                  </a:lnTo>
                  <a:lnTo>
                    <a:pt x="66" y="44"/>
                  </a:lnTo>
                  <a:lnTo>
                    <a:pt x="62" y="48"/>
                  </a:lnTo>
                  <a:lnTo>
                    <a:pt x="56" y="52"/>
                  </a:lnTo>
                  <a:lnTo>
                    <a:pt x="54" y="53"/>
                  </a:lnTo>
                  <a:lnTo>
                    <a:pt x="48" y="55"/>
                  </a:lnTo>
                  <a:lnTo>
                    <a:pt x="43" y="57"/>
                  </a:lnTo>
                  <a:lnTo>
                    <a:pt x="38" y="60"/>
                  </a:lnTo>
                  <a:lnTo>
                    <a:pt x="35" y="64"/>
                  </a:lnTo>
                  <a:lnTo>
                    <a:pt x="33" y="67"/>
                  </a:lnTo>
                  <a:lnTo>
                    <a:pt x="27" y="81"/>
                  </a:lnTo>
                  <a:lnTo>
                    <a:pt x="26" y="83"/>
                  </a:lnTo>
                  <a:lnTo>
                    <a:pt x="24" y="84"/>
                  </a:lnTo>
                  <a:lnTo>
                    <a:pt x="22" y="83"/>
                  </a:lnTo>
                  <a:lnTo>
                    <a:pt x="20" y="80"/>
                  </a:lnTo>
                  <a:lnTo>
                    <a:pt x="19" y="78"/>
                  </a:lnTo>
                  <a:lnTo>
                    <a:pt x="17" y="76"/>
                  </a:lnTo>
                  <a:lnTo>
                    <a:pt x="12" y="76"/>
                  </a:lnTo>
                  <a:lnTo>
                    <a:pt x="9" y="75"/>
                  </a:lnTo>
                  <a:lnTo>
                    <a:pt x="8" y="74"/>
                  </a:lnTo>
                  <a:lnTo>
                    <a:pt x="8" y="71"/>
                  </a:lnTo>
                  <a:lnTo>
                    <a:pt x="9" y="69"/>
                  </a:lnTo>
                  <a:lnTo>
                    <a:pt x="10" y="66"/>
                  </a:lnTo>
                  <a:lnTo>
                    <a:pt x="10" y="6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5" name="Freeform 27">
              <a:extLst>
                <a:ext uri="{FF2B5EF4-FFF2-40B4-BE49-F238E27FC236}">
                  <a16:creationId xmlns:a16="http://schemas.microsoft.com/office/drawing/2014/main" id="{44A030CD-D41D-206E-6371-47C8E4D96247}"/>
                </a:ext>
              </a:extLst>
            </p:cNvPr>
            <p:cNvSpPr>
              <a:spLocks/>
            </p:cNvSpPr>
            <p:nvPr/>
          </p:nvSpPr>
          <p:spPr bwMode="auto">
            <a:xfrm>
              <a:off x="3644484" y="4978400"/>
              <a:ext cx="246063" cy="346075"/>
            </a:xfrm>
            <a:custGeom>
              <a:avLst/>
              <a:gdLst/>
              <a:ahLst/>
              <a:cxnLst>
                <a:cxn ang="0">
                  <a:pos x="94" y="8"/>
                </a:cxn>
                <a:cxn ang="0">
                  <a:pos x="91" y="17"/>
                </a:cxn>
                <a:cxn ang="0">
                  <a:pos x="80" y="32"/>
                </a:cxn>
                <a:cxn ang="0">
                  <a:pos x="78" y="42"/>
                </a:cxn>
                <a:cxn ang="0">
                  <a:pos x="88" y="57"/>
                </a:cxn>
                <a:cxn ang="0">
                  <a:pos x="92" y="71"/>
                </a:cxn>
                <a:cxn ang="0">
                  <a:pos x="111" y="71"/>
                </a:cxn>
                <a:cxn ang="0">
                  <a:pos x="124" y="82"/>
                </a:cxn>
                <a:cxn ang="0">
                  <a:pos x="136" y="83"/>
                </a:cxn>
                <a:cxn ang="0">
                  <a:pos x="148" y="92"/>
                </a:cxn>
                <a:cxn ang="0">
                  <a:pos x="145" y="101"/>
                </a:cxn>
                <a:cxn ang="0">
                  <a:pos x="151" y="114"/>
                </a:cxn>
                <a:cxn ang="0">
                  <a:pos x="147" y="127"/>
                </a:cxn>
                <a:cxn ang="0">
                  <a:pos x="147" y="142"/>
                </a:cxn>
                <a:cxn ang="0">
                  <a:pos x="122" y="142"/>
                </a:cxn>
                <a:cxn ang="0">
                  <a:pos x="128" y="152"/>
                </a:cxn>
                <a:cxn ang="0">
                  <a:pos x="129" y="156"/>
                </a:cxn>
                <a:cxn ang="0">
                  <a:pos x="118" y="158"/>
                </a:cxn>
                <a:cxn ang="0">
                  <a:pos x="124" y="170"/>
                </a:cxn>
                <a:cxn ang="0">
                  <a:pos x="127" y="181"/>
                </a:cxn>
                <a:cxn ang="0">
                  <a:pos x="120" y="218"/>
                </a:cxn>
                <a:cxn ang="0">
                  <a:pos x="113" y="213"/>
                </a:cxn>
                <a:cxn ang="0">
                  <a:pos x="117" y="200"/>
                </a:cxn>
                <a:cxn ang="0">
                  <a:pos x="100" y="195"/>
                </a:cxn>
                <a:cxn ang="0">
                  <a:pos x="89" y="197"/>
                </a:cxn>
                <a:cxn ang="0">
                  <a:pos x="79" y="192"/>
                </a:cxn>
                <a:cxn ang="0">
                  <a:pos x="73" y="187"/>
                </a:cxn>
                <a:cxn ang="0">
                  <a:pos x="61" y="173"/>
                </a:cxn>
                <a:cxn ang="0">
                  <a:pos x="46" y="165"/>
                </a:cxn>
                <a:cxn ang="0">
                  <a:pos x="39" y="159"/>
                </a:cxn>
                <a:cxn ang="0">
                  <a:pos x="23" y="160"/>
                </a:cxn>
                <a:cxn ang="0">
                  <a:pos x="10" y="150"/>
                </a:cxn>
                <a:cxn ang="0">
                  <a:pos x="0" y="142"/>
                </a:cxn>
                <a:cxn ang="0">
                  <a:pos x="7" y="138"/>
                </a:cxn>
                <a:cxn ang="0">
                  <a:pos x="13" y="131"/>
                </a:cxn>
                <a:cxn ang="0">
                  <a:pos x="22" y="120"/>
                </a:cxn>
                <a:cxn ang="0">
                  <a:pos x="21" y="109"/>
                </a:cxn>
                <a:cxn ang="0">
                  <a:pos x="20" y="92"/>
                </a:cxn>
                <a:cxn ang="0">
                  <a:pos x="24" y="87"/>
                </a:cxn>
                <a:cxn ang="0">
                  <a:pos x="22" y="80"/>
                </a:cxn>
                <a:cxn ang="0">
                  <a:pos x="15" y="70"/>
                </a:cxn>
                <a:cxn ang="0">
                  <a:pos x="19" y="63"/>
                </a:cxn>
                <a:cxn ang="0">
                  <a:pos x="25" y="59"/>
                </a:cxn>
                <a:cxn ang="0">
                  <a:pos x="21" y="51"/>
                </a:cxn>
                <a:cxn ang="0">
                  <a:pos x="28" y="60"/>
                </a:cxn>
                <a:cxn ang="0">
                  <a:pos x="29" y="51"/>
                </a:cxn>
                <a:cxn ang="0">
                  <a:pos x="38" y="41"/>
                </a:cxn>
                <a:cxn ang="0">
                  <a:pos x="44" y="35"/>
                </a:cxn>
                <a:cxn ang="0">
                  <a:pos x="50" y="21"/>
                </a:cxn>
                <a:cxn ang="0">
                  <a:pos x="59" y="20"/>
                </a:cxn>
                <a:cxn ang="0">
                  <a:pos x="63" y="14"/>
                </a:cxn>
                <a:cxn ang="0">
                  <a:pos x="74" y="15"/>
                </a:cxn>
                <a:cxn ang="0">
                  <a:pos x="87" y="8"/>
                </a:cxn>
                <a:cxn ang="0">
                  <a:pos x="96" y="0"/>
                </a:cxn>
                <a:cxn ang="0">
                  <a:pos x="104" y="5"/>
                </a:cxn>
              </a:cxnLst>
              <a:rect l="0" t="0" r="r" b="b"/>
              <a:pathLst>
                <a:path w="155" h="218">
                  <a:moveTo>
                    <a:pt x="103" y="7"/>
                  </a:moveTo>
                  <a:lnTo>
                    <a:pt x="102" y="6"/>
                  </a:lnTo>
                  <a:lnTo>
                    <a:pt x="97" y="7"/>
                  </a:lnTo>
                  <a:lnTo>
                    <a:pt x="94" y="8"/>
                  </a:lnTo>
                  <a:lnTo>
                    <a:pt x="91" y="9"/>
                  </a:lnTo>
                  <a:lnTo>
                    <a:pt x="91" y="11"/>
                  </a:lnTo>
                  <a:lnTo>
                    <a:pt x="91" y="14"/>
                  </a:lnTo>
                  <a:lnTo>
                    <a:pt x="91" y="17"/>
                  </a:lnTo>
                  <a:lnTo>
                    <a:pt x="89" y="16"/>
                  </a:lnTo>
                  <a:lnTo>
                    <a:pt x="87" y="17"/>
                  </a:lnTo>
                  <a:lnTo>
                    <a:pt x="81" y="27"/>
                  </a:lnTo>
                  <a:lnTo>
                    <a:pt x="80" y="32"/>
                  </a:lnTo>
                  <a:lnTo>
                    <a:pt x="79" y="36"/>
                  </a:lnTo>
                  <a:lnTo>
                    <a:pt x="75" y="43"/>
                  </a:lnTo>
                  <a:lnTo>
                    <a:pt x="77" y="43"/>
                  </a:lnTo>
                  <a:lnTo>
                    <a:pt x="78" y="42"/>
                  </a:lnTo>
                  <a:lnTo>
                    <a:pt x="81" y="42"/>
                  </a:lnTo>
                  <a:lnTo>
                    <a:pt x="82" y="46"/>
                  </a:lnTo>
                  <a:lnTo>
                    <a:pt x="87" y="55"/>
                  </a:lnTo>
                  <a:lnTo>
                    <a:pt x="88" y="57"/>
                  </a:lnTo>
                  <a:lnTo>
                    <a:pt x="87" y="64"/>
                  </a:lnTo>
                  <a:lnTo>
                    <a:pt x="87" y="66"/>
                  </a:lnTo>
                  <a:lnTo>
                    <a:pt x="90" y="68"/>
                  </a:lnTo>
                  <a:lnTo>
                    <a:pt x="92" y="71"/>
                  </a:lnTo>
                  <a:lnTo>
                    <a:pt x="94" y="72"/>
                  </a:lnTo>
                  <a:lnTo>
                    <a:pt x="97" y="72"/>
                  </a:lnTo>
                  <a:lnTo>
                    <a:pt x="104" y="72"/>
                  </a:lnTo>
                  <a:lnTo>
                    <a:pt x="111" y="71"/>
                  </a:lnTo>
                  <a:lnTo>
                    <a:pt x="114" y="72"/>
                  </a:lnTo>
                  <a:lnTo>
                    <a:pt x="118" y="74"/>
                  </a:lnTo>
                  <a:lnTo>
                    <a:pt x="119" y="76"/>
                  </a:lnTo>
                  <a:lnTo>
                    <a:pt x="124" y="82"/>
                  </a:lnTo>
                  <a:lnTo>
                    <a:pt x="127" y="85"/>
                  </a:lnTo>
                  <a:lnTo>
                    <a:pt x="128" y="85"/>
                  </a:lnTo>
                  <a:lnTo>
                    <a:pt x="131" y="84"/>
                  </a:lnTo>
                  <a:lnTo>
                    <a:pt x="136" y="83"/>
                  </a:lnTo>
                  <a:lnTo>
                    <a:pt x="147" y="82"/>
                  </a:lnTo>
                  <a:lnTo>
                    <a:pt x="151" y="83"/>
                  </a:lnTo>
                  <a:lnTo>
                    <a:pt x="149" y="86"/>
                  </a:lnTo>
                  <a:lnTo>
                    <a:pt x="148" y="92"/>
                  </a:lnTo>
                  <a:lnTo>
                    <a:pt x="146" y="95"/>
                  </a:lnTo>
                  <a:lnTo>
                    <a:pt x="145" y="96"/>
                  </a:lnTo>
                  <a:lnTo>
                    <a:pt x="145" y="98"/>
                  </a:lnTo>
                  <a:lnTo>
                    <a:pt x="145" y="101"/>
                  </a:lnTo>
                  <a:lnTo>
                    <a:pt x="146" y="103"/>
                  </a:lnTo>
                  <a:lnTo>
                    <a:pt x="147" y="107"/>
                  </a:lnTo>
                  <a:lnTo>
                    <a:pt x="150" y="112"/>
                  </a:lnTo>
                  <a:lnTo>
                    <a:pt x="151" y="114"/>
                  </a:lnTo>
                  <a:lnTo>
                    <a:pt x="154" y="119"/>
                  </a:lnTo>
                  <a:lnTo>
                    <a:pt x="154" y="120"/>
                  </a:lnTo>
                  <a:lnTo>
                    <a:pt x="150" y="124"/>
                  </a:lnTo>
                  <a:lnTo>
                    <a:pt x="147" y="127"/>
                  </a:lnTo>
                  <a:lnTo>
                    <a:pt x="150" y="130"/>
                  </a:lnTo>
                  <a:lnTo>
                    <a:pt x="155" y="137"/>
                  </a:lnTo>
                  <a:lnTo>
                    <a:pt x="152" y="138"/>
                  </a:lnTo>
                  <a:lnTo>
                    <a:pt x="147" y="142"/>
                  </a:lnTo>
                  <a:lnTo>
                    <a:pt x="145" y="143"/>
                  </a:lnTo>
                  <a:lnTo>
                    <a:pt x="142" y="143"/>
                  </a:lnTo>
                  <a:lnTo>
                    <a:pt x="126" y="142"/>
                  </a:lnTo>
                  <a:lnTo>
                    <a:pt x="122" y="142"/>
                  </a:lnTo>
                  <a:lnTo>
                    <a:pt x="121" y="144"/>
                  </a:lnTo>
                  <a:lnTo>
                    <a:pt x="121" y="150"/>
                  </a:lnTo>
                  <a:lnTo>
                    <a:pt x="122" y="151"/>
                  </a:lnTo>
                  <a:lnTo>
                    <a:pt x="128" y="152"/>
                  </a:lnTo>
                  <a:lnTo>
                    <a:pt x="129" y="152"/>
                  </a:lnTo>
                  <a:lnTo>
                    <a:pt x="130" y="155"/>
                  </a:lnTo>
                  <a:lnTo>
                    <a:pt x="131" y="157"/>
                  </a:lnTo>
                  <a:lnTo>
                    <a:pt x="129" y="156"/>
                  </a:lnTo>
                  <a:lnTo>
                    <a:pt x="126" y="156"/>
                  </a:lnTo>
                  <a:lnTo>
                    <a:pt x="122" y="156"/>
                  </a:lnTo>
                  <a:lnTo>
                    <a:pt x="119" y="157"/>
                  </a:lnTo>
                  <a:lnTo>
                    <a:pt x="118" y="158"/>
                  </a:lnTo>
                  <a:lnTo>
                    <a:pt x="118" y="164"/>
                  </a:lnTo>
                  <a:lnTo>
                    <a:pt x="118" y="167"/>
                  </a:lnTo>
                  <a:lnTo>
                    <a:pt x="120" y="168"/>
                  </a:lnTo>
                  <a:lnTo>
                    <a:pt x="124" y="170"/>
                  </a:lnTo>
                  <a:lnTo>
                    <a:pt x="125" y="171"/>
                  </a:lnTo>
                  <a:lnTo>
                    <a:pt x="124" y="176"/>
                  </a:lnTo>
                  <a:lnTo>
                    <a:pt x="127" y="179"/>
                  </a:lnTo>
                  <a:lnTo>
                    <a:pt x="127" y="181"/>
                  </a:lnTo>
                  <a:lnTo>
                    <a:pt x="125" y="189"/>
                  </a:lnTo>
                  <a:lnTo>
                    <a:pt x="121" y="215"/>
                  </a:lnTo>
                  <a:lnTo>
                    <a:pt x="121" y="217"/>
                  </a:lnTo>
                  <a:lnTo>
                    <a:pt x="120" y="218"/>
                  </a:lnTo>
                  <a:lnTo>
                    <a:pt x="119" y="218"/>
                  </a:lnTo>
                  <a:lnTo>
                    <a:pt x="115" y="213"/>
                  </a:lnTo>
                  <a:lnTo>
                    <a:pt x="114" y="213"/>
                  </a:lnTo>
                  <a:lnTo>
                    <a:pt x="113" y="213"/>
                  </a:lnTo>
                  <a:lnTo>
                    <a:pt x="111" y="213"/>
                  </a:lnTo>
                  <a:lnTo>
                    <a:pt x="117" y="202"/>
                  </a:lnTo>
                  <a:lnTo>
                    <a:pt x="118" y="201"/>
                  </a:lnTo>
                  <a:lnTo>
                    <a:pt x="117" y="200"/>
                  </a:lnTo>
                  <a:lnTo>
                    <a:pt x="109" y="195"/>
                  </a:lnTo>
                  <a:lnTo>
                    <a:pt x="106" y="194"/>
                  </a:lnTo>
                  <a:lnTo>
                    <a:pt x="102" y="197"/>
                  </a:lnTo>
                  <a:lnTo>
                    <a:pt x="100" y="195"/>
                  </a:lnTo>
                  <a:lnTo>
                    <a:pt x="97" y="193"/>
                  </a:lnTo>
                  <a:lnTo>
                    <a:pt x="94" y="195"/>
                  </a:lnTo>
                  <a:lnTo>
                    <a:pt x="92" y="197"/>
                  </a:lnTo>
                  <a:lnTo>
                    <a:pt x="89" y="197"/>
                  </a:lnTo>
                  <a:lnTo>
                    <a:pt x="83" y="197"/>
                  </a:lnTo>
                  <a:lnTo>
                    <a:pt x="79" y="196"/>
                  </a:lnTo>
                  <a:lnTo>
                    <a:pt x="79" y="194"/>
                  </a:lnTo>
                  <a:lnTo>
                    <a:pt x="79" y="192"/>
                  </a:lnTo>
                  <a:lnTo>
                    <a:pt x="78" y="190"/>
                  </a:lnTo>
                  <a:lnTo>
                    <a:pt x="75" y="190"/>
                  </a:lnTo>
                  <a:lnTo>
                    <a:pt x="73" y="189"/>
                  </a:lnTo>
                  <a:lnTo>
                    <a:pt x="73" y="187"/>
                  </a:lnTo>
                  <a:lnTo>
                    <a:pt x="71" y="183"/>
                  </a:lnTo>
                  <a:lnTo>
                    <a:pt x="65" y="179"/>
                  </a:lnTo>
                  <a:lnTo>
                    <a:pt x="62" y="177"/>
                  </a:lnTo>
                  <a:lnTo>
                    <a:pt x="61" y="173"/>
                  </a:lnTo>
                  <a:lnTo>
                    <a:pt x="60" y="171"/>
                  </a:lnTo>
                  <a:lnTo>
                    <a:pt x="57" y="168"/>
                  </a:lnTo>
                  <a:lnTo>
                    <a:pt x="51" y="166"/>
                  </a:lnTo>
                  <a:lnTo>
                    <a:pt x="46" y="165"/>
                  </a:lnTo>
                  <a:lnTo>
                    <a:pt x="46" y="165"/>
                  </a:lnTo>
                  <a:lnTo>
                    <a:pt x="44" y="164"/>
                  </a:lnTo>
                  <a:lnTo>
                    <a:pt x="43" y="163"/>
                  </a:lnTo>
                  <a:lnTo>
                    <a:pt x="39" y="159"/>
                  </a:lnTo>
                  <a:lnTo>
                    <a:pt x="38" y="159"/>
                  </a:lnTo>
                  <a:lnTo>
                    <a:pt x="33" y="162"/>
                  </a:lnTo>
                  <a:lnTo>
                    <a:pt x="29" y="162"/>
                  </a:lnTo>
                  <a:lnTo>
                    <a:pt x="23" y="160"/>
                  </a:lnTo>
                  <a:lnTo>
                    <a:pt x="21" y="158"/>
                  </a:lnTo>
                  <a:lnTo>
                    <a:pt x="20" y="156"/>
                  </a:lnTo>
                  <a:lnTo>
                    <a:pt x="19" y="154"/>
                  </a:lnTo>
                  <a:lnTo>
                    <a:pt x="10" y="150"/>
                  </a:lnTo>
                  <a:lnTo>
                    <a:pt x="1" y="146"/>
                  </a:lnTo>
                  <a:lnTo>
                    <a:pt x="1" y="145"/>
                  </a:lnTo>
                  <a:lnTo>
                    <a:pt x="1" y="143"/>
                  </a:lnTo>
                  <a:lnTo>
                    <a:pt x="0" y="142"/>
                  </a:lnTo>
                  <a:lnTo>
                    <a:pt x="0" y="141"/>
                  </a:lnTo>
                  <a:lnTo>
                    <a:pt x="3" y="140"/>
                  </a:lnTo>
                  <a:lnTo>
                    <a:pt x="6" y="140"/>
                  </a:lnTo>
                  <a:lnTo>
                    <a:pt x="7" y="138"/>
                  </a:lnTo>
                  <a:lnTo>
                    <a:pt x="5" y="135"/>
                  </a:lnTo>
                  <a:lnTo>
                    <a:pt x="6" y="133"/>
                  </a:lnTo>
                  <a:lnTo>
                    <a:pt x="7" y="131"/>
                  </a:lnTo>
                  <a:lnTo>
                    <a:pt x="13" y="131"/>
                  </a:lnTo>
                  <a:lnTo>
                    <a:pt x="14" y="131"/>
                  </a:lnTo>
                  <a:lnTo>
                    <a:pt x="16" y="130"/>
                  </a:lnTo>
                  <a:lnTo>
                    <a:pt x="19" y="126"/>
                  </a:lnTo>
                  <a:lnTo>
                    <a:pt x="22" y="120"/>
                  </a:lnTo>
                  <a:lnTo>
                    <a:pt x="25" y="114"/>
                  </a:lnTo>
                  <a:lnTo>
                    <a:pt x="25" y="113"/>
                  </a:lnTo>
                  <a:lnTo>
                    <a:pt x="21" y="110"/>
                  </a:lnTo>
                  <a:lnTo>
                    <a:pt x="21" y="109"/>
                  </a:lnTo>
                  <a:lnTo>
                    <a:pt x="23" y="105"/>
                  </a:lnTo>
                  <a:lnTo>
                    <a:pt x="23" y="102"/>
                  </a:lnTo>
                  <a:lnTo>
                    <a:pt x="22" y="96"/>
                  </a:lnTo>
                  <a:lnTo>
                    <a:pt x="20" y="92"/>
                  </a:lnTo>
                  <a:lnTo>
                    <a:pt x="21" y="90"/>
                  </a:lnTo>
                  <a:lnTo>
                    <a:pt x="24" y="89"/>
                  </a:lnTo>
                  <a:lnTo>
                    <a:pt x="24" y="88"/>
                  </a:lnTo>
                  <a:lnTo>
                    <a:pt x="24" y="87"/>
                  </a:lnTo>
                  <a:lnTo>
                    <a:pt x="21" y="84"/>
                  </a:lnTo>
                  <a:lnTo>
                    <a:pt x="20" y="83"/>
                  </a:lnTo>
                  <a:lnTo>
                    <a:pt x="21" y="81"/>
                  </a:lnTo>
                  <a:lnTo>
                    <a:pt x="22" y="80"/>
                  </a:lnTo>
                  <a:lnTo>
                    <a:pt x="22" y="78"/>
                  </a:lnTo>
                  <a:lnTo>
                    <a:pt x="22" y="76"/>
                  </a:lnTo>
                  <a:lnTo>
                    <a:pt x="17" y="72"/>
                  </a:lnTo>
                  <a:lnTo>
                    <a:pt x="15" y="70"/>
                  </a:lnTo>
                  <a:lnTo>
                    <a:pt x="16" y="65"/>
                  </a:lnTo>
                  <a:lnTo>
                    <a:pt x="18" y="65"/>
                  </a:lnTo>
                  <a:lnTo>
                    <a:pt x="18" y="62"/>
                  </a:lnTo>
                  <a:lnTo>
                    <a:pt x="19" y="63"/>
                  </a:lnTo>
                  <a:lnTo>
                    <a:pt x="19" y="65"/>
                  </a:lnTo>
                  <a:lnTo>
                    <a:pt x="23" y="62"/>
                  </a:lnTo>
                  <a:lnTo>
                    <a:pt x="23" y="59"/>
                  </a:lnTo>
                  <a:lnTo>
                    <a:pt x="25" y="59"/>
                  </a:lnTo>
                  <a:lnTo>
                    <a:pt x="22" y="53"/>
                  </a:lnTo>
                  <a:lnTo>
                    <a:pt x="21" y="52"/>
                  </a:lnTo>
                  <a:lnTo>
                    <a:pt x="20" y="50"/>
                  </a:lnTo>
                  <a:lnTo>
                    <a:pt x="21" y="51"/>
                  </a:lnTo>
                  <a:lnTo>
                    <a:pt x="24" y="53"/>
                  </a:lnTo>
                  <a:lnTo>
                    <a:pt x="26" y="56"/>
                  </a:lnTo>
                  <a:lnTo>
                    <a:pt x="27" y="59"/>
                  </a:lnTo>
                  <a:lnTo>
                    <a:pt x="28" y="60"/>
                  </a:lnTo>
                  <a:lnTo>
                    <a:pt x="30" y="59"/>
                  </a:lnTo>
                  <a:lnTo>
                    <a:pt x="31" y="57"/>
                  </a:lnTo>
                  <a:lnTo>
                    <a:pt x="29" y="53"/>
                  </a:lnTo>
                  <a:lnTo>
                    <a:pt x="29" y="51"/>
                  </a:lnTo>
                  <a:lnTo>
                    <a:pt x="30" y="50"/>
                  </a:lnTo>
                  <a:lnTo>
                    <a:pt x="33" y="48"/>
                  </a:lnTo>
                  <a:lnTo>
                    <a:pt x="35" y="46"/>
                  </a:lnTo>
                  <a:lnTo>
                    <a:pt x="38" y="41"/>
                  </a:lnTo>
                  <a:lnTo>
                    <a:pt x="40" y="41"/>
                  </a:lnTo>
                  <a:lnTo>
                    <a:pt x="44" y="40"/>
                  </a:lnTo>
                  <a:lnTo>
                    <a:pt x="45" y="38"/>
                  </a:lnTo>
                  <a:lnTo>
                    <a:pt x="44" y="35"/>
                  </a:lnTo>
                  <a:lnTo>
                    <a:pt x="45" y="31"/>
                  </a:lnTo>
                  <a:lnTo>
                    <a:pt x="46" y="27"/>
                  </a:lnTo>
                  <a:lnTo>
                    <a:pt x="47" y="24"/>
                  </a:lnTo>
                  <a:lnTo>
                    <a:pt x="50" y="21"/>
                  </a:lnTo>
                  <a:lnTo>
                    <a:pt x="52" y="20"/>
                  </a:lnTo>
                  <a:lnTo>
                    <a:pt x="56" y="18"/>
                  </a:lnTo>
                  <a:lnTo>
                    <a:pt x="57" y="18"/>
                  </a:lnTo>
                  <a:lnTo>
                    <a:pt x="59" y="20"/>
                  </a:lnTo>
                  <a:lnTo>
                    <a:pt x="60" y="22"/>
                  </a:lnTo>
                  <a:lnTo>
                    <a:pt x="62" y="20"/>
                  </a:lnTo>
                  <a:lnTo>
                    <a:pt x="62" y="17"/>
                  </a:lnTo>
                  <a:lnTo>
                    <a:pt x="63" y="14"/>
                  </a:lnTo>
                  <a:lnTo>
                    <a:pt x="64" y="14"/>
                  </a:lnTo>
                  <a:lnTo>
                    <a:pt x="66" y="14"/>
                  </a:lnTo>
                  <a:lnTo>
                    <a:pt x="71" y="15"/>
                  </a:lnTo>
                  <a:lnTo>
                    <a:pt x="74" y="15"/>
                  </a:lnTo>
                  <a:lnTo>
                    <a:pt x="78" y="13"/>
                  </a:lnTo>
                  <a:lnTo>
                    <a:pt x="79" y="12"/>
                  </a:lnTo>
                  <a:lnTo>
                    <a:pt x="82" y="10"/>
                  </a:lnTo>
                  <a:lnTo>
                    <a:pt x="87" y="8"/>
                  </a:lnTo>
                  <a:lnTo>
                    <a:pt x="90" y="6"/>
                  </a:lnTo>
                  <a:lnTo>
                    <a:pt x="91" y="3"/>
                  </a:lnTo>
                  <a:lnTo>
                    <a:pt x="93" y="1"/>
                  </a:lnTo>
                  <a:lnTo>
                    <a:pt x="96" y="0"/>
                  </a:lnTo>
                  <a:lnTo>
                    <a:pt x="99" y="0"/>
                  </a:lnTo>
                  <a:lnTo>
                    <a:pt x="103" y="2"/>
                  </a:lnTo>
                  <a:lnTo>
                    <a:pt x="103" y="3"/>
                  </a:lnTo>
                  <a:lnTo>
                    <a:pt x="104" y="5"/>
                  </a:lnTo>
                  <a:lnTo>
                    <a:pt x="103" y="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6" name="Freeform 28">
              <a:extLst>
                <a:ext uri="{FF2B5EF4-FFF2-40B4-BE49-F238E27FC236}">
                  <a16:creationId xmlns:a16="http://schemas.microsoft.com/office/drawing/2014/main" id="{995334E2-0937-A828-04B1-1F26AAA18917}"/>
                </a:ext>
              </a:extLst>
            </p:cNvPr>
            <p:cNvSpPr>
              <a:spLocks/>
            </p:cNvSpPr>
            <p:nvPr/>
          </p:nvSpPr>
          <p:spPr bwMode="auto">
            <a:xfrm>
              <a:off x="5066884" y="3857625"/>
              <a:ext cx="92075" cy="131763"/>
            </a:xfrm>
            <a:custGeom>
              <a:avLst/>
              <a:gdLst/>
              <a:ahLst/>
              <a:cxnLst>
                <a:cxn ang="0">
                  <a:pos x="54" y="29"/>
                </a:cxn>
                <a:cxn ang="0">
                  <a:pos x="54" y="33"/>
                </a:cxn>
                <a:cxn ang="0">
                  <a:pos x="58" y="52"/>
                </a:cxn>
                <a:cxn ang="0">
                  <a:pos x="55" y="58"/>
                </a:cxn>
                <a:cxn ang="0">
                  <a:pos x="53" y="67"/>
                </a:cxn>
                <a:cxn ang="0">
                  <a:pos x="50" y="67"/>
                </a:cxn>
                <a:cxn ang="0">
                  <a:pos x="46" y="69"/>
                </a:cxn>
                <a:cxn ang="0">
                  <a:pos x="35" y="71"/>
                </a:cxn>
                <a:cxn ang="0">
                  <a:pos x="30" y="75"/>
                </a:cxn>
                <a:cxn ang="0">
                  <a:pos x="21" y="80"/>
                </a:cxn>
                <a:cxn ang="0">
                  <a:pos x="8" y="83"/>
                </a:cxn>
                <a:cxn ang="0">
                  <a:pos x="8" y="76"/>
                </a:cxn>
                <a:cxn ang="0">
                  <a:pos x="2" y="72"/>
                </a:cxn>
                <a:cxn ang="0">
                  <a:pos x="0" y="69"/>
                </a:cxn>
                <a:cxn ang="0">
                  <a:pos x="8" y="67"/>
                </a:cxn>
                <a:cxn ang="0">
                  <a:pos x="9" y="64"/>
                </a:cxn>
                <a:cxn ang="0">
                  <a:pos x="13" y="60"/>
                </a:cxn>
                <a:cxn ang="0">
                  <a:pos x="17" y="57"/>
                </a:cxn>
                <a:cxn ang="0">
                  <a:pos x="13" y="54"/>
                </a:cxn>
                <a:cxn ang="0">
                  <a:pos x="15" y="48"/>
                </a:cxn>
                <a:cxn ang="0">
                  <a:pos x="20" y="46"/>
                </a:cxn>
                <a:cxn ang="0">
                  <a:pos x="17" y="45"/>
                </a:cxn>
                <a:cxn ang="0">
                  <a:pos x="13" y="44"/>
                </a:cxn>
                <a:cxn ang="0">
                  <a:pos x="9" y="42"/>
                </a:cxn>
                <a:cxn ang="0">
                  <a:pos x="4" y="42"/>
                </a:cxn>
                <a:cxn ang="0">
                  <a:pos x="4" y="37"/>
                </a:cxn>
                <a:cxn ang="0">
                  <a:pos x="8" y="33"/>
                </a:cxn>
                <a:cxn ang="0">
                  <a:pos x="7" y="28"/>
                </a:cxn>
                <a:cxn ang="0">
                  <a:pos x="4" y="25"/>
                </a:cxn>
                <a:cxn ang="0">
                  <a:pos x="8" y="21"/>
                </a:cxn>
                <a:cxn ang="0">
                  <a:pos x="15" y="22"/>
                </a:cxn>
                <a:cxn ang="0">
                  <a:pos x="25" y="24"/>
                </a:cxn>
                <a:cxn ang="0">
                  <a:pos x="28" y="17"/>
                </a:cxn>
                <a:cxn ang="0">
                  <a:pos x="22" y="14"/>
                </a:cxn>
                <a:cxn ang="0">
                  <a:pos x="26" y="11"/>
                </a:cxn>
                <a:cxn ang="0">
                  <a:pos x="28" y="3"/>
                </a:cxn>
                <a:cxn ang="0">
                  <a:pos x="35" y="0"/>
                </a:cxn>
                <a:cxn ang="0">
                  <a:pos x="39" y="4"/>
                </a:cxn>
                <a:cxn ang="0">
                  <a:pos x="40" y="6"/>
                </a:cxn>
                <a:cxn ang="0">
                  <a:pos x="33" y="12"/>
                </a:cxn>
                <a:cxn ang="0">
                  <a:pos x="31" y="18"/>
                </a:cxn>
                <a:cxn ang="0">
                  <a:pos x="34" y="24"/>
                </a:cxn>
                <a:cxn ang="0">
                  <a:pos x="43" y="23"/>
                </a:cxn>
                <a:cxn ang="0">
                  <a:pos x="46" y="20"/>
                </a:cxn>
                <a:cxn ang="0">
                  <a:pos x="50" y="24"/>
                </a:cxn>
                <a:cxn ang="0">
                  <a:pos x="55" y="26"/>
                </a:cxn>
              </a:cxnLst>
              <a:rect l="0" t="0" r="r" b="b"/>
              <a:pathLst>
                <a:path w="58" h="83">
                  <a:moveTo>
                    <a:pt x="56" y="29"/>
                  </a:moveTo>
                  <a:lnTo>
                    <a:pt x="54" y="29"/>
                  </a:lnTo>
                  <a:lnTo>
                    <a:pt x="53" y="30"/>
                  </a:lnTo>
                  <a:lnTo>
                    <a:pt x="54" y="33"/>
                  </a:lnTo>
                  <a:lnTo>
                    <a:pt x="56" y="40"/>
                  </a:lnTo>
                  <a:lnTo>
                    <a:pt x="58" y="52"/>
                  </a:lnTo>
                  <a:lnTo>
                    <a:pt x="58" y="55"/>
                  </a:lnTo>
                  <a:lnTo>
                    <a:pt x="55" y="58"/>
                  </a:lnTo>
                  <a:lnTo>
                    <a:pt x="54" y="62"/>
                  </a:lnTo>
                  <a:lnTo>
                    <a:pt x="53" y="67"/>
                  </a:lnTo>
                  <a:lnTo>
                    <a:pt x="52" y="67"/>
                  </a:lnTo>
                  <a:lnTo>
                    <a:pt x="50" y="67"/>
                  </a:lnTo>
                  <a:lnTo>
                    <a:pt x="47" y="67"/>
                  </a:lnTo>
                  <a:lnTo>
                    <a:pt x="46" y="69"/>
                  </a:lnTo>
                  <a:lnTo>
                    <a:pt x="41" y="69"/>
                  </a:lnTo>
                  <a:lnTo>
                    <a:pt x="35" y="71"/>
                  </a:lnTo>
                  <a:lnTo>
                    <a:pt x="34" y="72"/>
                  </a:lnTo>
                  <a:lnTo>
                    <a:pt x="30" y="75"/>
                  </a:lnTo>
                  <a:lnTo>
                    <a:pt x="25" y="79"/>
                  </a:lnTo>
                  <a:lnTo>
                    <a:pt x="21" y="80"/>
                  </a:lnTo>
                  <a:lnTo>
                    <a:pt x="16" y="82"/>
                  </a:lnTo>
                  <a:lnTo>
                    <a:pt x="8" y="83"/>
                  </a:lnTo>
                  <a:lnTo>
                    <a:pt x="9" y="80"/>
                  </a:lnTo>
                  <a:lnTo>
                    <a:pt x="8" y="76"/>
                  </a:lnTo>
                  <a:lnTo>
                    <a:pt x="3" y="76"/>
                  </a:lnTo>
                  <a:lnTo>
                    <a:pt x="2" y="72"/>
                  </a:lnTo>
                  <a:lnTo>
                    <a:pt x="7" y="69"/>
                  </a:lnTo>
                  <a:lnTo>
                    <a:pt x="0" y="69"/>
                  </a:lnTo>
                  <a:lnTo>
                    <a:pt x="0" y="67"/>
                  </a:lnTo>
                  <a:lnTo>
                    <a:pt x="8" y="67"/>
                  </a:lnTo>
                  <a:lnTo>
                    <a:pt x="9" y="66"/>
                  </a:lnTo>
                  <a:lnTo>
                    <a:pt x="9" y="64"/>
                  </a:lnTo>
                  <a:lnTo>
                    <a:pt x="10" y="61"/>
                  </a:lnTo>
                  <a:lnTo>
                    <a:pt x="13" y="60"/>
                  </a:lnTo>
                  <a:lnTo>
                    <a:pt x="17" y="60"/>
                  </a:lnTo>
                  <a:lnTo>
                    <a:pt x="17" y="57"/>
                  </a:lnTo>
                  <a:lnTo>
                    <a:pt x="11" y="58"/>
                  </a:lnTo>
                  <a:lnTo>
                    <a:pt x="13" y="54"/>
                  </a:lnTo>
                  <a:lnTo>
                    <a:pt x="12" y="52"/>
                  </a:lnTo>
                  <a:lnTo>
                    <a:pt x="15" y="48"/>
                  </a:lnTo>
                  <a:lnTo>
                    <a:pt x="19" y="47"/>
                  </a:lnTo>
                  <a:lnTo>
                    <a:pt x="20" y="46"/>
                  </a:lnTo>
                  <a:lnTo>
                    <a:pt x="19" y="43"/>
                  </a:lnTo>
                  <a:lnTo>
                    <a:pt x="17" y="45"/>
                  </a:lnTo>
                  <a:lnTo>
                    <a:pt x="15" y="44"/>
                  </a:lnTo>
                  <a:lnTo>
                    <a:pt x="13" y="44"/>
                  </a:lnTo>
                  <a:lnTo>
                    <a:pt x="11" y="42"/>
                  </a:lnTo>
                  <a:lnTo>
                    <a:pt x="9" y="42"/>
                  </a:lnTo>
                  <a:lnTo>
                    <a:pt x="8" y="43"/>
                  </a:lnTo>
                  <a:lnTo>
                    <a:pt x="4" y="42"/>
                  </a:lnTo>
                  <a:lnTo>
                    <a:pt x="6" y="39"/>
                  </a:lnTo>
                  <a:lnTo>
                    <a:pt x="4" y="37"/>
                  </a:lnTo>
                  <a:lnTo>
                    <a:pt x="9" y="36"/>
                  </a:lnTo>
                  <a:lnTo>
                    <a:pt x="8" y="33"/>
                  </a:lnTo>
                  <a:lnTo>
                    <a:pt x="10" y="31"/>
                  </a:lnTo>
                  <a:lnTo>
                    <a:pt x="7" y="28"/>
                  </a:lnTo>
                  <a:lnTo>
                    <a:pt x="4" y="30"/>
                  </a:lnTo>
                  <a:lnTo>
                    <a:pt x="4" y="25"/>
                  </a:lnTo>
                  <a:lnTo>
                    <a:pt x="6" y="22"/>
                  </a:lnTo>
                  <a:lnTo>
                    <a:pt x="8" y="21"/>
                  </a:lnTo>
                  <a:lnTo>
                    <a:pt x="13" y="22"/>
                  </a:lnTo>
                  <a:lnTo>
                    <a:pt x="15" y="22"/>
                  </a:lnTo>
                  <a:lnTo>
                    <a:pt x="18" y="22"/>
                  </a:lnTo>
                  <a:lnTo>
                    <a:pt x="25" y="24"/>
                  </a:lnTo>
                  <a:lnTo>
                    <a:pt x="23" y="20"/>
                  </a:lnTo>
                  <a:lnTo>
                    <a:pt x="28" y="17"/>
                  </a:lnTo>
                  <a:lnTo>
                    <a:pt x="29" y="14"/>
                  </a:lnTo>
                  <a:lnTo>
                    <a:pt x="22" y="14"/>
                  </a:lnTo>
                  <a:lnTo>
                    <a:pt x="22" y="12"/>
                  </a:lnTo>
                  <a:lnTo>
                    <a:pt x="26" y="11"/>
                  </a:lnTo>
                  <a:lnTo>
                    <a:pt x="26" y="8"/>
                  </a:lnTo>
                  <a:lnTo>
                    <a:pt x="28" y="3"/>
                  </a:lnTo>
                  <a:lnTo>
                    <a:pt x="31" y="1"/>
                  </a:lnTo>
                  <a:lnTo>
                    <a:pt x="35" y="0"/>
                  </a:lnTo>
                  <a:lnTo>
                    <a:pt x="37" y="3"/>
                  </a:lnTo>
                  <a:lnTo>
                    <a:pt x="39" y="4"/>
                  </a:lnTo>
                  <a:lnTo>
                    <a:pt x="40" y="4"/>
                  </a:lnTo>
                  <a:lnTo>
                    <a:pt x="40" y="6"/>
                  </a:lnTo>
                  <a:lnTo>
                    <a:pt x="38" y="11"/>
                  </a:lnTo>
                  <a:lnTo>
                    <a:pt x="33" y="12"/>
                  </a:lnTo>
                  <a:lnTo>
                    <a:pt x="36" y="15"/>
                  </a:lnTo>
                  <a:lnTo>
                    <a:pt x="31" y="18"/>
                  </a:lnTo>
                  <a:lnTo>
                    <a:pt x="31" y="21"/>
                  </a:lnTo>
                  <a:lnTo>
                    <a:pt x="34" y="24"/>
                  </a:lnTo>
                  <a:lnTo>
                    <a:pt x="38" y="25"/>
                  </a:lnTo>
                  <a:lnTo>
                    <a:pt x="43" y="23"/>
                  </a:lnTo>
                  <a:lnTo>
                    <a:pt x="44" y="19"/>
                  </a:lnTo>
                  <a:lnTo>
                    <a:pt x="46" y="20"/>
                  </a:lnTo>
                  <a:lnTo>
                    <a:pt x="47" y="23"/>
                  </a:lnTo>
                  <a:lnTo>
                    <a:pt x="50" y="24"/>
                  </a:lnTo>
                  <a:lnTo>
                    <a:pt x="49" y="27"/>
                  </a:lnTo>
                  <a:lnTo>
                    <a:pt x="55" y="26"/>
                  </a:lnTo>
                  <a:lnTo>
                    <a:pt x="56" y="2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7" name="Freeform 29">
              <a:extLst>
                <a:ext uri="{FF2B5EF4-FFF2-40B4-BE49-F238E27FC236}">
                  <a16:creationId xmlns:a16="http://schemas.microsoft.com/office/drawing/2014/main" id="{634F1136-1398-789F-B1B8-1BCDB553D8DC}"/>
                </a:ext>
              </a:extLst>
            </p:cNvPr>
            <p:cNvSpPr>
              <a:spLocks/>
            </p:cNvSpPr>
            <p:nvPr/>
          </p:nvSpPr>
          <p:spPr bwMode="auto">
            <a:xfrm>
              <a:off x="4012784" y="5062538"/>
              <a:ext cx="95250" cy="152400"/>
            </a:xfrm>
            <a:custGeom>
              <a:avLst/>
              <a:gdLst/>
              <a:ahLst/>
              <a:cxnLst>
                <a:cxn ang="0">
                  <a:pos x="7" y="41"/>
                </a:cxn>
                <a:cxn ang="0">
                  <a:pos x="0" y="34"/>
                </a:cxn>
                <a:cxn ang="0">
                  <a:pos x="3" y="30"/>
                </a:cxn>
                <a:cxn ang="0">
                  <a:pos x="3" y="23"/>
                </a:cxn>
                <a:cxn ang="0">
                  <a:pos x="12" y="21"/>
                </a:cxn>
                <a:cxn ang="0">
                  <a:pos x="13" y="18"/>
                </a:cxn>
                <a:cxn ang="0">
                  <a:pos x="9" y="13"/>
                </a:cxn>
                <a:cxn ang="0">
                  <a:pos x="19" y="4"/>
                </a:cxn>
                <a:cxn ang="0">
                  <a:pos x="19" y="0"/>
                </a:cxn>
                <a:cxn ang="0">
                  <a:pos x="22" y="2"/>
                </a:cxn>
                <a:cxn ang="0">
                  <a:pos x="32" y="9"/>
                </a:cxn>
                <a:cxn ang="0">
                  <a:pos x="36" y="15"/>
                </a:cxn>
                <a:cxn ang="0">
                  <a:pos x="36" y="25"/>
                </a:cxn>
                <a:cxn ang="0">
                  <a:pos x="39" y="21"/>
                </a:cxn>
                <a:cxn ang="0">
                  <a:pos x="44" y="22"/>
                </a:cxn>
                <a:cxn ang="0">
                  <a:pos x="51" y="28"/>
                </a:cxn>
                <a:cxn ang="0">
                  <a:pos x="55" y="34"/>
                </a:cxn>
                <a:cxn ang="0">
                  <a:pos x="54" y="39"/>
                </a:cxn>
                <a:cxn ang="0">
                  <a:pos x="53" y="46"/>
                </a:cxn>
                <a:cxn ang="0">
                  <a:pos x="45" y="48"/>
                </a:cxn>
                <a:cxn ang="0">
                  <a:pos x="45" y="55"/>
                </a:cxn>
                <a:cxn ang="0">
                  <a:pos x="47" y="64"/>
                </a:cxn>
                <a:cxn ang="0">
                  <a:pos x="53" y="68"/>
                </a:cxn>
                <a:cxn ang="0">
                  <a:pos x="55" y="75"/>
                </a:cxn>
                <a:cxn ang="0">
                  <a:pos x="60" y="85"/>
                </a:cxn>
                <a:cxn ang="0">
                  <a:pos x="54" y="86"/>
                </a:cxn>
                <a:cxn ang="0">
                  <a:pos x="43" y="90"/>
                </a:cxn>
                <a:cxn ang="0">
                  <a:pos x="36" y="95"/>
                </a:cxn>
                <a:cxn ang="0">
                  <a:pos x="28" y="93"/>
                </a:cxn>
                <a:cxn ang="0">
                  <a:pos x="21" y="86"/>
                </a:cxn>
                <a:cxn ang="0">
                  <a:pos x="21" y="82"/>
                </a:cxn>
                <a:cxn ang="0">
                  <a:pos x="18" y="78"/>
                </a:cxn>
                <a:cxn ang="0">
                  <a:pos x="19" y="69"/>
                </a:cxn>
                <a:cxn ang="0">
                  <a:pos x="23" y="59"/>
                </a:cxn>
                <a:cxn ang="0">
                  <a:pos x="18" y="52"/>
                </a:cxn>
                <a:cxn ang="0">
                  <a:pos x="18" y="46"/>
                </a:cxn>
                <a:cxn ang="0">
                  <a:pos x="17" y="44"/>
                </a:cxn>
                <a:cxn ang="0">
                  <a:pos x="12" y="44"/>
                </a:cxn>
              </a:cxnLst>
              <a:rect l="0" t="0" r="r" b="b"/>
              <a:pathLst>
                <a:path w="60" h="96">
                  <a:moveTo>
                    <a:pt x="10" y="45"/>
                  </a:moveTo>
                  <a:lnTo>
                    <a:pt x="7" y="41"/>
                  </a:lnTo>
                  <a:lnTo>
                    <a:pt x="2" y="37"/>
                  </a:lnTo>
                  <a:lnTo>
                    <a:pt x="0" y="34"/>
                  </a:lnTo>
                  <a:lnTo>
                    <a:pt x="1" y="33"/>
                  </a:lnTo>
                  <a:lnTo>
                    <a:pt x="3" y="30"/>
                  </a:lnTo>
                  <a:lnTo>
                    <a:pt x="3" y="26"/>
                  </a:lnTo>
                  <a:lnTo>
                    <a:pt x="3" y="23"/>
                  </a:lnTo>
                  <a:lnTo>
                    <a:pt x="9" y="22"/>
                  </a:lnTo>
                  <a:lnTo>
                    <a:pt x="12" y="21"/>
                  </a:lnTo>
                  <a:lnTo>
                    <a:pt x="14" y="19"/>
                  </a:lnTo>
                  <a:lnTo>
                    <a:pt x="13" y="18"/>
                  </a:lnTo>
                  <a:lnTo>
                    <a:pt x="9" y="14"/>
                  </a:lnTo>
                  <a:lnTo>
                    <a:pt x="9" y="13"/>
                  </a:lnTo>
                  <a:lnTo>
                    <a:pt x="9" y="12"/>
                  </a:lnTo>
                  <a:lnTo>
                    <a:pt x="19" y="4"/>
                  </a:lnTo>
                  <a:lnTo>
                    <a:pt x="20" y="2"/>
                  </a:lnTo>
                  <a:lnTo>
                    <a:pt x="19" y="0"/>
                  </a:lnTo>
                  <a:lnTo>
                    <a:pt x="20" y="0"/>
                  </a:lnTo>
                  <a:lnTo>
                    <a:pt x="22" y="2"/>
                  </a:lnTo>
                  <a:lnTo>
                    <a:pt x="27" y="6"/>
                  </a:lnTo>
                  <a:lnTo>
                    <a:pt x="32" y="9"/>
                  </a:lnTo>
                  <a:lnTo>
                    <a:pt x="35" y="12"/>
                  </a:lnTo>
                  <a:lnTo>
                    <a:pt x="36" y="15"/>
                  </a:lnTo>
                  <a:lnTo>
                    <a:pt x="35" y="19"/>
                  </a:lnTo>
                  <a:lnTo>
                    <a:pt x="36" y="25"/>
                  </a:lnTo>
                  <a:lnTo>
                    <a:pt x="38" y="21"/>
                  </a:lnTo>
                  <a:lnTo>
                    <a:pt x="39" y="21"/>
                  </a:lnTo>
                  <a:lnTo>
                    <a:pt x="43" y="22"/>
                  </a:lnTo>
                  <a:lnTo>
                    <a:pt x="44" y="22"/>
                  </a:lnTo>
                  <a:lnTo>
                    <a:pt x="47" y="24"/>
                  </a:lnTo>
                  <a:lnTo>
                    <a:pt x="51" y="28"/>
                  </a:lnTo>
                  <a:lnTo>
                    <a:pt x="53" y="30"/>
                  </a:lnTo>
                  <a:lnTo>
                    <a:pt x="55" y="34"/>
                  </a:lnTo>
                  <a:lnTo>
                    <a:pt x="55" y="36"/>
                  </a:lnTo>
                  <a:lnTo>
                    <a:pt x="54" y="39"/>
                  </a:lnTo>
                  <a:lnTo>
                    <a:pt x="54" y="44"/>
                  </a:lnTo>
                  <a:lnTo>
                    <a:pt x="53" y="46"/>
                  </a:lnTo>
                  <a:lnTo>
                    <a:pt x="46" y="46"/>
                  </a:lnTo>
                  <a:lnTo>
                    <a:pt x="45" y="48"/>
                  </a:lnTo>
                  <a:lnTo>
                    <a:pt x="45" y="52"/>
                  </a:lnTo>
                  <a:lnTo>
                    <a:pt x="45" y="55"/>
                  </a:lnTo>
                  <a:lnTo>
                    <a:pt x="43" y="59"/>
                  </a:lnTo>
                  <a:lnTo>
                    <a:pt x="47" y="64"/>
                  </a:lnTo>
                  <a:lnTo>
                    <a:pt x="50" y="68"/>
                  </a:lnTo>
                  <a:lnTo>
                    <a:pt x="53" y="68"/>
                  </a:lnTo>
                  <a:lnTo>
                    <a:pt x="54" y="70"/>
                  </a:lnTo>
                  <a:lnTo>
                    <a:pt x="55" y="75"/>
                  </a:lnTo>
                  <a:lnTo>
                    <a:pt x="58" y="81"/>
                  </a:lnTo>
                  <a:lnTo>
                    <a:pt x="60" y="85"/>
                  </a:lnTo>
                  <a:lnTo>
                    <a:pt x="60" y="86"/>
                  </a:lnTo>
                  <a:lnTo>
                    <a:pt x="54" y="86"/>
                  </a:lnTo>
                  <a:lnTo>
                    <a:pt x="49" y="88"/>
                  </a:lnTo>
                  <a:lnTo>
                    <a:pt x="43" y="90"/>
                  </a:lnTo>
                  <a:lnTo>
                    <a:pt x="40" y="92"/>
                  </a:lnTo>
                  <a:lnTo>
                    <a:pt x="36" y="95"/>
                  </a:lnTo>
                  <a:lnTo>
                    <a:pt x="32" y="96"/>
                  </a:lnTo>
                  <a:lnTo>
                    <a:pt x="28" y="93"/>
                  </a:lnTo>
                  <a:lnTo>
                    <a:pt x="22" y="88"/>
                  </a:lnTo>
                  <a:lnTo>
                    <a:pt x="21" y="86"/>
                  </a:lnTo>
                  <a:lnTo>
                    <a:pt x="21" y="84"/>
                  </a:lnTo>
                  <a:lnTo>
                    <a:pt x="21" y="82"/>
                  </a:lnTo>
                  <a:lnTo>
                    <a:pt x="20" y="80"/>
                  </a:lnTo>
                  <a:lnTo>
                    <a:pt x="18" y="78"/>
                  </a:lnTo>
                  <a:lnTo>
                    <a:pt x="18" y="75"/>
                  </a:lnTo>
                  <a:lnTo>
                    <a:pt x="19" y="69"/>
                  </a:lnTo>
                  <a:lnTo>
                    <a:pt x="22" y="61"/>
                  </a:lnTo>
                  <a:lnTo>
                    <a:pt x="23" y="59"/>
                  </a:lnTo>
                  <a:lnTo>
                    <a:pt x="21" y="53"/>
                  </a:lnTo>
                  <a:lnTo>
                    <a:pt x="18" y="52"/>
                  </a:lnTo>
                  <a:lnTo>
                    <a:pt x="16" y="52"/>
                  </a:lnTo>
                  <a:lnTo>
                    <a:pt x="18" y="46"/>
                  </a:lnTo>
                  <a:lnTo>
                    <a:pt x="18" y="45"/>
                  </a:lnTo>
                  <a:lnTo>
                    <a:pt x="17" y="44"/>
                  </a:lnTo>
                  <a:lnTo>
                    <a:pt x="14" y="43"/>
                  </a:lnTo>
                  <a:lnTo>
                    <a:pt x="12" y="44"/>
                  </a:lnTo>
                  <a:lnTo>
                    <a:pt x="10" y="4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8" name="Freeform 30">
              <a:extLst>
                <a:ext uri="{FF2B5EF4-FFF2-40B4-BE49-F238E27FC236}">
                  <a16:creationId xmlns:a16="http://schemas.microsoft.com/office/drawing/2014/main" id="{97789C2C-26C9-9240-23E1-AD2E6DE4B9CC}"/>
                </a:ext>
              </a:extLst>
            </p:cNvPr>
            <p:cNvSpPr>
              <a:spLocks noEditPoints="1"/>
            </p:cNvSpPr>
            <p:nvPr/>
          </p:nvSpPr>
          <p:spPr bwMode="auto">
            <a:xfrm>
              <a:off x="5116096" y="3730625"/>
              <a:ext cx="203200" cy="307975"/>
            </a:xfrm>
            <a:custGeom>
              <a:avLst/>
              <a:gdLst/>
              <a:ahLst/>
              <a:cxnLst>
                <a:cxn ang="0">
                  <a:pos x="109" y="127"/>
                </a:cxn>
                <a:cxn ang="0">
                  <a:pos x="112" y="133"/>
                </a:cxn>
                <a:cxn ang="0">
                  <a:pos x="127" y="137"/>
                </a:cxn>
                <a:cxn ang="0">
                  <a:pos x="119" y="155"/>
                </a:cxn>
                <a:cxn ang="0">
                  <a:pos x="119" y="165"/>
                </a:cxn>
                <a:cxn ang="0">
                  <a:pos x="117" y="173"/>
                </a:cxn>
                <a:cxn ang="0">
                  <a:pos x="103" y="177"/>
                </a:cxn>
                <a:cxn ang="0">
                  <a:pos x="88" y="177"/>
                </a:cxn>
                <a:cxn ang="0">
                  <a:pos x="73" y="181"/>
                </a:cxn>
                <a:cxn ang="0">
                  <a:pos x="59" y="186"/>
                </a:cxn>
                <a:cxn ang="0">
                  <a:pos x="51" y="185"/>
                </a:cxn>
                <a:cxn ang="0">
                  <a:pos x="37" y="194"/>
                </a:cxn>
                <a:cxn ang="0">
                  <a:pos x="40" y="182"/>
                </a:cxn>
                <a:cxn ang="0">
                  <a:pos x="48" y="173"/>
                </a:cxn>
                <a:cxn ang="0">
                  <a:pos x="60" y="168"/>
                </a:cxn>
                <a:cxn ang="0">
                  <a:pos x="70" y="159"/>
                </a:cxn>
                <a:cxn ang="0">
                  <a:pos x="40" y="158"/>
                </a:cxn>
                <a:cxn ang="0">
                  <a:pos x="45" y="149"/>
                </a:cxn>
                <a:cxn ang="0">
                  <a:pos x="52" y="134"/>
                </a:cxn>
                <a:cxn ang="0">
                  <a:pos x="49" y="128"/>
                </a:cxn>
                <a:cxn ang="0">
                  <a:pos x="66" y="119"/>
                </a:cxn>
                <a:cxn ang="0">
                  <a:pos x="63" y="105"/>
                </a:cxn>
                <a:cxn ang="0">
                  <a:pos x="65" y="89"/>
                </a:cxn>
                <a:cxn ang="0">
                  <a:pos x="52" y="91"/>
                </a:cxn>
                <a:cxn ang="0">
                  <a:pos x="42" y="92"/>
                </a:cxn>
                <a:cxn ang="0">
                  <a:pos x="45" y="75"/>
                </a:cxn>
                <a:cxn ang="0">
                  <a:pos x="44" y="66"/>
                </a:cxn>
                <a:cxn ang="0">
                  <a:pos x="39" y="65"/>
                </a:cxn>
                <a:cxn ang="0">
                  <a:pos x="34" y="58"/>
                </a:cxn>
                <a:cxn ang="0">
                  <a:pos x="33" y="47"/>
                </a:cxn>
                <a:cxn ang="0">
                  <a:pos x="29" y="45"/>
                </a:cxn>
                <a:cxn ang="0">
                  <a:pos x="33" y="32"/>
                </a:cxn>
                <a:cxn ang="0">
                  <a:pos x="37" y="21"/>
                </a:cxn>
                <a:cxn ang="0">
                  <a:pos x="39" y="5"/>
                </a:cxn>
                <a:cxn ang="0">
                  <a:pos x="56" y="2"/>
                </a:cxn>
                <a:cxn ang="0">
                  <a:pos x="64" y="8"/>
                </a:cxn>
                <a:cxn ang="0">
                  <a:pos x="52" y="25"/>
                </a:cxn>
                <a:cxn ang="0">
                  <a:pos x="69" y="26"/>
                </a:cxn>
                <a:cxn ang="0">
                  <a:pos x="77" y="37"/>
                </a:cxn>
                <a:cxn ang="0">
                  <a:pos x="71" y="51"/>
                </a:cxn>
                <a:cxn ang="0">
                  <a:pos x="70" y="58"/>
                </a:cxn>
                <a:cxn ang="0">
                  <a:pos x="63" y="63"/>
                </a:cxn>
                <a:cxn ang="0">
                  <a:pos x="62" y="66"/>
                </a:cxn>
                <a:cxn ang="0">
                  <a:pos x="73" y="65"/>
                </a:cxn>
                <a:cxn ang="0">
                  <a:pos x="84" y="77"/>
                </a:cxn>
                <a:cxn ang="0">
                  <a:pos x="90" y="95"/>
                </a:cxn>
                <a:cxn ang="0">
                  <a:pos x="103" y="112"/>
                </a:cxn>
                <a:cxn ang="0">
                  <a:pos x="24" y="106"/>
                </a:cxn>
                <a:cxn ang="0">
                  <a:pos x="15" y="100"/>
                </a:cxn>
                <a:cxn ang="0">
                  <a:pos x="3" y="104"/>
                </a:cxn>
                <a:cxn ang="0">
                  <a:pos x="2" y="92"/>
                </a:cxn>
                <a:cxn ang="0">
                  <a:pos x="12" y="83"/>
                </a:cxn>
                <a:cxn ang="0">
                  <a:pos x="24" y="82"/>
                </a:cxn>
                <a:cxn ang="0">
                  <a:pos x="31" y="93"/>
                </a:cxn>
                <a:cxn ang="0">
                  <a:pos x="28" y="107"/>
                </a:cxn>
                <a:cxn ang="0">
                  <a:pos x="31" y="74"/>
                </a:cxn>
                <a:cxn ang="0">
                  <a:pos x="33" y="78"/>
                </a:cxn>
              </a:cxnLst>
              <a:rect l="0" t="0" r="r" b="b"/>
              <a:pathLst>
                <a:path w="128" h="194">
                  <a:moveTo>
                    <a:pt x="103" y="119"/>
                  </a:moveTo>
                  <a:lnTo>
                    <a:pt x="107" y="122"/>
                  </a:lnTo>
                  <a:lnTo>
                    <a:pt x="108" y="123"/>
                  </a:lnTo>
                  <a:lnTo>
                    <a:pt x="109" y="127"/>
                  </a:lnTo>
                  <a:lnTo>
                    <a:pt x="109" y="129"/>
                  </a:lnTo>
                  <a:lnTo>
                    <a:pt x="106" y="135"/>
                  </a:lnTo>
                  <a:lnTo>
                    <a:pt x="110" y="136"/>
                  </a:lnTo>
                  <a:lnTo>
                    <a:pt x="112" y="133"/>
                  </a:lnTo>
                  <a:lnTo>
                    <a:pt x="115" y="132"/>
                  </a:lnTo>
                  <a:lnTo>
                    <a:pt x="119" y="132"/>
                  </a:lnTo>
                  <a:lnTo>
                    <a:pt x="124" y="134"/>
                  </a:lnTo>
                  <a:lnTo>
                    <a:pt x="127" y="137"/>
                  </a:lnTo>
                  <a:lnTo>
                    <a:pt x="128" y="145"/>
                  </a:lnTo>
                  <a:lnTo>
                    <a:pt x="127" y="147"/>
                  </a:lnTo>
                  <a:lnTo>
                    <a:pt x="126" y="151"/>
                  </a:lnTo>
                  <a:lnTo>
                    <a:pt x="119" y="155"/>
                  </a:lnTo>
                  <a:lnTo>
                    <a:pt x="115" y="161"/>
                  </a:lnTo>
                  <a:lnTo>
                    <a:pt x="109" y="163"/>
                  </a:lnTo>
                  <a:lnTo>
                    <a:pt x="116" y="164"/>
                  </a:lnTo>
                  <a:lnTo>
                    <a:pt x="119" y="165"/>
                  </a:lnTo>
                  <a:lnTo>
                    <a:pt x="121" y="164"/>
                  </a:lnTo>
                  <a:lnTo>
                    <a:pt x="124" y="165"/>
                  </a:lnTo>
                  <a:lnTo>
                    <a:pt x="123" y="170"/>
                  </a:lnTo>
                  <a:lnTo>
                    <a:pt x="117" y="173"/>
                  </a:lnTo>
                  <a:lnTo>
                    <a:pt x="117" y="174"/>
                  </a:lnTo>
                  <a:lnTo>
                    <a:pt x="115" y="174"/>
                  </a:lnTo>
                  <a:lnTo>
                    <a:pt x="108" y="178"/>
                  </a:lnTo>
                  <a:lnTo>
                    <a:pt x="103" y="177"/>
                  </a:lnTo>
                  <a:lnTo>
                    <a:pt x="102" y="176"/>
                  </a:lnTo>
                  <a:lnTo>
                    <a:pt x="95" y="178"/>
                  </a:lnTo>
                  <a:lnTo>
                    <a:pt x="91" y="176"/>
                  </a:lnTo>
                  <a:lnTo>
                    <a:pt x="88" y="177"/>
                  </a:lnTo>
                  <a:lnTo>
                    <a:pt x="79" y="179"/>
                  </a:lnTo>
                  <a:lnTo>
                    <a:pt x="79" y="181"/>
                  </a:lnTo>
                  <a:lnTo>
                    <a:pt x="74" y="180"/>
                  </a:lnTo>
                  <a:lnTo>
                    <a:pt x="73" y="181"/>
                  </a:lnTo>
                  <a:lnTo>
                    <a:pt x="67" y="178"/>
                  </a:lnTo>
                  <a:lnTo>
                    <a:pt x="65" y="179"/>
                  </a:lnTo>
                  <a:lnTo>
                    <a:pt x="60" y="180"/>
                  </a:lnTo>
                  <a:lnTo>
                    <a:pt x="59" y="186"/>
                  </a:lnTo>
                  <a:lnTo>
                    <a:pt x="57" y="188"/>
                  </a:lnTo>
                  <a:lnTo>
                    <a:pt x="55" y="189"/>
                  </a:lnTo>
                  <a:lnTo>
                    <a:pt x="54" y="186"/>
                  </a:lnTo>
                  <a:lnTo>
                    <a:pt x="51" y="185"/>
                  </a:lnTo>
                  <a:lnTo>
                    <a:pt x="49" y="186"/>
                  </a:lnTo>
                  <a:lnTo>
                    <a:pt x="46" y="186"/>
                  </a:lnTo>
                  <a:lnTo>
                    <a:pt x="41" y="189"/>
                  </a:lnTo>
                  <a:lnTo>
                    <a:pt x="37" y="194"/>
                  </a:lnTo>
                  <a:lnTo>
                    <a:pt x="35" y="192"/>
                  </a:lnTo>
                  <a:lnTo>
                    <a:pt x="30" y="190"/>
                  </a:lnTo>
                  <a:lnTo>
                    <a:pt x="37" y="186"/>
                  </a:lnTo>
                  <a:lnTo>
                    <a:pt x="40" y="182"/>
                  </a:lnTo>
                  <a:lnTo>
                    <a:pt x="43" y="180"/>
                  </a:lnTo>
                  <a:lnTo>
                    <a:pt x="46" y="177"/>
                  </a:lnTo>
                  <a:lnTo>
                    <a:pt x="46" y="173"/>
                  </a:lnTo>
                  <a:lnTo>
                    <a:pt x="48" y="173"/>
                  </a:lnTo>
                  <a:lnTo>
                    <a:pt x="50" y="171"/>
                  </a:lnTo>
                  <a:lnTo>
                    <a:pt x="50" y="168"/>
                  </a:lnTo>
                  <a:lnTo>
                    <a:pt x="56" y="167"/>
                  </a:lnTo>
                  <a:lnTo>
                    <a:pt x="60" y="168"/>
                  </a:lnTo>
                  <a:lnTo>
                    <a:pt x="66" y="169"/>
                  </a:lnTo>
                  <a:lnTo>
                    <a:pt x="66" y="165"/>
                  </a:lnTo>
                  <a:lnTo>
                    <a:pt x="68" y="164"/>
                  </a:lnTo>
                  <a:lnTo>
                    <a:pt x="70" y="159"/>
                  </a:lnTo>
                  <a:lnTo>
                    <a:pt x="64" y="162"/>
                  </a:lnTo>
                  <a:lnTo>
                    <a:pt x="60" y="163"/>
                  </a:lnTo>
                  <a:lnTo>
                    <a:pt x="51" y="158"/>
                  </a:lnTo>
                  <a:lnTo>
                    <a:pt x="40" y="158"/>
                  </a:lnTo>
                  <a:lnTo>
                    <a:pt x="38" y="156"/>
                  </a:lnTo>
                  <a:lnTo>
                    <a:pt x="37" y="154"/>
                  </a:lnTo>
                  <a:lnTo>
                    <a:pt x="40" y="151"/>
                  </a:lnTo>
                  <a:lnTo>
                    <a:pt x="45" y="149"/>
                  </a:lnTo>
                  <a:lnTo>
                    <a:pt x="50" y="147"/>
                  </a:lnTo>
                  <a:lnTo>
                    <a:pt x="52" y="143"/>
                  </a:lnTo>
                  <a:lnTo>
                    <a:pt x="52" y="135"/>
                  </a:lnTo>
                  <a:lnTo>
                    <a:pt x="52" y="134"/>
                  </a:lnTo>
                  <a:lnTo>
                    <a:pt x="48" y="134"/>
                  </a:lnTo>
                  <a:lnTo>
                    <a:pt x="45" y="134"/>
                  </a:lnTo>
                  <a:lnTo>
                    <a:pt x="47" y="130"/>
                  </a:lnTo>
                  <a:lnTo>
                    <a:pt x="49" y="128"/>
                  </a:lnTo>
                  <a:lnTo>
                    <a:pt x="54" y="125"/>
                  </a:lnTo>
                  <a:lnTo>
                    <a:pt x="62" y="125"/>
                  </a:lnTo>
                  <a:lnTo>
                    <a:pt x="68" y="124"/>
                  </a:lnTo>
                  <a:lnTo>
                    <a:pt x="66" y="119"/>
                  </a:lnTo>
                  <a:lnTo>
                    <a:pt x="67" y="112"/>
                  </a:lnTo>
                  <a:lnTo>
                    <a:pt x="69" y="107"/>
                  </a:lnTo>
                  <a:lnTo>
                    <a:pt x="68" y="104"/>
                  </a:lnTo>
                  <a:lnTo>
                    <a:pt x="63" y="105"/>
                  </a:lnTo>
                  <a:lnTo>
                    <a:pt x="60" y="102"/>
                  </a:lnTo>
                  <a:lnTo>
                    <a:pt x="59" y="99"/>
                  </a:lnTo>
                  <a:lnTo>
                    <a:pt x="61" y="93"/>
                  </a:lnTo>
                  <a:lnTo>
                    <a:pt x="65" y="89"/>
                  </a:lnTo>
                  <a:lnTo>
                    <a:pt x="63" y="88"/>
                  </a:lnTo>
                  <a:lnTo>
                    <a:pt x="59" y="87"/>
                  </a:lnTo>
                  <a:lnTo>
                    <a:pt x="55" y="90"/>
                  </a:lnTo>
                  <a:lnTo>
                    <a:pt x="52" y="91"/>
                  </a:lnTo>
                  <a:lnTo>
                    <a:pt x="48" y="89"/>
                  </a:lnTo>
                  <a:lnTo>
                    <a:pt x="47" y="90"/>
                  </a:lnTo>
                  <a:lnTo>
                    <a:pt x="46" y="92"/>
                  </a:lnTo>
                  <a:lnTo>
                    <a:pt x="42" y="92"/>
                  </a:lnTo>
                  <a:lnTo>
                    <a:pt x="39" y="90"/>
                  </a:lnTo>
                  <a:lnTo>
                    <a:pt x="40" y="87"/>
                  </a:lnTo>
                  <a:lnTo>
                    <a:pt x="42" y="83"/>
                  </a:lnTo>
                  <a:lnTo>
                    <a:pt x="45" y="75"/>
                  </a:lnTo>
                  <a:lnTo>
                    <a:pt x="43" y="74"/>
                  </a:lnTo>
                  <a:lnTo>
                    <a:pt x="42" y="70"/>
                  </a:lnTo>
                  <a:lnTo>
                    <a:pt x="42" y="68"/>
                  </a:lnTo>
                  <a:lnTo>
                    <a:pt x="44" y="66"/>
                  </a:lnTo>
                  <a:lnTo>
                    <a:pt x="45" y="65"/>
                  </a:lnTo>
                  <a:lnTo>
                    <a:pt x="44" y="59"/>
                  </a:lnTo>
                  <a:lnTo>
                    <a:pt x="42" y="60"/>
                  </a:lnTo>
                  <a:lnTo>
                    <a:pt x="39" y="65"/>
                  </a:lnTo>
                  <a:lnTo>
                    <a:pt x="36" y="65"/>
                  </a:lnTo>
                  <a:lnTo>
                    <a:pt x="33" y="68"/>
                  </a:lnTo>
                  <a:lnTo>
                    <a:pt x="32" y="64"/>
                  </a:lnTo>
                  <a:lnTo>
                    <a:pt x="34" y="58"/>
                  </a:lnTo>
                  <a:lnTo>
                    <a:pt x="37" y="52"/>
                  </a:lnTo>
                  <a:lnTo>
                    <a:pt x="37" y="50"/>
                  </a:lnTo>
                  <a:lnTo>
                    <a:pt x="34" y="47"/>
                  </a:lnTo>
                  <a:lnTo>
                    <a:pt x="33" y="47"/>
                  </a:lnTo>
                  <a:lnTo>
                    <a:pt x="32" y="50"/>
                  </a:lnTo>
                  <a:lnTo>
                    <a:pt x="30" y="53"/>
                  </a:lnTo>
                  <a:lnTo>
                    <a:pt x="27" y="51"/>
                  </a:lnTo>
                  <a:lnTo>
                    <a:pt x="29" y="45"/>
                  </a:lnTo>
                  <a:lnTo>
                    <a:pt x="32" y="40"/>
                  </a:lnTo>
                  <a:lnTo>
                    <a:pt x="32" y="39"/>
                  </a:lnTo>
                  <a:lnTo>
                    <a:pt x="31" y="32"/>
                  </a:lnTo>
                  <a:lnTo>
                    <a:pt x="33" y="32"/>
                  </a:lnTo>
                  <a:lnTo>
                    <a:pt x="34" y="29"/>
                  </a:lnTo>
                  <a:lnTo>
                    <a:pt x="31" y="24"/>
                  </a:lnTo>
                  <a:lnTo>
                    <a:pt x="33" y="20"/>
                  </a:lnTo>
                  <a:lnTo>
                    <a:pt x="37" y="21"/>
                  </a:lnTo>
                  <a:lnTo>
                    <a:pt x="40" y="20"/>
                  </a:lnTo>
                  <a:lnTo>
                    <a:pt x="36" y="12"/>
                  </a:lnTo>
                  <a:lnTo>
                    <a:pt x="42" y="10"/>
                  </a:lnTo>
                  <a:lnTo>
                    <a:pt x="39" y="5"/>
                  </a:lnTo>
                  <a:lnTo>
                    <a:pt x="42" y="0"/>
                  </a:lnTo>
                  <a:lnTo>
                    <a:pt x="47" y="4"/>
                  </a:lnTo>
                  <a:lnTo>
                    <a:pt x="52" y="3"/>
                  </a:lnTo>
                  <a:lnTo>
                    <a:pt x="56" y="2"/>
                  </a:lnTo>
                  <a:lnTo>
                    <a:pt x="61" y="1"/>
                  </a:lnTo>
                  <a:lnTo>
                    <a:pt x="64" y="1"/>
                  </a:lnTo>
                  <a:lnTo>
                    <a:pt x="66" y="4"/>
                  </a:lnTo>
                  <a:lnTo>
                    <a:pt x="64" y="8"/>
                  </a:lnTo>
                  <a:lnTo>
                    <a:pt x="54" y="15"/>
                  </a:lnTo>
                  <a:lnTo>
                    <a:pt x="52" y="18"/>
                  </a:lnTo>
                  <a:lnTo>
                    <a:pt x="50" y="23"/>
                  </a:lnTo>
                  <a:lnTo>
                    <a:pt x="52" y="25"/>
                  </a:lnTo>
                  <a:lnTo>
                    <a:pt x="56" y="26"/>
                  </a:lnTo>
                  <a:lnTo>
                    <a:pt x="61" y="25"/>
                  </a:lnTo>
                  <a:lnTo>
                    <a:pt x="66" y="25"/>
                  </a:lnTo>
                  <a:lnTo>
                    <a:pt x="69" y="26"/>
                  </a:lnTo>
                  <a:lnTo>
                    <a:pt x="78" y="25"/>
                  </a:lnTo>
                  <a:lnTo>
                    <a:pt x="81" y="29"/>
                  </a:lnTo>
                  <a:lnTo>
                    <a:pt x="78" y="33"/>
                  </a:lnTo>
                  <a:lnTo>
                    <a:pt x="77" y="37"/>
                  </a:lnTo>
                  <a:lnTo>
                    <a:pt x="78" y="38"/>
                  </a:lnTo>
                  <a:lnTo>
                    <a:pt x="74" y="45"/>
                  </a:lnTo>
                  <a:lnTo>
                    <a:pt x="73" y="47"/>
                  </a:lnTo>
                  <a:lnTo>
                    <a:pt x="71" y="51"/>
                  </a:lnTo>
                  <a:lnTo>
                    <a:pt x="67" y="54"/>
                  </a:lnTo>
                  <a:lnTo>
                    <a:pt x="65" y="54"/>
                  </a:lnTo>
                  <a:lnTo>
                    <a:pt x="67" y="56"/>
                  </a:lnTo>
                  <a:lnTo>
                    <a:pt x="70" y="58"/>
                  </a:lnTo>
                  <a:lnTo>
                    <a:pt x="70" y="58"/>
                  </a:lnTo>
                  <a:lnTo>
                    <a:pt x="68" y="60"/>
                  </a:lnTo>
                  <a:lnTo>
                    <a:pt x="64" y="61"/>
                  </a:lnTo>
                  <a:lnTo>
                    <a:pt x="63" y="63"/>
                  </a:lnTo>
                  <a:lnTo>
                    <a:pt x="55" y="63"/>
                  </a:lnTo>
                  <a:lnTo>
                    <a:pt x="57" y="65"/>
                  </a:lnTo>
                  <a:lnTo>
                    <a:pt x="59" y="65"/>
                  </a:lnTo>
                  <a:lnTo>
                    <a:pt x="62" y="66"/>
                  </a:lnTo>
                  <a:lnTo>
                    <a:pt x="64" y="66"/>
                  </a:lnTo>
                  <a:lnTo>
                    <a:pt x="67" y="63"/>
                  </a:lnTo>
                  <a:lnTo>
                    <a:pt x="70" y="63"/>
                  </a:lnTo>
                  <a:lnTo>
                    <a:pt x="73" y="65"/>
                  </a:lnTo>
                  <a:lnTo>
                    <a:pt x="76" y="67"/>
                  </a:lnTo>
                  <a:lnTo>
                    <a:pt x="81" y="73"/>
                  </a:lnTo>
                  <a:lnTo>
                    <a:pt x="84" y="75"/>
                  </a:lnTo>
                  <a:lnTo>
                    <a:pt x="84" y="77"/>
                  </a:lnTo>
                  <a:lnTo>
                    <a:pt x="84" y="79"/>
                  </a:lnTo>
                  <a:lnTo>
                    <a:pt x="85" y="87"/>
                  </a:lnTo>
                  <a:lnTo>
                    <a:pt x="88" y="93"/>
                  </a:lnTo>
                  <a:lnTo>
                    <a:pt x="90" y="95"/>
                  </a:lnTo>
                  <a:lnTo>
                    <a:pt x="94" y="96"/>
                  </a:lnTo>
                  <a:lnTo>
                    <a:pt x="98" y="101"/>
                  </a:lnTo>
                  <a:lnTo>
                    <a:pt x="102" y="107"/>
                  </a:lnTo>
                  <a:lnTo>
                    <a:pt x="103" y="112"/>
                  </a:lnTo>
                  <a:lnTo>
                    <a:pt x="102" y="117"/>
                  </a:lnTo>
                  <a:lnTo>
                    <a:pt x="103" y="119"/>
                  </a:lnTo>
                  <a:close/>
                  <a:moveTo>
                    <a:pt x="25" y="109"/>
                  </a:moveTo>
                  <a:lnTo>
                    <a:pt x="24" y="106"/>
                  </a:lnTo>
                  <a:lnTo>
                    <a:pt x="18" y="107"/>
                  </a:lnTo>
                  <a:lnTo>
                    <a:pt x="19" y="104"/>
                  </a:lnTo>
                  <a:lnTo>
                    <a:pt x="16" y="103"/>
                  </a:lnTo>
                  <a:lnTo>
                    <a:pt x="15" y="100"/>
                  </a:lnTo>
                  <a:lnTo>
                    <a:pt x="13" y="99"/>
                  </a:lnTo>
                  <a:lnTo>
                    <a:pt x="12" y="103"/>
                  </a:lnTo>
                  <a:lnTo>
                    <a:pt x="7" y="105"/>
                  </a:lnTo>
                  <a:lnTo>
                    <a:pt x="3" y="104"/>
                  </a:lnTo>
                  <a:lnTo>
                    <a:pt x="0" y="101"/>
                  </a:lnTo>
                  <a:lnTo>
                    <a:pt x="0" y="98"/>
                  </a:lnTo>
                  <a:lnTo>
                    <a:pt x="5" y="95"/>
                  </a:lnTo>
                  <a:lnTo>
                    <a:pt x="2" y="92"/>
                  </a:lnTo>
                  <a:lnTo>
                    <a:pt x="7" y="91"/>
                  </a:lnTo>
                  <a:lnTo>
                    <a:pt x="9" y="86"/>
                  </a:lnTo>
                  <a:lnTo>
                    <a:pt x="9" y="84"/>
                  </a:lnTo>
                  <a:lnTo>
                    <a:pt x="12" y="83"/>
                  </a:lnTo>
                  <a:lnTo>
                    <a:pt x="15" y="81"/>
                  </a:lnTo>
                  <a:lnTo>
                    <a:pt x="19" y="81"/>
                  </a:lnTo>
                  <a:lnTo>
                    <a:pt x="22" y="81"/>
                  </a:lnTo>
                  <a:lnTo>
                    <a:pt x="24" y="82"/>
                  </a:lnTo>
                  <a:lnTo>
                    <a:pt x="26" y="82"/>
                  </a:lnTo>
                  <a:lnTo>
                    <a:pt x="27" y="83"/>
                  </a:lnTo>
                  <a:lnTo>
                    <a:pt x="30" y="91"/>
                  </a:lnTo>
                  <a:lnTo>
                    <a:pt x="31" y="93"/>
                  </a:lnTo>
                  <a:lnTo>
                    <a:pt x="30" y="96"/>
                  </a:lnTo>
                  <a:lnTo>
                    <a:pt x="32" y="101"/>
                  </a:lnTo>
                  <a:lnTo>
                    <a:pt x="31" y="104"/>
                  </a:lnTo>
                  <a:lnTo>
                    <a:pt x="28" y="107"/>
                  </a:lnTo>
                  <a:lnTo>
                    <a:pt x="27" y="108"/>
                  </a:lnTo>
                  <a:lnTo>
                    <a:pt x="25" y="109"/>
                  </a:lnTo>
                  <a:close/>
                  <a:moveTo>
                    <a:pt x="31" y="78"/>
                  </a:moveTo>
                  <a:lnTo>
                    <a:pt x="31" y="74"/>
                  </a:lnTo>
                  <a:lnTo>
                    <a:pt x="31" y="71"/>
                  </a:lnTo>
                  <a:lnTo>
                    <a:pt x="34" y="70"/>
                  </a:lnTo>
                  <a:lnTo>
                    <a:pt x="34" y="75"/>
                  </a:lnTo>
                  <a:lnTo>
                    <a:pt x="33" y="78"/>
                  </a:lnTo>
                  <a:lnTo>
                    <a:pt x="31" y="7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59" name="Freeform 31">
              <a:extLst>
                <a:ext uri="{FF2B5EF4-FFF2-40B4-BE49-F238E27FC236}">
                  <a16:creationId xmlns:a16="http://schemas.microsoft.com/office/drawing/2014/main" id="{B69883A5-A54C-9E4A-C609-C6C16C95887E}"/>
                </a:ext>
              </a:extLst>
            </p:cNvPr>
            <p:cNvSpPr>
              <a:spLocks/>
            </p:cNvSpPr>
            <p:nvPr/>
          </p:nvSpPr>
          <p:spPr bwMode="auto">
            <a:xfrm>
              <a:off x="4081046" y="5113338"/>
              <a:ext cx="87313" cy="88900"/>
            </a:xfrm>
            <a:custGeom>
              <a:avLst/>
              <a:gdLst/>
              <a:ahLst/>
              <a:cxnLst>
                <a:cxn ang="0">
                  <a:pos x="17" y="54"/>
                </a:cxn>
                <a:cxn ang="0">
                  <a:pos x="17" y="53"/>
                </a:cxn>
                <a:cxn ang="0">
                  <a:pos x="15" y="49"/>
                </a:cxn>
                <a:cxn ang="0">
                  <a:pos x="12" y="43"/>
                </a:cxn>
                <a:cxn ang="0">
                  <a:pos x="11" y="38"/>
                </a:cxn>
                <a:cxn ang="0">
                  <a:pos x="10" y="36"/>
                </a:cxn>
                <a:cxn ang="0">
                  <a:pos x="7" y="36"/>
                </a:cxn>
                <a:cxn ang="0">
                  <a:pos x="4" y="32"/>
                </a:cxn>
                <a:cxn ang="0">
                  <a:pos x="0" y="27"/>
                </a:cxn>
                <a:cxn ang="0">
                  <a:pos x="2" y="23"/>
                </a:cxn>
                <a:cxn ang="0">
                  <a:pos x="2" y="20"/>
                </a:cxn>
                <a:cxn ang="0">
                  <a:pos x="2" y="16"/>
                </a:cxn>
                <a:cxn ang="0">
                  <a:pos x="3" y="14"/>
                </a:cxn>
                <a:cxn ang="0">
                  <a:pos x="10" y="14"/>
                </a:cxn>
                <a:cxn ang="0">
                  <a:pos x="11" y="12"/>
                </a:cxn>
                <a:cxn ang="0">
                  <a:pos x="11" y="7"/>
                </a:cxn>
                <a:cxn ang="0">
                  <a:pos x="12" y="4"/>
                </a:cxn>
                <a:cxn ang="0">
                  <a:pos x="12" y="2"/>
                </a:cxn>
                <a:cxn ang="0">
                  <a:pos x="14" y="1"/>
                </a:cxn>
                <a:cxn ang="0">
                  <a:pos x="16" y="0"/>
                </a:cxn>
                <a:cxn ang="0">
                  <a:pos x="25" y="3"/>
                </a:cxn>
                <a:cxn ang="0">
                  <a:pos x="27" y="3"/>
                </a:cxn>
                <a:cxn ang="0">
                  <a:pos x="28" y="1"/>
                </a:cxn>
                <a:cxn ang="0">
                  <a:pos x="29" y="0"/>
                </a:cxn>
                <a:cxn ang="0">
                  <a:pos x="31" y="0"/>
                </a:cxn>
                <a:cxn ang="0">
                  <a:pos x="35" y="1"/>
                </a:cxn>
                <a:cxn ang="0">
                  <a:pos x="41" y="0"/>
                </a:cxn>
                <a:cxn ang="0">
                  <a:pos x="45" y="1"/>
                </a:cxn>
                <a:cxn ang="0">
                  <a:pos x="49" y="2"/>
                </a:cxn>
                <a:cxn ang="0">
                  <a:pos x="55" y="4"/>
                </a:cxn>
                <a:cxn ang="0">
                  <a:pos x="50" y="10"/>
                </a:cxn>
                <a:cxn ang="0">
                  <a:pos x="48" y="14"/>
                </a:cxn>
                <a:cxn ang="0">
                  <a:pos x="47" y="17"/>
                </a:cxn>
                <a:cxn ang="0">
                  <a:pos x="48" y="20"/>
                </a:cxn>
                <a:cxn ang="0">
                  <a:pos x="49" y="23"/>
                </a:cxn>
                <a:cxn ang="0">
                  <a:pos x="49" y="27"/>
                </a:cxn>
                <a:cxn ang="0">
                  <a:pos x="52" y="32"/>
                </a:cxn>
                <a:cxn ang="0">
                  <a:pos x="53" y="35"/>
                </a:cxn>
                <a:cxn ang="0">
                  <a:pos x="50" y="43"/>
                </a:cxn>
                <a:cxn ang="0">
                  <a:pos x="47" y="49"/>
                </a:cxn>
                <a:cxn ang="0">
                  <a:pos x="41" y="46"/>
                </a:cxn>
                <a:cxn ang="0">
                  <a:pos x="39" y="46"/>
                </a:cxn>
                <a:cxn ang="0">
                  <a:pos x="36" y="49"/>
                </a:cxn>
                <a:cxn ang="0">
                  <a:pos x="34" y="49"/>
                </a:cxn>
                <a:cxn ang="0">
                  <a:pos x="31" y="48"/>
                </a:cxn>
                <a:cxn ang="0">
                  <a:pos x="28" y="47"/>
                </a:cxn>
                <a:cxn ang="0">
                  <a:pos x="26" y="48"/>
                </a:cxn>
                <a:cxn ang="0">
                  <a:pos x="25" y="50"/>
                </a:cxn>
                <a:cxn ang="0">
                  <a:pos x="29" y="56"/>
                </a:cxn>
                <a:cxn ang="0">
                  <a:pos x="26" y="56"/>
                </a:cxn>
                <a:cxn ang="0">
                  <a:pos x="19" y="54"/>
                </a:cxn>
                <a:cxn ang="0">
                  <a:pos x="17" y="54"/>
                </a:cxn>
              </a:cxnLst>
              <a:rect l="0" t="0" r="r" b="b"/>
              <a:pathLst>
                <a:path w="55" h="56">
                  <a:moveTo>
                    <a:pt x="17" y="54"/>
                  </a:moveTo>
                  <a:lnTo>
                    <a:pt x="17" y="53"/>
                  </a:lnTo>
                  <a:lnTo>
                    <a:pt x="15" y="49"/>
                  </a:lnTo>
                  <a:lnTo>
                    <a:pt x="12" y="43"/>
                  </a:lnTo>
                  <a:lnTo>
                    <a:pt x="11" y="38"/>
                  </a:lnTo>
                  <a:lnTo>
                    <a:pt x="10" y="36"/>
                  </a:lnTo>
                  <a:lnTo>
                    <a:pt x="7" y="36"/>
                  </a:lnTo>
                  <a:lnTo>
                    <a:pt x="4" y="32"/>
                  </a:lnTo>
                  <a:lnTo>
                    <a:pt x="0" y="27"/>
                  </a:lnTo>
                  <a:lnTo>
                    <a:pt x="2" y="23"/>
                  </a:lnTo>
                  <a:lnTo>
                    <a:pt x="2" y="20"/>
                  </a:lnTo>
                  <a:lnTo>
                    <a:pt x="2" y="16"/>
                  </a:lnTo>
                  <a:lnTo>
                    <a:pt x="3" y="14"/>
                  </a:lnTo>
                  <a:lnTo>
                    <a:pt x="10" y="14"/>
                  </a:lnTo>
                  <a:lnTo>
                    <a:pt x="11" y="12"/>
                  </a:lnTo>
                  <a:lnTo>
                    <a:pt x="11" y="7"/>
                  </a:lnTo>
                  <a:lnTo>
                    <a:pt x="12" y="4"/>
                  </a:lnTo>
                  <a:lnTo>
                    <a:pt x="12" y="2"/>
                  </a:lnTo>
                  <a:lnTo>
                    <a:pt x="14" y="1"/>
                  </a:lnTo>
                  <a:lnTo>
                    <a:pt x="16" y="0"/>
                  </a:lnTo>
                  <a:lnTo>
                    <a:pt x="25" y="3"/>
                  </a:lnTo>
                  <a:lnTo>
                    <a:pt x="27" y="3"/>
                  </a:lnTo>
                  <a:lnTo>
                    <a:pt x="28" y="1"/>
                  </a:lnTo>
                  <a:lnTo>
                    <a:pt x="29" y="0"/>
                  </a:lnTo>
                  <a:lnTo>
                    <a:pt x="31" y="0"/>
                  </a:lnTo>
                  <a:lnTo>
                    <a:pt x="35" y="1"/>
                  </a:lnTo>
                  <a:lnTo>
                    <a:pt x="41" y="0"/>
                  </a:lnTo>
                  <a:lnTo>
                    <a:pt x="45" y="1"/>
                  </a:lnTo>
                  <a:lnTo>
                    <a:pt x="49" y="2"/>
                  </a:lnTo>
                  <a:lnTo>
                    <a:pt x="55" y="4"/>
                  </a:lnTo>
                  <a:lnTo>
                    <a:pt x="50" y="10"/>
                  </a:lnTo>
                  <a:lnTo>
                    <a:pt x="48" y="14"/>
                  </a:lnTo>
                  <a:lnTo>
                    <a:pt x="47" y="17"/>
                  </a:lnTo>
                  <a:lnTo>
                    <a:pt x="48" y="20"/>
                  </a:lnTo>
                  <a:lnTo>
                    <a:pt x="49" y="23"/>
                  </a:lnTo>
                  <a:lnTo>
                    <a:pt x="49" y="27"/>
                  </a:lnTo>
                  <a:lnTo>
                    <a:pt x="52" y="32"/>
                  </a:lnTo>
                  <a:lnTo>
                    <a:pt x="53" y="35"/>
                  </a:lnTo>
                  <a:lnTo>
                    <a:pt x="50" y="43"/>
                  </a:lnTo>
                  <a:lnTo>
                    <a:pt x="47" y="49"/>
                  </a:lnTo>
                  <a:lnTo>
                    <a:pt x="41" y="46"/>
                  </a:lnTo>
                  <a:lnTo>
                    <a:pt x="39" y="46"/>
                  </a:lnTo>
                  <a:lnTo>
                    <a:pt x="36" y="49"/>
                  </a:lnTo>
                  <a:lnTo>
                    <a:pt x="34" y="49"/>
                  </a:lnTo>
                  <a:lnTo>
                    <a:pt x="31" y="48"/>
                  </a:lnTo>
                  <a:lnTo>
                    <a:pt x="28" y="47"/>
                  </a:lnTo>
                  <a:lnTo>
                    <a:pt x="26" y="48"/>
                  </a:lnTo>
                  <a:lnTo>
                    <a:pt x="25" y="50"/>
                  </a:lnTo>
                  <a:lnTo>
                    <a:pt x="29" y="56"/>
                  </a:lnTo>
                  <a:lnTo>
                    <a:pt x="26" y="56"/>
                  </a:lnTo>
                  <a:lnTo>
                    <a:pt x="19" y="54"/>
                  </a:lnTo>
                  <a:lnTo>
                    <a:pt x="17" y="5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0" name="Freeform 32">
              <a:extLst>
                <a:ext uri="{FF2B5EF4-FFF2-40B4-BE49-F238E27FC236}">
                  <a16:creationId xmlns:a16="http://schemas.microsoft.com/office/drawing/2014/main" id="{A83E9E17-3023-F45F-EFF8-FBAA3478EF86}"/>
                </a:ext>
              </a:extLst>
            </p:cNvPr>
            <p:cNvSpPr>
              <a:spLocks/>
            </p:cNvSpPr>
            <p:nvPr/>
          </p:nvSpPr>
          <p:spPr bwMode="auto">
            <a:xfrm>
              <a:off x="4155659" y="5119688"/>
              <a:ext cx="57150" cy="77788"/>
            </a:xfrm>
            <a:custGeom>
              <a:avLst/>
              <a:gdLst/>
              <a:ahLst/>
              <a:cxnLst>
                <a:cxn ang="0">
                  <a:pos x="36" y="19"/>
                </a:cxn>
                <a:cxn ang="0">
                  <a:pos x="36" y="22"/>
                </a:cxn>
                <a:cxn ang="0">
                  <a:pos x="30" y="32"/>
                </a:cxn>
                <a:cxn ang="0">
                  <a:pos x="27" y="36"/>
                </a:cxn>
                <a:cxn ang="0">
                  <a:pos x="25" y="42"/>
                </a:cxn>
                <a:cxn ang="0">
                  <a:pos x="22" y="46"/>
                </a:cxn>
                <a:cxn ang="0">
                  <a:pos x="20" y="47"/>
                </a:cxn>
                <a:cxn ang="0">
                  <a:pos x="17" y="47"/>
                </a:cxn>
                <a:cxn ang="0">
                  <a:pos x="11" y="45"/>
                </a:cxn>
                <a:cxn ang="0">
                  <a:pos x="5" y="49"/>
                </a:cxn>
                <a:cxn ang="0">
                  <a:pos x="4" y="48"/>
                </a:cxn>
                <a:cxn ang="0">
                  <a:pos x="0" y="45"/>
                </a:cxn>
                <a:cxn ang="0">
                  <a:pos x="3" y="39"/>
                </a:cxn>
                <a:cxn ang="0">
                  <a:pos x="6" y="31"/>
                </a:cxn>
                <a:cxn ang="0">
                  <a:pos x="5" y="28"/>
                </a:cxn>
                <a:cxn ang="0">
                  <a:pos x="2" y="23"/>
                </a:cxn>
                <a:cxn ang="0">
                  <a:pos x="2" y="19"/>
                </a:cxn>
                <a:cxn ang="0">
                  <a:pos x="1" y="16"/>
                </a:cxn>
                <a:cxn ang="0">
                  <a:pos x="0" y="13"/>
                </a:cxn>
                <a:cxn ang="0">
                  <a:pos x="1" y="10"/>
                </a:cxn>
                <a:cxn ang="0">
                  <a:pos x="3" y="6"/>
                </a:cxn>
                <a:cxn ang="0">
                  <a:pos x="8" y="0"/>
                </a:cxn>
                <a:cxn ang="0">
                  <a:pos x="9" y="1"/>
                </a:cxn>
                <a:cxn ang="0">
                  <a:pos x="15" y="3"/>
                </a:cxn>
                <a:cxn ang="0">
                  <a:pos x="18" y="4"/>
                </a:cxn>
                <a:cxn ang="0">
                  <a:pos x="23" y="7"/>
                </a:cxn>
                <a:cxn ang="0">
                  <a:pos x="30" y="13"/>
                </a:cxn>
                <a:cxn ang="0">
                  <a:pos x="33" y="17"/>
                </a:cxn>
                <a:cxn ang="0">
                  <a:pos x="35" y="19"/>
                </a:cxn>
                <a:cxn ang="0">
                  <a:pos x="36" y="19"/>
                </a:cxn>
              </a:cxnLst>
              <a:rect l="0" t="0" r="r" b="b"/>
              <a:pathLst>
                <a:path w="36" h="49">
                  <a:moveTo>
                    <a:pt x="36" y="19"/>
                  </a:moveTo>
                  <a:lnTo>
                    <a:pt x="36" y="22"/>
                  </a:lnTo>
                  <a:lnTo>
                    <a:pt x="30" y="32"/>
                  </a:lnTo>
                  <a:lnTo>
                    <a:pt x="27" y="36"/>
                  </a:lnTo>
                  <a:lnTo>
                    <a:pt x="25" y="42"/>
                  </a:lnTo>
                  <a:lnTo>
                    <a:pt x="22" y="46"/>
                  </a:lnTo>
                  <a:lnTo>
                    <a:pt x="20" y="47"/>
                  </a:lnTo>
                  <a:lnTo>
                    <a:pt x="17" y="47"/>
                  </a:lnTo>
                  <a:lnTo>
                    <a:pt x="11" y="45"/>
                  </a:lnTo>
                  <a:lnTo>
                    <a:pt x="5" y="49"/>
                  </a:lnTo>
                  <a:lnTo>
                    <a:pt x="4" y="48"/>
                  </a:lnTo>
                  <a:lnTo>
                    <a:pt x="0" y="45"/>
                  </a:lnTo>
                  <a:lnTo>
                    <a:pt x="3" y="39"/>
                  </a:lnTo>
                  <a:lnTo>
                    <a:pt x="6" y="31"/>
                  </a:lnTo>
                  <a:lnTo>
                    <a:pt x="5" y="28"/>
                  </a:lnTo>
                  <a:lnTo>
                    <a:pt x="2" y="23"/>
                  </a:lnTo>
                  <a:lnTo>
                    <a:pt x="2" y="19"/>
                  </a:lnTo>
                  <a:lnTo>
                    <a:pt x="1" y="16"/>
                  </a:lnTo>
                  <a:lnTo>
                    <a:pt x="0" y="13"/>
                  </a:lnTo>
                  <a:lnTo>
                    <a:pt x="1" y="10"/>
                  </a:lnTo>
                  <a:lnTo>
                    <a:pt x="3" y="6"/>
                  </a:lnTo>
                  <a:lnTo>
                    <a:pt x="8" y="0"/>
                  </a:lnTo>
                  <a:lnTo>
                    <a:pt x="9" y="1"/>
                  </a:lnTo>
                  <a:lnTo>
                    <a:pt x="15" y="3"/>
                  </a:lnTo>
                  <a:lnTo>
                    <a:pt x="18" y="4"/>
                  </a:lnTo>
                  <a:lnTo>
                    <a:pt x="23" y="7"/>
                  </a:lnTo>
                  <a:lnTo>
                    <a:pt x="30" y="13"/>
                  </a:lnTo>
                  <a:lnTo>
                    <a:pt x="33" y="17"/>
                  </a:lnTo>
                  <a:lnTo>
                    <a:pt x="35" y="19"/>
                  </a:lnTo>
                  <a:lnTo>
                    <a:pt x="36" y="1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1" name="Freeform 33">
              <a:extLst>
                <a:ext uri="{FF2B5EF4-FFF2-40B4-BE49-F238E27FC236}">
                  <a16:creationId xmlns:a16="http://schemas.microsoft.com/office/drawing/2014/main" id="{1B46FE24-B53E-5F4F-24C4-CEBF1BD0114C}"/>
                </a:ext>
              </a:extLst>
            </p:cNvPr>
            <p:cNvSpPr>
              <a:spLocks noEditPoints="1"/>
            </p:cNvSpPr>
            <p:nvPr/>
          </p:nvSpPr>
          <p:spPr bwMode="auto">
            <a:xfrm>
              <a:off x="5387559" y="2262188"/>
              <a:ext cx="539750" cy="1492250"/>
            </a:xfrm>
            <a:custGeom>
              <a:avLst/>
              <a:gdLst/>
              <a:ahLst/>
              <a:cxnLst>
                <a:cxn ang="0">
                  <a:pos x="184" y="37"/>
                </a:cxn>
                <a:cxn ang="0">
                  <a:pos x="230" y="29"/>
                </a:cxn>
                <a:cxn ang="0">
                  <a:pos x="259" y="21"/>
                </a:cxn>
                <a:cxn ang="0">
                  <a:pos x="266" y="93"/>
                </a:cxn>
                <a:cxn ang="0">
                  <a:pos x="81" y="912"/>
                </a:cxn>
                <a:cxn ang="0">
                  <a:pos x="71" y="901"/>
                </a:cxn>
                <a:cxn ang="0">
                  <a:pos x="57" y="918"/>
                </a:cxn>
                <a:cxn ang="0">
                  <a:pos x="26" y="940"/>
                </a:cxn>
                <a:cxn ang="0">
                  <a:pos x="8" y="928"/>
                </a:cxn>
                <a:cxn ang="0">
                  <a:pos x="13" y="917"/>
                </a:cxn>
                <a:cxn ang="0">
                  <a:pos x="16" y="907"/>
                </a:cxn>
                <a:cxn ang="0">
                  <a:pos x="9" y="904"/>
                </a:cxn>
                <a:cxn ang="0">
                  <a:pos x="5" y="896"/>
                </a:cxn>
                <a:cxn ang="0">
                  <a:pos x="12" y="895"/>
                </a:cxn>
                <a:cxn ang="0">
                  <a:pos x="1" y="882"/>
                </a:cxn>
                <a:cxn ang="0">
                  <a:pos x="5" y="861"/>
                </a:cxn>
                <a:cxn ang="0">
                  <a:pos x="10" y="841"/>
                </a:cxn>
                <a:cxn ang="0">
                  <a:pos x="14" y="825"/>
                </a:cxn>
                <a:cxn ang="0">
                  <a:pos x="26" y="811"/>
                </a:cxn>
                <a:cxn ang="0">
                  <a:pos x="52" y="795"/>
                </a:cxn>
                <a:cxn ang="0">
                  <a:pos x="77" y="763"/>
                </a:cxn>
                <a:cxn ang="0">
                  <a:pos x="90" y="749"/>
                </a:cxn>
                <a:cxn ang="0">
                  <a:pos x="106" y="719"/>
                </a:cxn>
                <a:cxn ang="0">
                  <a:pos x="110" y="693"/>
                </a:cxn>
                <a:cxn ang="0">
                  <a:pos x="128" y="675"/>
                </a:cxn>
                <a:cxn ang="0">
                  <a:pos x="141" y="662"/>
                </a:cxn>
                <a:cxn ang="0">
                  <a:pos x="153" y="646"/>
                </a:cxn>
                <a:cxn ang="0">
                  <a:pos x="163" y="616"/>
                </a:cxn>
                <a:cxn ang="0">
                  <a:pos x="183" y="601"/>
                </a:cxn>
                <a:cxn ang="0">
                  <a:pos x="200" y="591"/>
                </a:cxn>
                <a:cxn ang="0">
                  <a:pos x="225" y="571"/>
                </a:cxn>
                <a:cxn ang="0">
                  <a:pos x="251" y="557"/>
                </a:cxn>
                <a:cxn ang="0">
                  <a:pos x="262" y="570"/>
                </a:cxn>
                <a:cxn ang="0">
                  <a:pos x="289" y="553"/>
                </a:cxn>
                <a:cxn ang="0">
                  <a:pos x="299" y="559"/>
                </a:cxn>
                <a:cxn ang="0">
                  <a:pos x="337" y="558"/>
                </a:cxn>
                <a:cxn ang="0">
                  <a:pos x="323" y="586"/>
                </a:cxn>
                <a:cxn ang="0">
                  <a:pos x="326" y="599"/>
                </a:cxn>
                <a:cxn ang="0">
                  <a:pos x="310" y="589"/>
                </a:cxn>
                <a:cxn ang="0">
                  <a:pos x="271" y="603"/>
                </a:cxn>
                <a:cxn ang="0">
                  <a:pos x="231" y="625"/>
                </a:cxn>
                <a:cxn ang="0">
                  <a:pos x="204" y="613"/>
                </a:cxn>
                <a:cxn ang="0">
                  <a:pos x="172" y="631"/>
                </a:cxn>
                <a:cxn ang="0">
                  <a:pos x="155" y="654"/>
                </a:cxn>
                <a:cxn ang="0">
                  <a:pos x="126" y="714"/>
                </a:cxn>
                <a:cxn ang="0">
                  <a:pos x="118" y="766"/>
                </a:cxn>
                <a:cxn ang="0">
                  <a:pos x="96" y="790"/>
                </a:cxn>
                <a:cxn ang="0">
                  <a:pos x="102" y="853"/>
                </a:cxn>
                <a:cxn ang="0">
                  <a:pos x="90" y="892"/>
                </a:cxn>
                <a:cxn ang="0">
                  <a:pos x="108" y="64"/>
                </a:cxn>
                <a:cxn ang="0">
                  <a:pos x="134" y="80"/>
                </a:cxn>
                <a:cxn ang="0">
                  <a:pos x="148" y="48"/>
                </a:cxn>
                <a:cxn ang="0">
                  <a:pos x="170" y="96"/>
                </a:cxn>
                <a:cxn ang="0">
                  <a:pos x="208" y="135"/>
                </a:cxn>
                <a:cxn ang="0">
                  <a:pos x="161" y="249"/>
                </a:cxn>
                <a:cxn ang="0">
                  <a:pos x="137" y="215"/>
                </a:cxn>
                <a:cxn ang="0">
                  <a:pos x="122" y="186"/>
                </a:cxn>
                <a:cxn ang="0">
                  <a:pos x="116" y="168"/>
                </a:cxn>
                <a:cxn ang="0">
                  <a:pos x="94" y="100"/>
                </a:cxn>
                <a:cxn ang="0">
                  <a:pos x="101" y="66"/>
                </a:cxn>
              </a:cxnLst>
              <a:rect l="0" t="0" r="r" b="b"/>
              <a:pathLst>
                <a:path w="340" h="940">
                  <a:moveTo>
                    <a:pt x="222" y="66"/>
                  </a:moveTo>
                  <a:lnTo>
                    <a:pt x="213" y="66"/>
                  </a:lnTo>
                  <a:lnTo>
                    <a:pt x="201" y="65"/>
                  </a:lnTo>
                  <a:lnTo>
                    <a:pt x="190" y="67"/>
                  </a:lnTo>
                  <a:lnTo>
                    <a:pt x="186" y="69"/>
                  </a:lnTo>
                  <a:lnTo>
                    <a:pt x="174" y="58"/>
                  </a:lnTo>
                  <a:lnTo>
                    <a:pt x="179" y="43"/>
                  </a:lnTo>
                  <a:lnTo>
                    <a:pt x="184" y="37"/>
                  </a:lnTo>
                  <a:lnTo>
                    <a:pt x="188" y="21"/>
                  </a:lnTo>
                  <a:lnTo>
                    <a:pt x="195" y="0"/>
                  </a:lnTo>
                  <a:lnTo>
                    <a:pt x="203" y="25"/>
                  </a:lnTo>
                  <a:lnTo>
                    <a:pt x="209" y="29"/>
                  </a:lnTo>
                  <a:lnTo>
                    <a:pt x="216" y="26"/>
                  </a:lnTo>
                  <a:lnTo>
                    <a:pt x="221" y="28"/>
                  </a:lnTo>
                  <a:lnTo>
                    <a:pt x="225" y="40"/>
                  </a:lnTo>
                  <a:lnTo>
                    <a:pt x="230" y="29"/>
                  </a:lnTo>
                  <a:lnTo>
                    <a:pt x="233" y="13"/>
                  </a:lnTo>
                  <a:lnTo>
                    <a:pt x="238" y="2"/>
                  </a:lnTo>
                  <a:lnTo>
                    <a:pt x="236" y="31"/>
                  </a:lnTo>
                  <a:lnTo>
                    <a:pt x="237" y="42"/>
                  </a:lnTo>
                  <a:lnTo>
                    <a:pt x="242" y="42"/>
                  </a:lnTo>
                  <a:lnTo>
                    <a:pt x="248" y="25"/>
                  </a:lnTo>
                  <a:lnTo>
                    <a:pt x="254" y="16"/>
                  </a:lnTo>
                  <a:lnTo>
                    <a:pt x="259" y="21"/>
                  </a:lnTo>
                  <a:lnTo>
                    <a:pt x="262" y="37"/>
                  </a:lnTo>
                  <a:lnTo>
                    <a:pt x="266" y="39"/>
                  </a:lnTo>
                  <a:lnTo>
                    <a:pt x="278" y="34"/>
                  </a:lnTo>
                  <a:lnTo>
                    <a:pt x="287" y="41"/>
                  </a:lnTo>
                  <a:lnTo>
                    <a:pt x="290" y="54"/>
                  </a:lnTo>
                  <a:lnTo>
                    <a:pt x="287" y="61"/>
                  </a:lnTo>
                  <a:lnTo>
                    <a:pt x="276" y="81"/>
                  </a:lnTo>
                  <a:lnTo>
                    <a:pt x="266" y="93"/>
                  </a:lnTo>
                  <a:lnTo>
                    <a:pt x="259" y="96"/>
                  </a:lnTo>
                  <a:lnTo>
                    <a:pt x="254" y="100"/>
                  </a:lnTo>
                  <a:lnTo>
                    <a:pt x="246" y="111"/>
                  </a:lnTo>
                  <a:lnTo>
                    <a:pt x="209" y="108"/>
                  </a:lnTo>
                  <a:lnTo>
                    <a:pt x="209" y="96"/>
                  </a:lnTo>
                  <a:lnTo>
                    <a:pt x="218" y="88"/>
                  </a:lnTo>
                  <a:lnTo>
                    <a:pt x="222" y="66"/>
                  </a:lnTo>
                  <a:close/>
                  <a:moveTo>
                    <a:pt x="81" y="912"/>
                  </a:moveTo>
                  <a:lnTo>
                    <a:pt x="80" y="910"/>
                  </a:lnTo>
                  <a:lnTo>
                    <a:pt x="76" y="912"/>
                  </a:lnTo>
                  <a:lnTo>
                    <a:pt x="76" y="911"/>
                  </a:lnTo>
                  <a:lnTo>
                    <a:pt x="74" y="909"/>
                  </a:lnTo>
                  <a:lnTo>
                    <a:pt x="73" y="904"/>
                  </a:lnTo>
                  <a:lnTo>
                    <a:pt x="74" y="903"/>
                  </a:lnTo>
                  <a:lnTo>
                    <a:pt x="73" y="900"/>
                  </a:lnTo>
                  <a:lnTo>
                    <a:pt x="71" y="901"/>
                  </a:lnTo>
                  <a:lnTo>
                    <a:pt x="70" y="905"/>
                  </a:lnTo>
                  <a:lnTo>
                    <a:pt x="71" y="908"/>
                  </a:lnTo>
                  <a:lnTo>
                    <a:pt x="70" y="909"/>
                  </a:lnTo>
                  <a:lnTo>
                    <a:pt x="68" y="912"/>
                  </a:lnTo>
                  <a:lnTo>
                    <a:pt x="68" y="915"/>
                  </a:lnTo>
                  <a:lnTo>
                    <a:pt x="65" y="916"/>
                  </a:lnTo>
                  <a:lnTo>
                    <a:pt x="61" y="914"/>
                  </a:lnTo>
                  <a:lnTo>
                    <a:pt x="57" y="918"/>
                  </a:lnTo>
                  <a:lnTo>
                    <a:pt x="57" y="920"/>
                  </a:lnTo>
                  <a:lnTo>
                    <a:pt x="54" y="923"/>
                  </a:lnTo>
                  <a:lnTo>
                    <a:pt x="51" y="926"/>
                  </a:lnTo>
                  <a:lnTo>
                    <a:pt x="42" y="935"/>
                  </a:lnTo>
                  <a:lnTo>
                    <a:pt x="42" y="937"/>
                  </a:lnTo>
                  <a:lnTo>
                    <a:pt x="40" y="938"/>
                  </a:lnTo>
                  <a:lnTo>
                    <a:pt x="38" y="938"/>
                  </a:lnTo>
                  <a:lnTo>
                    <a:pt x="26" y="940"/>
                  </a:lnTo>
                  <a:lnTo>
                    <a:pt x="25" y="937"/>
                  </a:lnTo>
                  <a:lnTo>
                    <a:pt x="23" y="936"/>
                  </a:lnTo>
                  <a:lnTo>
                    <a:pt x="22" y="938"/>
                  </a:lnTo>
                  <a:lnTo>
                    <a:pt x="19" y="937"/>
                  </a:lnTo>
                  <a:lnTo>
                    <a:pt x="22" y="935"/>
                  </a:lnTo>
                  <a:lnTo>
                    <a:pt x="16" y="933"/>
                  </a:lnTo>
                  <a:lnTo>
                    <a:pt x="12" y="928"/>
                  </a:lnTo>
                  <a:lnTo>
                    <a:pt x="8" y="928"/>
                  </a:lnTo>
                  <a:lnTo>
                    <a:pt x="6" y="921"/>
                  </a:lnTo>
                  <a:lnTo>
                    <a:pt x="7" y="917"/>
                  </a:lnTo>
                  <a:lnTo>
                    <a:pt x="6" y="915"/>
                  </a:lnTo>
                  <a:lnTo>
                    <a:pt x="8" y="915"/>
                  </a:lnTo>
                  <a:lnTo>
                    <a:pt x="9" y="919"/>
                  </a:lnTo>
                  <a:lnTo>
                    <a:pt x="10" y="916"/>
                  </a:lnTo>
                  <a:lnTo>
                    <a:pt x="15" y="919"/>
                  </a:lnTo>
                  <a:lnTo>
                    <a:pt x="13" y="917"/>
                  </a:lnTo>
                  <a:lnTo>
                    <a:pt x="14" y="916"/>
                  </a:lnTo>
                  <a:lnTo>
                    <a:pt x="17" y="915"/>
                  </a:lnTo>
                  <a:lnTo>
                    <a:pt x="14" y="915"/>
                  </a:lnTo>
                  <a:lnTo>
                    <a:pt x="12" y="916"/>
                  </a:lnTo>
                  <a:lnTo>
                    <a:pt x="11" y="914"/>
                  </a:lnTo>
                  <a:lnTo>
                    <a:pt x="10" y="912"/>
                  </a:lnTo>
                  <a:lnTo>
                    <a:pt x="14" y="909"/>
                  </a:lnTo>
                  <a:lnTo>
                    <a:pt x="16" y="907"/>
                  </a:lnTo>
                  <a:lnTo>
                    <a:pt x="13" y="908"/>
                  </a:lnTo>
                  <a:lnTo>
                    <a:pt x="12" y="906"/>
                  </a:lnTo>
                  <a:lnTo>
                    <a:pt x="14" y="904"/>
                  </a:lnTo>
                  <a:lnTo>
                    <a:pt x="15" y="901"/>
                  </a:lnTo>
                  <a:lnTo>
                    <a:pt x="11" y="906"/>
                  </a:lnTo>
                  <a:lnTo>
                    <a:pt x="10" y="903"/>
                  </a:lnTo>
                  <a:lnTo>
                    <a:pt x="9" y="901"/>
                  </a:lnTo>
                  <a:lnTo>
                    <a:pt x="9" y="904"/>
                  </a:lnTo>
                  <a:lnTo>
                    <a:pt x="10" y="906"/>
                  </a:lnTo>
                  <a:lnTo>
                    <a:pt x="7" y="907"/>
                  </a:lnTo>
                  <a:lnTo>
                    <a:pt x="5" y="907"/>
                  </a:lnTo>
                  <a:lnTo>
                    <a:pt x="5" y="904"/>
                  </a:lnTo>
                  <a:lnTo>
                    <a:pt x="4" y="907"/>
                  </a:lnTo>
                  <a:lnTo>
                    <a:pt x="3" y="906"/>
                  </a:lnTo>
                  <a:lnTo>
                    <a:pt x="1" y="901"/>
                  </a:lnTo>
                  <a:lnTo>
                    <a:pt x="5" y="896"/>
                  </a:lnTo>
                  <a:lnTo>
                    <a:pt x="6" y="901"/>
                  </a:lnTo>
                  <a:lnTo>
                    <a:pt x="6" y="897"/>
                  </a:lnTo>
                  <a:lnTo>
                    <a:pt x="9" y="899"/>
                  </a:lnTo>
                  <a:lnTo>
                    <a:pt x="10" y="898"/>
                  </a:lnTo>
                  <a:lnTo>
                    <a:pt x="9" y="897"/>
                  </a:lnTo>
                  <a:lnTo>
                    <a:pt x="13" y="896"/>
                  </a:lnTo>
                  <a:lnTo>
                    <a:pt x="16" y="893"/>
                  </a:lnTo>
                  <a:lnTo>
                    <a:pt x="12" y="895"/>
                  </a:lnTo>
                  <a:lnTo>
                    <a:pt x="9" y="895"/>
                  </a:lnTo>
                  <a:lnTo>
                    <a:pt x="7" y="893"/>
                  </a:lnTo>
                  <a:lnTo>
                    <a:pt x="9" y="892"/>
                  </a:lnTo>
                  <a:lnTo>
                    <a:pt x="11" y="890"/>
                  </a:lnTo>
                  <a:lnTo>
                    <a:pt x="12" y="884"/>
                  </a:lnTo>
                  <a:lnTo>
                    <a:pt x="7" y="884"/>
                  </a:lnTo>
                  <a:lnTo>
                    <a:pt x="4" y="885"/>
                  </a:lnTo>
                  <a:lnTo>
                    <a:pt x="1" y="882"/>
                  </a:lnTo>
                  <a:lnTo>
                    <a:pt x="4" y="880"/>
                  </a:lnTo>
                  <a:lnTo>
                    <a:pt x="7" y="875"/>
                  </a:lnTo>
                  <a:lnTo>
                    <a:pt x="6" y="873"/>
                  </a:lnTo>
                  <a:lnTo>
                    <a:pt x="4" y="874"/>
                  </a:lnTo>
                  <a:lnTo>
                    <a:pt x="1" y="873"/>
                  </a:lnTo>
                  <a:lnTo>
                    <a:pt x="0" y="870"/>
                  </a:lnTo>
                  <a:lnTo>
                    <a:pt x="1" y="865"/>
                  </a:lnTo>
                  <a:lnTo>
                    <a:pt x="5" y="861"/>
                  </a:lnTo>
                  <a:lnTo>
                    <a:pt x="2" y="858"/>
                  </a:lnTo>
                  <a:lnTo>
                    <a:pt x="0" y="854"/>
                  </a:lnTo>
                  <a:lnTo>
                    <a:pt x="2" y="852"/>
                  </a:lnTo>
                  <a:lnTo>
                    <a:pt x="1" y="843"/>
                  </a:lnTo>
                  <a:lnTo>
                    <a:pt x="2" y="842"/>
                  </a:lnTo>
                  <a:lnTo>
                    <a:pt x="6" y="841"/>
                  </a:lnTo>
                  <a:lnTo>
                    <a:pt x="8" y="840"/>
                  </a:lnTo>
                  <a:lnTo>
                    <a:pt x="10" y="841"/>
                  </a:lnTo>
                  <a:lnTo>
                    <a:pt x="11" y="840"/>
                  </a:lnTo>
                  <a:lnTo>
                    <a:pt x="10" y="838"/>
                  </a:lnTo>
                  <a:lnTo>
                    <a:pt x="7" y="837"/>
                  </a:lnTo>
                  <a:lnTo>
                    <a:pt x="6" y="834"/>
                  </a:lnTo>
                  <a:lnTo>
                    <a:pt x="6" y="832"/>
                  </a:lnTo>
                  <a:lnTo>
                    <a:pt x="7" y="831"/>
                  </a:lnTo>
                  <a:lnTo>
                    <a:pt x="11" y="829"/>
                  </a:lnTo>
                  <a:lnTo>
                    <a:pt x="14" y="825"/>
                  </a:lnTo>
                  <a:lnTo>
                    <a:pt x="17" y="826"/>
                  </a:lnTo>
                  <a:lnTo>
                    <a:pt x="20" y="825"/>
                  </a:lnTo>
                  <a:lnTo>
                    <a:pt x="21" y="818"/>
                  </a:lnTo>
                  <a:lnTo>
                    <a:pt x="26" y="819"/>
                  </a:lnTo>
                  <a:lnTo>
                    <a:pt x="30" y="821"/>
                  </a:lnTo>
                  <a:lnTo>
                    <a:pt x="33" y="818"/>
                  </a:lnTo>
                  <a:lnTo>
                    <a:pt x="28" y="815"/>
                  </a:lnTo>
                  <a:lnTo>
                    <a:pt x="26" y="811"/>
                  </a:lnTo>
                  <a:lnTo>
                    <a:pt x="27" y="809"/>
                  </a:lnTo>
                  <a:lnTo>
                    <a:pt x="34" y="809"/>
                  </a:lnTo>
                  <a:lnTo>
                    <a:pt x="39" y="808"/>
                  </a:lnTo>
                  <a:lnTo>
                    <a:pt x="42" y="811"/>
                  </a:lnTo>
                  <a:lnTo>
                    <a:pt x="43" y="805"/>
                  </a:lnTo>
                  <a:lnTo>
                    <a:pt x="46" y="801"/>
                  </a:lnTo>
                  <a:lnTo>
                    <a:pt x="47" y="797"/>
                  </a:lnTo>
                  <a:lnTo>
                    <a:pt x="52" y="795"/>
                  </a:lnTo>
                  <a:lnTo>
                    <a:pt x="54" y="797"/>
                  </a:lnTo>
                  <a:lnTo>
                    <a:pt x="55" y="798"/>
                  </a:lnTo>
                  <a:lnTo>
                    <a:pt x="58" y="792"/>
                  </a:lnTo>
                  <a:lnTo>
                    <a:pt x="63" y="786"/>
                  </a:lnTo>
                  <a:lnTo>
                    <a:pt x="64" y="781"/>
                  </a:lnTo>
                  <a:lnTo>
                    <a:pt x="66" y="775"/>
                  </a:lnTo>
                  <a:lnTo>
                    <a:pt x="75" y="765"/>
                  </a:lnTo>
                  <a:lnTo>
                    <a:pt x="77" y="763"/>
                  </a:lnTo>
                  <a:lnTo>
                    <a:pt x="79" y="762"/>
                  </a:lnTo>
                  <a:lnTo>
                    <a:pt x="81" y="765"/>
                  </a:lnTo>
                  <a:lnTo>
                    <a:pt x="83" y="765"/>
                  </a:lnTo>
                  <a:lnTo>
                    <a:pt x="85" y="762"/>
                  </a:lnTo>
                  <a:lnTo>
                    <a:pt x="84" y="758"/>
                  </a:lnTo>
                  <a:lnTo>
                    <a:pt x="85" y="757"/>
                  </a:lnTo>
                  <a:lnTo>
                    <a:pt x="88" y="753"/>
                  </a:lnTo>
                  <a:lnTo>
                    <a:pt x="90" y="749"/>
                  </a:lnTo>
                  <a:lnTo>
                    <a:pt x="93" y="742"/>
                  </a:lnTo>
                  <a:lnTo>
                    <a:pt x="94" y="744"/>
                  </a:lnTo>
                  <a:lnTo>
                    <a:pt x="99" y="743"/>
                  </a:lnTo>
                  <a:lnTo>
                    <a:pt x="98" y="735"/>
                  </a:lnTo>
                  <a:lnTo>
                    <a:pt x="95" y="733"/>
                  </a:lnTo>
                  <a:lnTo>
                    <a:pt x="98" y="727"/>
                  </a:lnTo>
                  <a:lnTo>
                    <a:pt x="101" y="718"/>
                  </a:lnTo>
                  <a:lnTo>
                    <a:pt x="106" y="719"/>
                  </a:lnTo>
                  <a:lnTo>
                    <a:pt x="106" y="714"/>
                  </a:lnTo>
                  <a:lnTo>
                    <a:pt x="107" y="711"/>
                  </a:lnTo>
                  <a:lnTo>
                    <a:pt x="112" y="709"/>
                  </a:lnTo>
                  <a:lnTo>
                    <a:pt x="110" y="704"/>
                  </a:lnTo>
                  <a:lnTo>
                    <a:pt x="108" y="702"/>
                  </a:lnTo>
                  <a:lnTo>
                    <a:pt x="107" y="700"/>
                  </a:lnTo>
                  <a:lnTo>
                    <a:pt x="108" y="697"/>
                  </a:lnTo>
                  <a:lnTo>
                    <a:pt x="110" y="693"/>
                  </a:lnTo>
                  <a:lnTo>
                    <a:pt x="112" y="694"/>
                  </a:lnTo>
                  <a:lnTo>
                    <a:pt x="118" y="693"/>
                  </a:lnTo>
                  <a:lnTo>
                    <a:pt x="114" y="685"/>
                  </a:lnTo>
                  <a:lnTo>
                    <a:pt x="116" y="684"/>
                  </a:lnTo>
                  <a:lnTo>
                    <a:pt x="118" y="683"/>
                  </a:lnTo>
                  <a:lnTo>
                    <a:pt x="123" y="679"/>
                  </a:lnTo>
                  <a:lnTo>
                    <a:pt x="126" y="678"/>
                  </a:lnTo>
                  <a:lnTo>
                    <a:pt x="128" y="675"/>
                  </a:lnTo>
                  <a:lnTo>
                    <a:pt x="126" y="674"/>
                  </a:lnTo>
                  <a:lnTo>
                    <a:pt x="125" y="671"/>
                  </a:lnTo>
                  <a:lnTo>
                    <a:pt x="127" y="670"/>
                  </a:lnTo>
                  <a:lnTo>
                    <a:pt x="130" y="664"/>
                  </a:lnTo>
                  <a:lnTo>
                    <a:pt x="134" y="665"/>
                  </a:lnTo>
                  <a:lnTo>
                    <a:pt x="136" y="667"/>
                  </a:lnTo>
                  <a:lnTo>
                    <a:pt x="138" y="663"/>
                  </a:lnTo>
                  <a:lnTo>
                    <a:pt x="141" y="662"/>
                  </a:lnTo>
                  <a:lnTo>
                    <a:pt x="141" y="659"/>
                  </a:lnTo>
                  <a:lnTo>
                    <a:pt x="138" y="654"/>
                  </a:lnTo>
                  <a:lnTo>
                    <a:pt x="142" y="651"/>
                  </a:lnTo>
                  <a:lnTo>
                    <a:pt x="143" y="646"/>
                  </a:lnTo>
                  <a:lnTo>
                    <a:pt x="145" y="646"/>
                  </a:lnTo>
                  <a:lnTo>
                    <a:pt x="147" y="651"/>
                  </a:lnTo>
                  <a:lnTo>
                    <a:pt x="149" y="652"/>
                  </a:lnTo>
                  <a:lnTo>
                    <a:pt x="153" y="646"/>
                  </a:lnTo>
                  <a:lnTo>
                    <a:pt x="151" y="636"/>
                  </a:lnTo>
                  <a:lnTo>
                    <a:pt x="153" y="637"/>
                  </a:lnTo>
                  <a:lnTo>
                    <a:pt x="157" y="636"/>
                  </a:lnTo>
                  <a:lnTo>
                    <a:pt x="159" y="633"/>
                  </a:lnTo>
                  <a:lnTo>
                    <a:pt x="155" y="628"/>
                  </a:lnTo>
                  <a:lnTo>
                    <a:pt x="157" y="625"/>
                  </a:lnTo>
                  <a:lnTo>
                    <a:pt x="162" y="621"/>
                  </a:lnTo>
                  <a:lnTo>
                    <a:pt x="163" y="616"/>
                  </a:lnTo>
                  <a:lnTo>
                    <a:pt x="164" y="613"/>
                  </a:lnTo>
                  <a:lnTo>
                    <a:pt x="169" y="611"/>
                  </a:lnTo>
                  <a:lnTo>
                    <a:pt x="169" y="612"/>
                  </a:lnTo>
                  <a:lnTo>
                    <a:pt x="171" y="611"/>
                  </a:lnTo>
                  <a:lnTo>
                    <a:pt x="171" y="610"/>
                  </a:lnTo>
                  <a:lnTo>
                    <a:pt x="174" y="599"/>
                  </a:lnTo>
                  <a:lnTo>
                    <a:pt x="177" y="603"/>
                  </a:lnTo>
                  <a:lnTo>
                    <a:pt x="183" y="601"/>
                  </a:lnTo>
                  <a:lnTo>
                    <a:pt x="185" y="603"/>
                  </a:lnTo>
                  <a:lnTo>
                    <a:pt x="187" y="605"/>
                  </a:lnTo>
                  <a:lnTo>
                    <a:pt x="191" y="606"/>
                  </a:lnTo>
                  <a:lnTo>
                    <a:pt x="194" y="599"/>
                  </a:lnTo>
                  <a:lnTo>
                    <a:pt x="198" y="585"/>
                  </a:lnTo>
                  <a:lnTo>
                    <a:pt x="200" y="583"/>
                  </a:lnTo>
                  <a:lnTo>
                    <a:pt x="201" y="586"/>
                  </a:lnTo>
                  <a:lnTo>
                    <a:pt x="200" y="591"/>
                  </a:lnTo>
                  <a:lnTo>
                    <a:pt x="199" y="601"/>
                  </a:lnTo>
                  <a:lnTo>
                    <a:pt x="204" y="593"/>
                  </a:lnTo>
                  <a:lnTo>
                    <a:pt x="206" y="583"/>
                  </a:lnTo>
                  <a:lnTo>
                    <a:pt x="211" y="582"/>
                  </a:lnTo>
                  <a:lnTo>
                    <a:pt x="214" y="574"/>
                  </a:lnTo>
                  <a:lnTo>
                    <a:pt x="217" y="576"/>
                  </a:lnTo>
                  <a:lnTo>
                    <a:pt x="221" y="582"/>
                  </a:lnTo>
                  <a:lnTo>
                    <a:pt x="225" y="571"/>
                  </a:lnTo>
                  <a:lnTo>
                    <a:pt x="226" y="567"/>
                  </a:lnTo>
                  <a:lnTo>
                    <a:pt x="232" y="568"/>
                  </a:lnTo>
                  <a:lnTo>
                    <a:pt x="238" y="577"/>
                  </a:lnTo>
                  <a:lnTo>
                    <a:pt x="239" y="574"/>
                  </a:lnTo>
                  <a:lnTo>
                    <a:pt x="242" y="564"/>
                  </a:lnTo>
                  <a:lnTo>
                    <a:pt x="246" y="556"/>
                  </a:lnTo>
                  <a:lnTo>
                    <a:pt x="248" y="556"/>
                  </a:lnTo>
                  <a:lnTo>
                    <a:pt x="251" y="557"/>
                  </a:lnTo>
                  <a:lnTo>
                    <a:pt x="253" y="551"/>
                  </a:lnTo>
                  <a:lnTo>
                    <a:pt x="256" y="546"/>
                  </a:lnTo>
                  <a:lnTo>
                    <a:pt x="259" y="543"/>
                  </a:lnTo>
                  <a:lnTo>
                    <a:pt x="267" y="540"/>
                  </a:lnTo>
                  <a:lnTo>
                    <a:pt x="272" y="540"/>
                  </a:lnTo>
                  <a:lnTo>
                    <a:pt x="265" y="553"/>
                  </a:lnTo>
                  <a:lnTo>
                    <a:pt x="263" y="558"/>
                  </a:lnTo>
                  <a:lnTo>
                    <a:pt x="262" y="570"/>
                  </a:lnTo>
                  <a:lnTo>
                    <a:pt x="265" y="571"/>
                  </a:lnTo>
                  <a:lnTo>
                    <a:pt x="269" y="561"/>
                  </a:lnTo>
                  <a:lnTo>
                    <a:pt x="278" y="544"/>
                  </a:lnTo>
                  <a:lnTo>
                    <a:pt x="282" y="539"/>
                  </a:lnTo>
                  <a:lnTo>
                    <a:pt x="283" y="544"/>
                  </a:lnTo>
                  <a:lnTo>
                    <a:pt x="283" y="560"/>
                  </a:lnTo>
                  <a:lnTo>
                    <a:pt x="287" y="557"/>
                  </a:lnTo>
                  <a:lnTo>
                    <a:pt x="289" y="553"/>
                  </a:lnTo>
                  <a:lnTo>
                    <a:pt x="294" y="537"/>
                  </a:lnTo>
                  <a:lnTo>
                    <a:pt x="300" y="535"/>
                  </a:lnTo>
                  <a:lnTo>
                    <a:pt x="303" y="535"/>
                  </a:lnTo>
                  <a:lnTo>
                    <a:pt x="305" y="538"/>
                  </a:lnTo>
                  <a:lnTo>
                    <a:pt x="303" y="543"/>
                  </a:lnTo>
                  <a:lnTo>
                    <a:pt x="301" y="547"/>
                  </a:lnTo>
                  <a:lnTo>
                    <a:pt x="301" y="552"/>
                  </a:lnTo>
                  <a:lnTo>
                    <a:pt x="299" y="559"/>
                  </a:lnTo>
                  <a:lnTo>
                    <a:pt x="304" y="561"/>
                  </a:lnTo>
                  <a:lnTo>
                    <a:pt x="306" y="553"/>
                  </a:lnTo>
                  <a:lnTo>
                    <a:pt x="311" y="541"/>
                  </a:lnTo>
                  <a:lnTo>
                    <a:pt x="313" y="541"/>
                  </a:lnTo>
                  <a:lnTo>
                    <a:pt x="324" y="552"/>
                  </a:lnTo>
                  <a:lnTo>
                    <a:pt x="327" y="554"/>
                  </a:lnTo>
                  <a:lnTo>
                    <a:pt x="333" y="554"/>
                  </a:lnTo>
                  <a:lnTo>
                    <a:pt x="337" y="558"/>
                  </a:lnTo>
                  <a:lnTo>
                    <a:pt x="337" y="563"/>
                  </a:lnTo>
                  <a:lnTo>
                    <a:pt x="330" y="570"/>
                  </a:lnTo>
                  <a:lnTo>
                    <a:pt x="323" y="571"/>
                  </a:lnTo>
                  <a:lnTo>
                    <a:pt x="310" y="570"/>
                  </a:lnTo>
                  <a:lnTo>
                    <a:pt x="312" y="571"/>
                  </a:lnTo>
                  <a:lnTo>
                    <a:pt x="315" y="577"/>
                  </a:lnTo>
                  <a:lnTo>
                    <a:pt x="321" y="582"/>
                  </a:lnTo>
                  <a:lnTo>
                    <a:pt x="323" y="586"/>
                  </a:lnTo>
                  <a:lnTo>
                    <a:pt x="328" y="586"/>
                  </a:lnTo>
                  <a:lnTo>
                    <a:pt x="331" y="584"/>
                  </a:lnTo>
                  <a:lnTo>
                    <a:pt x="336" y="585"/>
                  </a:lnTo>
                  <a:lnTo>
                    <a:pt x="340" y="589"/>
                  </a:lnTo>
                  <a:lnTo>
                    <a:pt x="338" y="594"/>
                  </a:lnTo>
                  <a:lnTo>
                    <a:pt x="335" y="597"/>
                  </a:lnTo>
                  <a:lnTo>
                    <a:pt x="330" y="597"/>
                  </a:lnTo>
                  <a:lnTo>
                    <a:pt x="326" y="599"/>
                  </a:lnTo>
                  <a:lnTo>
                    <a:pt x="320" y="607"/>
                  </a:lnTo>
                  <a:lnTo>
                    <a:pt x="314" y="619"/>
                  </a:lnTo>
                  <a:lnTo>
                    <a:pt x="310" y="624"/>
                  </a:lnTo>
                  <a:lnTo>
                    <a:pt x="310" y="620"/>
                  </a:lnTo>
                  <a:lnTo>
                    <a:pt x="310" y="614"/>
                  </a:lnTo>
                  <a:lnTo>
                    <a:pt x="316" y="599"/>
                  </a:lnTo>
                  <a:lnTo>
                    <a:pt x="315" y="594"/>
                  </a:lnTo>
                  <a:lnTo>
                    <a:pt x="310" y="589"/>
                  </a:lnTo>
                  <a:lnTo>
                    <a:pt x="306" y="587"/>
                  </a:lnTo>
                  <a:lnTo>
                    <a:pt x="300" y="579"/>
                  </a:lnTo>
                  <a:lnTo>
                    <a:pt x="296" y="579"/>
                  </a:lnTo>
                  <a:lnTo>
                    <a:pt x="293" y="580"/>
                  </a:lnTo>
                  <a:lnTo>
                    <a:pt x="281" y="582"/>
                  </a:lnTo>
                  <a:lnTo>
                    <a:pt x="276" y="589"/>
                  </a:lnTo>
                  <a:lnTo>
                    <a:pt x="273" y="596"/>
                  </a:lnTo>
                  <a:lnTo>
                    <a:pt x="271" y="603"/>
                  </a:lnTo>
                  <a:lnTo>
                    <a:pt x="271" y="611"/>
                  </a:lnTo>
                  <a:lnTo>
                    <a:pt x="270" y="619"/>
                  </a:lnTo>
                  <a:lnTo>
                    <a:pt x="262" y="627"/>
                  </a:lnTo>
                  <a:lnTo>
                    <a:pt x="259" y="633"/>
                  </a:lnTo>
                  <a:lnTo>
                    <a:pt x="257" y="631"/>
                  </a:lnTo>
                  <a:lnTo>
                    <a:pt x="250" y="623"/>
                  </a:lnTo>
                  <a:lnTo>
                    <a:pt x="240" y="626"/>
                  </a:lnTo>
                  <a:lnTo>
                    <a:pt x="231" y="625"/>
                  </a:lnTo>
                  <a:lnTo>
                    <a:pt x="228" y="624"/>
                  </a:lnTo>
                  <a:lnTo>
                    <a:pt x="223" y="614"/>
                  </a:lnTo>
                  <a:lnTo>
                    <a:pt x="217" y="604"/>
                  </a:lnTo>
                  <a:lnTo>
                    <a:pt x="214" y="602"/>
                  </a:lnTo>
                  <a:lnTo>
                    <a:pt x="213" y="604"/>
                  </a:lnTo>
                  <a:lnTo>
                    <a:pt x="207" y="615"/>
                  </a:lnTo>
                  <a:lnTo>
                    <a:pt x="206" y="614"/>
                  </a:lnTo>
                  <a:lnTo>
                    <a:pt x="204" y="613"/>
                  </a:lnTo>
                  <a:lnTo>
                    <a:pt x="198" y="614"/>
                  </a:lnTo>
                  <a:lnTo>
                    <a:pt x="197" y="631"/>
                  </a:lnTo>
                  <a:lnTo>
                    <a:pt x="196" y="638"/>
                  </a:lnTo>
                  <a:lnTo>
                    <a:pt x="194" y="642"/>
                  </a:lnTo>
                  <a:lnTo>
                    <a:pt x="192" y="642"/>
                  </a:lnTo>
                  <a:lnTo>
                    <a:pt x="188" y="640"/>
                  </a:lnTo>
                  <a:lnTo>
                    <a:pt x="183" y="638"/>
                  </a:lnTo>
                  <a:lnTo>
                    <a:pt x="172" y="631"/>
                  </a:lnTo>
                  <a:lnTo>
                    <a:pt x="171" y="634"/>
                  </a:lnTo>
                  <a:lnTo>
                    <a:pt x="171" y="645"/>
                  </a:lnTo>
                  <a:lnTo>
                    <a:pt x="171" y="648"/>
                  </a:lnTo>
                  <a:lnTo>
                    <a:pt x="169" y="653"/>
                  </a:lnTo>
                  <a:lnTo>
                    <a:pt x="165" y="653"/>
                  </a:lnTo>
                  <a:lnTo>
                    <a:pt x="160" y="651"/>
                  </a:lnTo>
                  <a:lnTo>
                    <a:pt x="158" y="651"/>
                  </a:lnTo>
                  <a:lnTo>
                    <a:pt x="155" y="654"/>
                  </a:lnTo>
                  <a:lnTo>
                    <a:pt x="147" y="672"/>
                  </a:lnTo>
                  <a:lnTo>
                    <a:pt x="147" y="675"/>
                  </a:lnTo>
                  <a:lnTo>
                    <a:pt x="148" y="683"/>
                  </a:lnTo>
                  <a:lnTo>
                    <a:pt x="147" y="688"/>
                  </a:lnTo>
                  <a:lnTo>
                    <a:pt x="143" y="693"/>
                  </a:lnTo>
                  <a:lnTo>
                    <a:pt x="135" y="707"/>
                  </a:lnTo>
                  <a:lnTo>
                    <a:pt x="131" y="713"/>
                  </a:lnTo>
                  <a:lnTo>
                    <a:pt x="126" y="714"/>
                  </a:lnTo>
                  <a:lnTo>
                    <a:pt x="125" y="717"/>
                  </a:lnTo>
                  <a:lnTo>
                    <a:pt x="124" y="731"/>
                  </a:lnTo>
                  <a:lnTo>
                    <a:pt x="123" y="739"/>
                  </a:lnTo>
                  <a:lnTo>
                    <a:pt x="120" y="746"/>
                  </a:lnTo>
                  <a:lnTo>
                    <a:pt x="117" y="753"/>
                  </a:lnTo>
                  <a:lnTo>
                    <a:pt x="114" y="760"/>
                  </a:lnTo>
                  <a:lnTo>
                    <a:pt x="116" y="762"/>
                  </a:lnTo>
                  <a:lnTo>
                    <a:pt x="118" y="766"/>
                  </a:lnTo>
                  <a:lnTo>
                    <a:pt x="120" y="774"/>
                  </a:lnTo>
                  <a:lnTo>
                    <a:pt x="119" y="776"/>
                  </a:lnTo>
                  <a:lnTo>
                    <a:pt x="116" y="778"/>
                  </a:lnTo>
                  <a:lnTo>
                    <a:pt x="112" y="779"/>
                  </a:lnTo>
                  <a:lnTo>
                    <a:pt x="106" y="778"/>
                  </a:lnTo>
                  <a:lnTo>
                    <a:pt x="103" y="780"/>
                  </a:lnTo>
                  <a:lnTo>
                    <a:pt x="99" y="783"/>
                  </a:lnTo>
                  <a:lnTo>
                    <a:pt x="96" y="790"/>
                  </a:lnTo>
                  <a:lnTo>
                    <a:pt x="93" y="796"/>
                  </a:lnTo>
                  <a:lnTo>
                    <a:pt x="93" y="805"/>
                  </a:lnTo>
                  <a:lnTo>
                    <a:pt x="91" y="819"/>
                  </a:lnTo>
                  <a:lnTo>
                    <a:pt x="94" y="828"/>
                  </a:lnTo>
                  <a:lnTo>
                    <a:pt x="93" y="843"/>
                  </a:lnTo>
                  <a:lnTo>
                    <a:pt x="96" y="848"/>
                  </a:lnTo>
                  <a:lnTo>
                    <a:pt x="100" y="850"/>
                  </a:lnTo>
                  <a:lnTo>
                    <a:pt x="102" y="853"/>
                  </a:lnTo>
                  <a:lnTo>
                    <a:pt x="99" y="861"/>
                  </a:lnTo>
                  <a:lnTo>
                    <a:pt x="94" y="863"/>
                  </a:lnTo>
                  <a:lnTo>
                    <a:pt x="97" y="872"/>
                  </a:lnTo>
                  <a:lnTo>
                    <a:pt x="99" y="877"/>
                  </a:lnTo>
                  <a:lnTo>
                    <a:pt x="97" y="881"/>
                  </a:lnTo>
                  <a:lnTo>
                    <a:pt x="97" y="888"/>
                  </a:lnTo>
                  <a:lnTo>
                    <a:pt x="93" y="892"/>
                  </a:lnTo>
                  <a:lnTo>
                    <a:pt x="90" y="892"/>
                  </a:lnTo>
                  <a:lnTo>
                    <a:pt x="90" y="897"/>
                  </a:lnTo>
                  <a:lnTo>
                    <a:pt x="87" y="900"/>
                  </a:lnTo>
                  <a:lnTo>
                    <a:pt x="88" y="909"/>
                  </a:lnTo>
                  <a:lnTo>
                    <a:pt x="86" y="918"/>
                  </a:lnTo>
                  <a:lnTo>
                    <a:pt x="84" y="918"/>
                  </a:lnTo>
                  <a:lnTo>
                    <a:pt x="83" y="914"/>
                  </a:lnTo>
                  <a:lnTo>
                    <a:pt x="81" y="912"/>
                  </a:lnTo>
                  <a:close/>
                  <a:moveTo>
                    <a:pt x="108" y="64"/>
                  </a:moveTo>
                  <a:lnTo>
                    <a:pt x="108" y="87"/>
                  </a:lnTo>
                  <a:lnTo>
                    <a:pt x="110" y="91"/>
                  </a:lnTo>
                  <a:lnTo>
                    <a:pt x="120" y="96"/>
                  </a:lnTo>
                  <a:lnTo>
                    <a:pt x="121" y="84"/>
                  </a:lnTo>
                  <a:lnTo>
                    <a:pt x="122" y="70"/>
                  </a:lnTo>
                  <a:lnTo>
                    <a:pt x="125" y="66"/>
                  </a:lnTo>
                  <a:lnTo>
                    <a:pt x="128" y="64"/>
                  </a:lnTo>
                  <a:lnTo>
                    <a:pt x="134" y="80"/>
                  </a:lnTo>
                  <a:lnTo>
                    <a:pt x="141" y="105"/>
                  </a:lnTo>
                  <a:lnTo>
                    <a:pt x="146" y="112"/>
                  </a:lnTo>
                  <a:lnTo>
                    <a:pt x="149" y="105"/>
                  </a:lnTo>
                  <a:lnTo>
                    <a:pt x="148" y="96"/>
                  </a:lnTo>
                  <a:lnTo>
                    <a:pt x="145" y="84"/>
                  </a:lnTo>
                  <a:lnTo>
                    <a:pt x="143" y="69"/>
                  </a:lnTo>
                  <a:lnTo>
                    <a:pt x="143" y="61"/>
                  </a:lnTo>
                  <a:lnTo>
                    <a:pt x="148" y="48"/>
                  </a:lnTo>
                  <a:lnTo>
                    <a:pt x="154" y="51"/>
                  </a:lnTo>
                  <a:lnTo>
                    <a:pt x="157" y="57"/>
                  </a:lnTo>
                  <a:lnTo>
                    <a:pt x="165" y="58"/>
                  </a:lnTo>
                  <a:lnTo>
                    <a:pt x="168" y="64"/>
                  </a:lnTo>
                  <a:lnTo>
                    <a:pt x="168" y="78"/>
                  </a:lnTo>
                  <a:lnTo>
                    <a:pt x="166" y="87"/>
                  </a:lnTo>
                  <a:lnTo>
                    <a:pt x="167" y="93"/>
                  </a:lnTo>
                  <a:lnTo>
                    <a:pt x="170" y="96"/>
                  </a:lnTo>
                  <a:lnTo>
                    <a:pt x="175" y="85"/>
                  </a:lnTo>
                  <a:lnTo>
                    <a:pt x="177" y="82"/>
                  </a:lnTo>
                  <a:lnTo>
                    <a:pt x="181" y="95"/>
                  </a:lnTo>
                  <a:lnTo>
                    <a:pt x="185" y="106"/>
                  </a:lnTo>
                  <a:lnTo>
                    <a:pt x="190" y="111"/>
                  </a:lnTo>
                  <a:lnTo>
                    <a:pt x="195" y="114"/>
                  </a:lnTo>
                  <a:lnTo>
                    <a:pt x="205" y="127"/>
                  </a:lnTo>
                  <a:lnTo>
                    <a:pt x="208" y="135"/>
                  </a:lnTo>
                  <a:lnTo>
                    <a:pt x="200" y="143"/>
                  </a:lnTo>
                  <a:lnTo>
                    <a:pt x="189" y="150"/>
                  </a:lnTo>
                  <a:lnTo>
                    <a:pt x="184" y="158"/>
                  </a:lnTo>
                  <a:lnTo>
                    <a:pt x="180" y="191"/>
                  </a:lnTo>
                  <a:lnTo>
                    <a:pt x="175" y="216"/>
                  </a:lnTo>
                  <a:lnTo>
                    <a:pt x="168" y="219"/>
                  </a:lnTo>
                  <a:lnTo>
                    <a:pt x="163" y="233"/>
                  </a:lnTo>
                  <a:lnTo>
                    <a:pt x="161" y="249"/>
                  </a:lnTo>
                  <a:lnTo>
                    <a:pt x="160" y="259"/>
                  </a:lnTo>
                  <a:lnTo>
                    <a:pt x="156" y="264"/>
                  </a:lnTo>
                  <a:lnTo>
                    <a:pt x="153" y="264"/>
                  </a:lnTo>
                  <a:lnTo>
                    <a:pt x="143" y="254"/>
                  </a:lnTo>
                  <a:lnTo>
                    <a:pt x="132" y="241"/>
                  </a:lnTo>
                  <a:lnTo>
                    <a:pt x="124" y="226"/>
                  </a:lnTo>
                  <a:lnTo>
                    <a:pt x="128" y="216"/>
                  </a:lnTo>
                  <a:lnTo>
                    <a:pt x="137" y="215"/>
                  </a:lnTo>
                  <a:lnTo>
                    <a:pt x="148" y="211"/>
                  </a:lnTo>
                  <a:lnTo>
                    <a:pt x="153" y="201"/>
                  </a:lnTo>
                  <a:lnTo>
                    <a:pt x="149" y="193"/>
                  </a:lnTo>
                  <a:lnTo>
                    <a:pt x="139" y="198"/>
                  </a:lnTo>
                  <a:lnTo>
                    <a:pt x="129" y="201"/>
                  </a:lnTo>
                  <a:lnTo>
                    <a:pt x="120" y="202"/>
                  </a:lnTo>
                  <a:lnTo>
                    <a:pt x="117" y="187"/>
                  </a:lnTo>
                  <a:lnTo>
                    <a:pt x="122" y="186"/>
                  </a:lnTo>
                  <a:lnTo>
                    <a:pt x="130" y="180"/>
                  </a:lnTo>
                  <a:lnTo>
                    <a:pt x="143" y="171"/>
                  </a:lnTo>
                  <a:lnTo>
                    <a:pt x="152" y="157"/>
                  </a:lnTo>
                  <a:lnTo>
                    <a:pt x="137" y="145"/>
                  </a:lnTo>
                  <a:lnTo>
                    <a:pt x="132" y="136"/>
                  </a:lnTo>
                  <a:lnTo>
                    <a:pt x="129" y="141"/>
                  </a:lnTo>
                  <a:lnTo>
                    <a:pt x="123" y="160"/>
                  </a:lnTo>
                  <a:lnTo>
                    <a:pt x="116" y="168"/>
                  </a:lnTo>
                  <a:lnTo>
                    <a:pt x="113" y="170"/>
                  </a:lnTo>
                  <a:lnTo>
                    <a:pt x="106" y="165"/>
                  </a:lnTo>
                  <a:lnTo>
                    <a:pt x="103" y="160"/>
                  </a:lnTo>
                  <a:lnTo>
                    <a:pt x="97" y="149"/>
                  </a:lnTo>
                  <a:lnTo>
                    <a:pt x="93" y="142"/>
                  </a:lnTo>
                  <a:lnTo>
                    <a:pt x="88" y="130"/>
                  </a:lnTo>
                  <a:lnTo>
                    <a:pt x="99" y="118"/>
                  </a:lnTo>
                  <a:lnTo>
                    <a:pt x="94" y="100"/>
                  </a:lnTo>
                  <a:lnTo>
                    <a:pt x="86" y="110"/>
                  </a:lnTo>
                  <a:lnTo>
                    <a:pt x="83" y="107"/>
                  </a:lnTo>
                  <a:lnTo>
                    <a:pt x="78" y="83"/>
                  </a:lnTo>
                  <a:lnTo>
                    <a:pt x="82" y="72"/>
                  </a:lnTo>
                  <a:lnTo>
                    <a:pt x="85" y="71"/>
                  </a:lnTo>
                  <a:lnTo>
                    <a:pt x="92" y="67"/>
                  </a:lnTo>
                  <a:lnTo>
                    <a:pt x="97" y="68"/>
                  </a:lnTo>
                  <a:lnTo>
                    <a:pt x="101" y="66"/>
                  </a:lnTo>
                  <a:lnTo>
                    <a:pt x="108" y="6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2" name="Freeform 34">
              <a:extLst>
                <a:ext uri="{FF2B5EF4-FFF2-40B4-BE49-F238E27FC236}">
                  <a16:creationId xmlns:a16="http://schemas.microsoft.com/office/drawing/2014/main" id="{1C7138DD-34F6-E8DD-FB34-290A5FAE8856}"/>
                </a:ext>
              </a:extLst>
            </p:cNvPr>
            <p:cNvSpPr>
              <a:spLocks/>
            </p:cNvSpPr>
            <p:nvPr/>
          </p:nvSpPr>
          <p:spPr bwMode="auto">
            <a:xfrm>
              <a:off x="3595271" y="5240338"/>
              <a:ext cx="265113" cy="387350"/>
            </a:xfrm>
            <a:custGeom>
              <a:avLst/>
              <a:gdLst/>
              <a:ahLst/>
              <a:cxnLst>
                <a:cxn ang="0">
                  <a:pos x="166" y="163"/>
                </a:cxn>
                <a:cxn ang="0">
                  <a:pos x="164" y="172"/>
                </a:cxn>
                <a:cxn ang="0">
                  <a:pos x="164" y="186"/>
                </a:cxn>
                <a:cxn ang="0">
                  <a:pos x="159" y="194"/>
                </a:cxn>
                <a:cxn ang="0">
                  <a:pos x="159" y="204"/>
                </a:cxn>
                <a:cxn ang="0">
                  <a:pos x="162" y="216"/>
                </a:cxn>
                <a:cxn ang="0">
                  <a:pos x="156" y="225"/>
                </a:cxn>
                <a:cxn ang="0">
                  <a:pos x="157" y="231"/>
                </a:cxn>
                <a:cxn ang="0">
                  <a:pos x="152" y="235"/>
                </a:cxn>
                <a:cxn ang="0">
                  <a:pos x="145" y="244"/>
                </a:cxn>
                <a:cxn ang="0">
                  <a:pos x="133" y="235"/>
                </a:cxn>
                <a:cxn ang="0">
                  <a:pos x="128" y="227"/>
                </a:cxn>
                <a:cxn ang="0">
                  <a:pos x="119" y="222"/>
                </a:cxn>
                <a:cxn ang="0">
                  <a:pos x="106" y="216"/>
                </a:cxn>
                <a:cxn ang="0">
                  <a:pos x="89" y="206"/>
                </a:cxn>
                <a:cxn ang="0">
                  <a:pos x="70" y="189"/>
                </a:cxn>
                <a:cxn ang="0">
                  <a:pos x="68" y="177"/>
                </a:cxn>
                <a:cxn ang="0">
                  <a:pos x="53" y="150"/>
                </a:cxn>
                <a:cxn ang="0">
                  <a:pos x="49" y="147"/>
                </a:cxn>
                <a:cxn ang="0">
                  <a:pos x="48" y="139"/>
                </a:cxn>
                <a:cxn ang="0">
                  <a:pos x="31" y="107"/>
                </a:cxn>
                <a:cxn ang="0">
                  <a:pos x="18" y="87"/>
                </a:cxn>
                <a:cxn ang="0">
                  <a:pos x="5" y="80"/>
                </a:cxn>
                <a:cxn ang="0">
                  <a:pos x="3" y="76"/>
                </a:cxn>
                <a:cxn ang="0">
                  <a:pos x="7" y="72"/>
                </a:cxn>
                <a:cxn ang="0">
                  <a:pos x="0" y="60"/>
                </a:cxn>
                <a:cxn ang="0">
                  <a:pos x="5" y="52"/>
                </a:cxn>
                <a:cxn ang="0">
                  <a:pos x="16" y="44"/>
                </a:cxn>
                <a:cxn ang="0">
                  <a:pos x="14" y="52"/>
                </a:cxn>
                <a:cxn ang="0">
                  <a:pos x="18" y="57"/>
                </a:cxn>
                <a:cxn ang="0">
                  <a:pos x="26" y="61"/>
                </a:cxn>
                <a:cxn ang="0">
                  <a:pos x="32" y="64"/>
                </a:cxn>
                <a:cxn ang="0">
                  <a:pos x="41" y="45"/>
                </a:cxn>
                <a:cxn ang="0">
                  <a:pos x="54" y="36"/>
                </a:cxn>
                <a:cxn ang="0">
                  <a:pos x="68" y="29"/>
                </a:cxn>
                <a:cxn ang="0">
                  <a:pos x="79" y="14"/>
                </a:cxn>
                <a:cxn ang="0">
                  <a:pos x="79" y="5"/>
                </a:cxn>
                <a:cxn ang="0">
                  <a:pos x="88" y="3"/>
                </a:cxn>
                <a:cxn ang="0">
                  <a:pos x="93" y="12"/>
                </a:cxn>
                <a:cxn ang="0">
                  <a:pos x="104" y="22"/>
                </a:cxn>
                <a:cxn ang="0">
                  <a:pos x="109" y="25"/>
                </a:cxn>
                <a:cxn ang="0">
                  <a:pos x="110" y="31"/>
                </a:cxn>
                <a:cxn ang="0">
                  <a:pos x="123" y="32"/>
                </a:cxn>
                <a:cxn ang="0">
                  <a:pos x="131" y="30"/>
                </a:cxn>
                <a:cxn ang="0">
                  <a:pos x="140" y="30"/>
                </a:cxn>
                <a:cxn ang="0">
                  <a:pos x="148" y="37"/>
                </a:cxn>
                <a:cxn ang="0">
                  <a:pos x="145" y="48"/>
                </a:cxn>
                <a:cxn ang="0">
                  <a:pos x="151" y="53"/>
                </a:cxn>
                <a:cxn ang="0">
                  <a:pos x="145" y="55"/>
                </a:cxn>
                <a:cxn ang="0">
                  <a:pos x="137" y="57"/>
                </a:cxn>
                <a:cxn ang="0">
                  <a:pos x="119" y="62"/>
                </a:cxn>
                <a:cxn ang="0">
                  <a:pos x="109" y="74"/>
                </a:cxn>
                <a:cxn ang="0">
                  <a:pos x="109" y="83"/>
                </a:cxn>
                <a:cxn ang="0">
                  <a:pos x="102" y="89"/>
                </a:cxn>
                <a:cxn ang="0">
                  <a:pos x="99" y="98"/>
                </a:cxn>
                <a:cxn ang="0">
                  <a:pos x="111" y="117"/>
                </a:cxn>
                <a:cxn ang="0">
                  <a:pos x="115" y="123"/>
                </a:cxn>
                <a:cxn ang="0">
                  <a:pos x="121" y="126"/>
                </a:cxn>
                <a:cxn ang="0">
                  <a:pos x="136" y="127"/>
                </a:cxn>
                <a:cxn ang="0">
                  <a:pos x="142" y="133"/>
                </a:cxn>
                <a:cxn ang="0">
                  <a:pos x="144" y="144"/>
                </a:cxn>
                <a:cxn ang="0">
                  <a:pos x="152" y="142"/>
                </a:cxn>
              </a:cxnLst>
              <a:rect l="0" t="0" r="r" b="b"/>
              <a:pathLst>
                <a:path w="167" h="244">
                  <a:moveTo>
                    <a:pt x="155" y="142"/>
                  </a:moveTo>
                  <a:lnTo>
                    <a:pt x="161" y="153"/>
                  </a:lnTo>
                  <a:lnTo>
                    <a:pt x="166" y="163"/>
                  </a:lnTo>
                  <a:lnTo>
                    <a:pt x="167" y="164"/>
                  </a:lnTo>
                  <a:lnTo>
                    <a:pt x="164" y="169"/>
                  </a:lnTo>
                  <a:lnTo>
                    <a:pt x="164" y="172"/>
                  </a:lnTo>
                  <a:lnTo>
                    <a:pt x="163" y="177"/>
                  </a:lnTo>
                  <a:lnTo>
                    <a:pt x="163" y="180"/>
                  </a:lnTo>
                  <a:lnTo>
                    <a:pt x="164" y="186"/>
                  </a:lnTo>
                  <a:lnTo>
                    <a:pt x="163" y="188"/>
                  </a:lnTo>
                  <a:lnTo>
                    <a:pt x="162" y="190"/>
                  </a:lnTo>
                  <a:lnTo>
                    <a:pt x="159" y="194"/>
                  </a:lnTo>
                  <a:lnTo>
                    <a:pt x="158" y="196"/>
                  </a:lnTo>
                  <a:lnTo>
                    <a:pt x="161" y="201"/>
                  </a:lnTo>
                  <a:lnTo>
                    <a:pt x="159" y="204"/>
                  </a:lnTo>
                  <a:lnTo>
                    <a:pt x="158" y="206"/>
                  </a:lnTo>
                  <a:lnTo>
                    <a:pt x="158" y="209"/>
                  </a:lnTo>
                  <a:lnTo>
                    <a:pt x="162" y="216"/>
                  </a:lnTo>
                  <a:lnTo>
                    <a:pt x="162" y="219"/>
                  </a:lnTo>
                  <a:lnTo>
                    <a:pt x="160" y="222"/>
                  </a:lnTo>
                  <a:lnTo>
                    <a:pt x="156" y="225"/>
                  </a:lnTo>
                  <a:lnTo>
                    <a:pt x="155" y="227"/>
                  </a:lnTo>
                  <a:lnTo>
                    <a:pt x="156" y="230"/>
                  </a:lnTo>
                  <a:lnTo>
                    <a:pt x="157" y="231"/>
                  </a:lnTo>
                  <a:lnTo>
                    <a:pt x="157" y="233"/>
                  </a:lnTo>
                  <a:lnTo>
                    <a:pt x="153" y="234"/>
                  </a:lnTo>
                  <a:lnTo>
                    <a:pt x="152" y="235"/>
                  </a:lnTo>
                  <a:lnTo>
                    <a:pt x="151" y="240"/>
                  </a:lnTo>
                  <a:lnTo>
                    <a:pt x="149" y="242"/>
                  </a:lnTo>
                  <a:lnTo>
                    <a:pt x="145" y="244"/>
                  </a:lnTo>
                  <a:lnTo>
                    <a:pt x="143" y="241"/>
                  </a:lnTo>
                  <a:lnTo>
                    <a:pt x="142" y="239"/>
                  </a:lnTo>
                  <a:lnTo>
                    <a:pt x="133" y="235"/>
                  </a:lnTo>
                  <a:lnTo>
                    <a:pt x="131" y="234"/>
                  </a:lnTo>
                  <a:lnTo>
                    <a:pt x="130" y="230"/>
                  </a:lnTo>
                  <a:lnTo>
                    <a:pt x="128" y="227"/>
                  </a:lnTo>
                  <a:lnTo>
                    <a:pt x="125" y="226"/>
                  </a:lnTo>
                  <a:lnTo>
                    <a:pt x="122" y="224"/>
                  </a:lnTo>
                  <a:lnTo>
                    <a:pt x="119" y="222"/>
                  </a:lnTo>
                  <a:lnTo>
                    <a:pt x="115" y="221"/>
                  </a:lnTo>
                  <a:lnTo>
                    <a:pt x="110" y="218"/>
                  </a:lnTo>
                  <a:lnTo>
                    <a:pt x="106" y="216"/>
                  </a:lnTo>
                  <a:lnTo>
                    <a:pt x="101" y="213"/>
                  </a:lnTo>
                  <a:lnTo>
                    <a:pt x="96" y="211"/>
                  </a:lnTo>
                  <a:lnTo>
                    <a:pt x="89" y="206"/>
                  </a:lnTo>
                  <a:lnTo>
                    <a:pt x="81" y="200"/>
                  </a:lnTo>
                  <a:lnTo>
                    <a:pt x="74" y="193"/>
                  </a:lnTo>
                  <a:lnTo>
                    <a:pt x="70" y="189"/>
                  </a:lnTo>
                  <a:lnTo>
                    <a:pt x="68" y="185"/>
                  </a:lnTo>
                  <a:lnTo>
                    <a:pt x="68" y="182"/>
                  </a:lnTo>
                  <a:lnTo>
                    <a:pt x="68" y="177"/>
                  </a:lnTo>
                  <a:lnTo>
                    <a:pt x="66" y="173"/>
                  </a:lnTo>
                  <a:lnTo>
                    <a:pt x="62" y="167"/>
                  </a:lnTo>
                  <a:lnTo>
                    <a:pt x="53" y="150"/>
                  </a:lnTo>
                  <a:lnTo>
                    <a:pt x="52" y="149"/>
                  </a:lnTo>
                  <a:lnTo>
                    <a:pt x="49" y="147"/>
                  </a:lnTo>
                  <a:lnTo>
                    <a:pt x="49" y="147"/>
                  </a:lnTo>
                  <a:lnTo>
                    <a:pt x="49" y="143"/>
                  </a:lnTo>
                  <a:lnTo>
                    <a:pt x="49" y="141"/>
                  </a:lnTo>
                  <a:lnTo>
                    <a:pt x="48" y="139"/>
                  </a:lnTo>
                  <a:lnTo>
                    <a:pt x="41" y="126"/>
                  </a:lnTo>
                  <a:lnTo>
                    <a:pt x="35" y="114"/>
                  </a:lnTo>
                  <a:lnTo>
                    <a:pt x="31" y="107"/>
                  </a:lnTo>
                  <a:lnTo>
                    <a:pt x="23" y="95"/>
                  </a:lnTo>
                  <a:lnTo>
                    <a:pt x="21" y="93"/>
                  </a:lnTo>
                  <a:lnTo>
                    <a:pt x="18" y="87"/>
                  </a:lnTo>
                  <a:lnTo>
                    <a:pt x="15" y="85"/>
                  </a:lnTo>
                  <a:lnTo>
                    <a:pt x="11" y="82"/>
                  </a:lnTo>
                  <a:lnTo>
                    <a:pt x="5" y="80"/>
                  </a:lnTo>
                  <a:lnTo>
                    <a:pt x="2" y="78"/>
                  </a:lnTo>
                  <a:lnTo>
                    <a:pt x="2" y="77"/>
                  </a:lnTo>
                  <a:lnTo>
                    <a:pt x="3" y="76"/>
                  </a:lnTo>
                  <a:lnTo>
                    <a:pt x="7" y="76"/>
                  </a:lnTo>
                  <a:lnTo>
                    <a:pt x="8" y="74"/>
                  </a:lnTo>
                  <a:lnTo>
                    <a:pt x="7" y="72"/>
                  </a:lnTo>
                  <a:lnTo>
                    <a:pt x="4" y="67"/>
                  </a:lnTo>
                  <a:lnTo>
                    <a:pt x="2" y="64"/>
                  </a:lnTo>
                  <a:lnTo>
                    <a:pt x="0" y="60"/>
                  </a:lnTo>
                  <a:lnTo>
                    <a:pt x="0" y="59"/>
                  </a:lnTo>
                  <a:lnTo>
                    <a:pt x="2" y="55"/>
                  </a:lnTo>
                  <a:lnTo>
                    <a:pt x="5" y="52"/>
                  </a:lnTo>
                  <a:lnTo>
                    <a:pt x="11" y="47"/>
                  </a:lnTo>
                  <a:lnTo>
                    <a:pt x="14" y="45"/>
                  </a:lnTo>
                  <a:lnTo>
                    <a:pt x="16" y="44"/>
                  </a:lnTo>
                  <a:lnTo>
                    <a:pt x="16" y="47"/>
                  </a:lnTo>
                  <a:lnTo>
                    <a:pt x="15" y="50"/>
                  </a:lnTo>
                  <a:lnTo>
                    <a:pt x="14" y="52"/>
                  </a:lnTo>
                  <a:lnTo>
                    <a:pt x="14" y="55"/>
                  </a:lnTo>
                  <a:lnTo>
                    <a:pt x="15" y="56"/>
                  </a:lnTo>
                  <a:lnTo>
                    <a:pt x="18" y="57"/>
                  </a:lnTo>
                  <a:lnTo>
                    <a:pt x="23" y="57"/>
                  </a:lnTo>
                  <a:lnTo>
                    <a:pt x="25" y="59"/>
                  </a:lnTo>
                  <a:lnTo>
                    <a:pt x="26" y="61"/>
                  </a:lnTo>
                  <a:lnTo>
                    <a:pt x="28" y="64"/>
                  </a:lnTo>
                  <a:lnTo>
                    <a:pt x="30" y="65"/>
                  </a:lnTo>
                  <a:lnTo>
                    <a:pt x="32" y="64"/>
                  </a:lnTo>
                  <a:lnTo>
                    <a:pt x="33" y="62"/>
                  </a:lnTo>
                  <a:lnTo>
                    <a:pt x="39" y="48"/>
                  </a:lnTo>
                  <a:lnTo>
                    <a:pt x="41" y="45"/>
                  </a:lnTo>
                  <a:lnTo>
                    <a:pt x="44" y="41"/>
                  </a:lnTo>
                  <a:lnTo>
                    <a:pt x="49" y="38"/>
                  </a:lnTo>
                  <a:lnTo>
                    <a:pt x="54" y="36"/>
                  </a:lnTo>
                  <a:lnTo>
                    <a:pt x="60" y="34"/>
                  </a:lnTo>
                  <a:lnTo>
                    <a:pt x="62" y="33"/>
                  </a:lnTo>
                  <a:lnTo>
                    <a:pt x="68" y="29"/>
                  </a:lnTo>
                  <a:lnTo>
                    <a:pt x="72" y="25"/>
                  </a:lnTo>
                  <a:lnTo>
                    <a:pt x="76" y="20"/>
                  </a:lnTo>
                  <a:lnTo>
                    <a:pt x="79" y="14"/>
                  </a:lnTo>
                  <a:lnTo>
                    <a:pt x="81" y="11"/>
                  </a:lnTo>
                  <a:lnTo>
                    <a:pt x="81" y="10"/>
                  </a:lnTo>
                  <a:lnTo>
                    <a:pt x="79" y="5"/>
                  </a:lnTo>
                  <a:lnTo>
                    <a:pt x="77" y="0"/>
                  </a:lnTo>
                  <a:lnTo>
                    <a:pt x="82" y="1"/>
                  </a:lnTo>
                  <a:lnTo>
                    <a:pt x="88" y="3"/>
                  </a:lnTo>
                  <a:lnTo>
                    <a:pt x="91" y="6"/>
                  </a:lnTo>
                  <a:lnTo>
                    <a:pt x="92" y="8"/>
                  </a:lnTo>
                  <a:lnTo>
                    <a:pt x="93" y="12"/>
                  </a:lnTo>
                  <a:lnTo>
                    <a:pt x="96" y="14"/>
                  </a:lnTo>
                  <a:lnTo>
                    <a:pt x="102" y="18"/>
                  </a:lnTo>
                  <a:lnTo>
                    <a:pt x="104" y="22"/>
                  </a:lnTo>
                  <a:lnTo>
                    <a:pt x="104" y="24"/>
                  </a:lnTo>
                  <a:lnTo>
                    <a:pt x="106" y="25"/>
                  </a:lnTo>
                  <a:lnTo>
                    <a:pt x="109" y="25"/>
                  </a:lnTo>
                  <a:lnTo>
                    <a:pt x="110" y="27"/>
                  </a:lnTo>
                  <a:lnTo>
                    <a:pt x="110" y="29"/>
                  </a:lnTo>
                  <a:lnTo>
                    <a:pt x="110" y="31"/>
                  </a:lnTo>
                  <a:lnTo>
                    <a:pt x="114" y="32"/>
                  </a:lnTo>
                  <a:lnTo>
                    <a:pt x="120" y="32"/>
                  </a:lnTo>
                  <a:lnTo>
                    <a:pt x="123" y="32"/>
                  </a:lnTo>
                  <a:lnTo>
                    <a:pt x="125" y="30"/>
                  </a:lnTo>
                  <a:lnTo>
                    <a:pt x="128" y="28"/>
                  </a:lnTo>
                  <a:lnTo>
                    <a:pt x="131" y="30"/>
                  </a:lnTo>
                  <a:lnTo>
                    <a:pt x="133" y="32"/>
                  </a:lnTo>
                  <a:lnTo>
                    <a:pt x="137" y="29"/>
                  </a:lnTo>
                  <a:lnTo>
                    <a:pt x="140" y="30"/>
                  </a:lnTo>
                  <a:lnTo>
                    <a:pt x="148" y="35"/>
                  </a:lnTo>
                  <a:lnTo>
                    <a:pt x="149" y="36"/>
                  </a:lnTo>
                  <a:lnTo>
                    <a:pt x="148" y="37"/>
                  </a:lnTo>
                  <a:lnTo>
                    <a:pt x="142" y="48"/>
                  </a:lnTo>
                  <a:lnTo>
                    <a:pt x="144" y="48"/>
                  </a:lnTo>
                  <a:lnTo>
                    <a:pt x="145" y="48"/>
                  </a:lnTo>
                  <a:lnTo>
                    <a:pt x="146" y="48"/>
                  </a:lnTo>
                  <a:lnTo>
                    <a:pt x="150" y="53"/>
                  </a:lnTo>
                  <a:lnTo>
                    <a:pt x="151" y="53"/>
                  </a:lnTo>
                  <a:lnTo>
                    <a:pt x="152" y="55"/>
                  </a:lnTo>
                  <a:lnTo>
                    <a:pt x="149" y="56"/>
                  </a:lnTo>
                  <a:lnTo>
                    <a:pt x="145" y="55"/>
                  </a:lnTo>
                  <a:lnTo>
                    <a:pt x="142" y="54"/>
                  </a:lnTo>
                  <a:lnTo>
                    <a:pt x="140" y="55"/>
                  </a:lnTo>
                  <a:lnTo>
                    <a:pt x="137" y="57"/>
                  </a:lnTo>
                  <a:lnTo>
                    <a:pt x="134" y="58"/>
                  </a:lnTo>
                  <a:lnTo>
                    <a:pt x="130" y="58"/>
                  </a:lnTo>
                  <a:lnTo>
                    <a:pt x="119" y="62"/>
                  </a:lnTo>
                  <a:lnTo>
                    <a:pt x="115" y="65"/>
                  </a:lnTo>
                  <a:lnTo>
                    <a:pt x="113" y="66"/>
                  </a:lnTo>
                  <a:lnTo>
                    <a:pt x="109" y="74"/>
                  </a:lnTo>
                  <a:lnTo>
                    <a:pt x="107" y="77"/>
                  </a:lnTo>
                  <a:lnTo>
                    <a:pt x="107" y="78"/>
                  </a:lnTo>
                  <a:lnTo>
                    <a:pt x="109" y="83"/>
                  </a:lnTo>
                  <a:lnTo>
                    <a:pt x="109" y="84"/>
                  </a:lnTo>
                  <a:lnTo>
                    <a:pt x="106" y="87"/>
                  </a:lnTo>
                  <a:lnTo>
                    <a:pt x="102" y="89"/>
                  </a:lnTo>
                  <a:lnTo>
                    <a:pt x="100" y="91"/>
                  </a:lnTo>
                  <a:lnTo>
                    <a:pt x="98" y="95"/>
                  </a:lnTo>
                  <a:lnTo>
                    <a:pt x="99" y="98"/>
                  </a:lnTo>
                  <a:lnTo>
                    <a:pt x="103" y="104"/>
                  </a:lnTo>
                  <a:lnTo>
                    <a:pt x="110" y="117"/>
                  </a:lnTo>
                  <a:lnTo>
                    <a:pt x="111" y="117"/>
                  </a:lnTo>
                  <a:lnTo>
                    <a:pt x="110" y="120"/>
                  </a:lnTo>
                  <a:lnTo>
                    <a:pt x="109" y="122"/>
                  </a:lnTo>
                  <a:lnTo>
                    <a:pt x="115" y="123"/>
                  </a:lnTo>
                  <a:lnTo>
                    <a:pt x="117" y="123"/>
                  </a:lnTo>
                  <a:lnTo>
                    <a:pt x="119" y="124"/>
                  </a:lnTo>
                  <a:lnTo>
                    <a:pt x="121" y="126"/>
                  </a:lnTo>
                  <a:lnTo>
                    <a:pt x="121" y="130"/>
                  </a:lnTo>
                  <a:lnTo>
                    <a:pt x="132" y="130"/>
                  </a:lnTo>
                  <a:lnTo>
                    <a:pt x="136" y="127"/>
                  </a:lnTo>
                  <a:lnTo>
                    <a:pt x="140" y="124"/>
                  </a:lnTo>
                  <a:lnTo>
                    <a:pt x="142" y="124"/>
                  </a:lnTo>
                  <a:lnTo>
                    <a:pt x="142" y="133"/>
                  </a:lnTo>
                  <a:lnTo>
                    <a:pt x="141" y="140"/>
                  </a:lnTo>
                  <a:lnTo>
                    <a:pt x="142" y="142"/>
                  </a:lnTo>
                  <a:lnTo>
                    <a:pt x="144" y="144"/>
                  </a:lnTo>
                  <a:lnTo>
                    <a:pt x="145" y="144"/>
                  </a:lnTo>
                  <a:lnTo>
                    <a:pt x="148" y="144"/>
                  </a:lnTo>
                  <a:lnTo>
                    <a:pt x="152" y="142"/>
                  </a:lnTo>
                  <a:lnTo>
                    <a:pt x="155" y="14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3" name="Freeform 35">
              <a:extLst>
                <a:ext uri="{FF2B5EF4-FFF2-40B4-BE49-F238E27FC236}">
                  <a16:creationId xmlns:a16="http://schemas.microsoft.com/office/drawing/2014/main" id="{A797ED22-81F5-D6DD-0E55-4747C9CE7E90}"/>
                </a:ext>
              </a:extLst>
            </p:cNvPr>
            <p:cNvSpPr>
              <a:spLocks/>
            </p:cNvSpPr>
            <p:nvPr/>
          </p:nvSpPr>
          <p:spPr bwMode="auto">
            <a:xfrm>
              <a:off x="5085934" y="4273550"/>
              <a:ext cx="71438" cy="138113"/>
            </a:xfrm>
            <a:custGeom>
              <a:avLst/>
              <a:gdLst/>
              <a:ahLst/>
              <a:cxnLst>
                <a:cxn ang="0">
                  <a:pos x="25" y="84"/>
                </a:cxn>
                <a:cxn ang="0">
                  <a:pos x="20" y="86"/>
                </a:cxn>
                <a:cxn ang="0">
                  <a:pos x="13" y="85"/>
                </a:cxn>
                <a:cxn ang="0">
                  <a:pos x="7" y="87"/>
                </a:cxn>
                <a:cxn ang="0">
                  <a:pos x="9" y="78"/>
                </a:cxn>
                <a:cxn ang="0">
                  <a:pos x="8" y="71"/>
                </a:cxn>
                <a:cxn ang="0">
                  <a:pos x="9" y="64"/>
                </a:cxn>
                <a:cxn ang="0">
                  <a:pos x="9" y="62"/>
                </a:cxn>
                <a:cxn ang="0">
                  <a:pos x="4" y="63"/>
                </a:cxn>
                <a:cxn ang="0">
                  <a:pos x="6" y="59"/>
                </a:cxn>
                <a:cxn ang="0">
                  <a:pos x="8" y="56"/>
                </a:cxn>
                <a:cxn ang="0">
                  <a:pos x="5" y="58"/>
                </a:cxn>
                <a:cxn ang="0">
                  <a:pos x="1" y="59"/>
                </a:cxn>
                <a:cxn ang="0">
                  <a:pos x="1" y="54"/>
                </a:cxn>
                <a:cxn ang="0">
                  <a:pos x="2" y="47"/>
                </a:cxn>
                <a:cxn ang="0">
                  <a:pos x="6" y="42"/>
                </a:cxn>
                <a:cxn ang="0">
                  <a:pos x="8" y="33"/>
                </a:cxn>
                <a:cxn ang="0">
                  <a:pos x="9" y="12"/>
                </a:cxn>
                <a:cxn ang="0">
                  <a:pos x="8" y="6"/>
                </a:cxn>
                <a:cxn ang="0">
                  <a:pos x="15" y="2"/>
                </a:cxn>
                <a:cxn ang="0">
                  <a:pos x="21" y="4"/>
                </a:cxn>
                <a:cxn ang="0">
                  <a:pos x="35" y="2"/>
                </a:cxn>
                <a:cxn ang="0">
                  <a:pos x="39" y="4"/>
                </a:cxn>
                <a:cxn ang="0">
                  <a:pos x="44" y="10"/>
                </a:cxn>
                <a:cxn ang="0">
                  <a:pos x="43" y="14"/>
                </a:cxn>
                <a:cxn ang="0">
                  <a:pos x="35" y="18"/>
                </a:cxn>
                <a:cxn ang="0">
                  <a:pos x="36" y="25"/>
                </a:cxn>
                <a:cxn ang="0">
                  <a:pos x="35" y="40"/>
                </a:cxn>
                <a:cxn ang="0">
                  <a:pos x="32" y="43"/>
                </a:cxn>
                <a:cxn ang="0">
                  <a:pos x="28" y="45"/>
                </a:cxn>
                <a:cxn ang="0">
                  <a:pos x="33" y="53"/>
                </a:cxn>
                <a:cxn ang="0">
                  <a:pos x="32" y="57"/>
                </a:cxn>
                <a:cxn ang="0">
                  <a:pos x="28" y="65"/>
                </a:cxn>
                <a:cxn ang="0">
                  <a:pos x="35" y="68"/>
                </a:cxn>
                <a:cxn ang="0">
                  <a:pos x="29" y="76"/>
                </a:cxn>
                <a:cxn ang="0">
                  <a:pos x="27" y="83"/>
                </a:cxn>
              </a:cxnLst>
              <a:rect l="0" t="0" r="r" b="b"/>
              <a:pathLst>
                <a:path w="45" h="87">
                  <a:moveTo>
                    <a:pt x="27" y="83"/>
                  </a:moveTo>
                  <a:lnTo>
                    <a:pt x="25" y="84"/>
                  </a:lnTo>
                  <a:lnTo>
                    <a:pt x="22" y="86"/>
                  </a:lnTo>
                  <a:lnTo>
                    <a:pt x="20" y="86"/>
                  </a:lnTo>
                  <a:lnTo>
                    <a:pt x="17" y="85"/>
                  </a:lnTo>
                  <a:lnTo>
                    <a:pt x="13" y="85"/>
                  </a:lnTo>
                  <a:lnTo>
                    <a:pt x="11" y="84"/>
                  </a:lnTo>
                  <a:lnTo>
                    <a:pt x="7" y="87"/>
                  </a:lnTo>
                  <a:lnTo>
                    <a:pt x="7" y="86"/>
                  </a:lnTo>
                  <a:lnTo>
                    <a:pt x="9" y="78"/>
                  </a:lnTo>
                  <a:lnTo>
                    <a:pt x="9" y="72"/>
                  </a:lnTo>
                  <a:lnTo>
                    <a:pt x="8" y="71"/>
                  </a:lnTo>
                  <a:lnTo>
                    <a:pt x="10" y="67"/>
                  </a:lnTo>
                  <a:lnTo>
                    <a:pt x="9" y="64"/>
                  </a:lnTo>
                  <a:lnTo>
                    <a:pt x="10" y="63"/>
                  </a:lnTo>
                  <a:lnTo>
                    <a:pt x="9" y="62"/>
                  </a:lnTo>
                  <a:lnTo>
                    <a:pt x="7" y="62"/>
                  </a:lnTo>
                  <a:lnTo>
                    <a:pt x="4" y="63"/>
                  </a:lnTo>
                  <a:lnTo>
                    <a:pt x="4" y="60"/>
                  </a:lnTo>
                  <a:lnTo>
                    <a:pt x="6" y="59"/>
                  </a:lnTo>
                  <a:lnTo>
                    <a:pt x="8" y="58"/>
                  </a:lnTo>
                  <a:lnTo>
                    <a:pt x="8" y="56"/>
                  </a:lnTo>
                  <a:lnTo>
                    <a:pt x="7" y="55"/>
                  </a:lnTo>
                  <a:lnTo>
                    <a:pt x="5" y="58"/>
                  </a:lnTo>
                  <a:lnTo>
                    <a:pt x="2" y="59"/>
                  </a:lnTo>
                  <a:lnTo>
                    <a:pt x="1" y="59"/>
                  </a:lnTo>
                  <a:lnTo>
                    <a:pt x="0" y="57"/>
                  </a:lnTo>
                  <a:lnTo>
                    <a:pt x="1" y="54"/>
                  </a:lnTo>
                  <a:lnTo>
                    <a:pt x="2" y="50"/>
                  </a:lnTo>
                  <a:lnTo>
                    <a:pt x="2" y="47"/>
                  </a:lnTo>
                  <a:lnTo>
                    <a:pt x="3" y="46"/>
                  </a:lnTo>
                  <a:lnTo>
                    <a:pt x="6" y="42"/>
                  </a:lnTo>
                  <a:lnTo>
                    <a:pt x="8" y="34"/>
                  </a:lnTo>
                  <a:lnTo>
                    <a:pt x="8" y="33"/>
                  </a:lnTo>
                  <a:lnTo>
                    <a:pt x="11" y="20"/>
                  </a:lnTo>
                  <a:lnTo>
                    <a:pt x="9" y="12"/>
                  </a:lnTo>
                  <a:lnTo>
                    <a:pt x="9" y="9"/>
                  </a:lnTo>
                  <a:lnTo>
                    <a:pt x="8" y="6"/>
                  </a:lnTo>
                  <a:lnTo>
                    <a:pt x="10" y="4"/>
                  </a:lnTo>
                  <a:lnTo>
                    <a:pt x="15" y="2"/>
                  </a:lnTo>
                  <a:lnTo>
                    <a:pt x="18" y="0"/>
                  </a:lnTo>
                  <a:lnTo>
                    <a:pt x="21" y="4"/>
                  </a:lnTo>
                  <a:lnTo>
                    <a:pt x="32" y="4"/>
                  </a:lnTo>
                  <a:lnTo>
                    <a:pt x="35" y="2"/>
                  </a:lnTo>
                  <a:lnTo>
                    <a:pt x="37" y="3"/>
                  </a:lnTo>
                  <a:lnTo>
                    <a:pt x="39" y="4"/>
                  </a:lnTo>
                  <a:lnTo>
                    <a:pt x="40" y="6"/>
                  </a:lnTo>
                  <a:lnTo>
                    <a:pt x="44" y="10"/>
                  </a:lnTo>
                  <a:lnTo>
                    <a:pt x="45" y="12"/>
                  </a:lnTo>
                  <a:lnTo>
                    <a:pt x="43" y="14"/>
                  </a:lnTo>
                  <a:lnTo>
                    <a:pt x="36" y="18"/>
                  </a:lnTo>
                  <a:lnTo>
                    <a:pt x="35" y="18"/>
                  </a:lnTo>
                  <a:lnTo>
                    <a:pt x="35" y="22"/>
                  </a:lnTo>
                  <a:lnTo>
                    <a:pt x="36" y="25"/>
                  </a:lnTo>
                  <a:lnTo>
                    <a:pt x="35" y="33"/>
                  </a:lnTo>
                  <a:lnTo>
                    <a:pt x="35" y="40"/>
                  </a:lnTo>
                  <a:lnTo>
                    <a:pt x="35" y="42"/>
                  </a:lnTo>
                  <a:lnTo>
                    <a:pt x="32" y="43"/>
                  </a:lnTo>
                  <a:lnTo>
                    <a:pt x="29" y="44"/>
                  </a:lnTo>
                  <a:lnTo>
                    <a:pt x="28" y="45"/>
                  </a:lnTo>
                  <a:lnTo>
                    <a:pt x="31" y="48"/>
                  </a:lnTo>
                  <a:lnTo>
                    <a:pt x="33" y="53"/>
                  </a:lnTo>
                  <a:lnTo>
                    <a:pt x="34" y="54"/>
                  </a:lnTo>
                  <a:lnTo>
                    <a:pt x="32" y="57"/>
                  </a:lnTo>
                  <a:lnTo>
                    <a:pt x="29" y="62"/>
                  </a:lnTo>
                  <a:lnTo>
                    <a:pt x="28" y="65"/>
                  </a:lnTo>
                  <a:lnTo>
                    <a:pt x="33" y="66"/>
                  </a:lnTo>
                  <a:lnTo>
                    <a:pt x="35" y="68"/>
                  </a:lnTo>
                  <a:lnTo>
                    <a:pt x="30" y="73"/>
                  </a:lnTo>
                  <a:lnTo>
                    <a:pt x="29" y="76"/>
                  </a:lnTo>
                  <a:lnTo>
                    <a:pt x="27" y="83"/>
                  </a:lnTo>
                  <a:lnTo>
                    <a:pt x="27" y="8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4" name="Freeform 36">
              <a:extLst>
                <a:ext uri="{FF2B5EF4-FFF2-40B4-BE49-F238E27FC236}">
                  <a16:creationId xmlns:a16="http://schemas.microsoft.com/office/drawing/2014/main" id="{EB8835C5-372B-8FAC-D88C-C8A7FD33F62D}"/>
                </a:ext>
              </a:extLst>
            </p:cNvPr>
            <p:cNvSpPr>
              <a:spLocks/>
            </p:cNvSpPr>
            <p:nvPr/>
          </p:nvSpPr>
          <p:spPr bwMode="auto">
            <a:xfrm>
              <a:off x="5357396" y="3924300"/>
              <a:ext cx="76200" cy="88900"/>
            </a:xfrm>
            <a:custGeom>
              <a:avLst/>
              <a:gdLst/>
              <a:ahLst/>
              <a:cxnLst>
                <a:cxn ang="0">
                  <a:pos x="48" y="9"/>
                </a:cxn>
                <a:cxn ang="0">
                  <a:pos x="46" y="16"/>
                </a:cxn>
                <a:cxn ang="0">
                  <a:pos x="42" y="18"/>
                </a:cxn>
                <a:cxn ang="0">
                  <a:pos x="44" y="21"/>
                </a:cxn>
                <a:cxn ang="0">
                  <a:pos x="46" y="22"/>
                </a:cxn>
                <a:cxn ang="0">
                  <a:pos x="44" y="27"/>
                </a:cxn>
                <a:cxn ang="0">
                  <a:pos x="41" y="32"/>
                </a:cxn>
                <a:cxn ang="0">
                  <a:pos x="35" y="32"/>
                </a:cxn>
                <a:cxn ang="0">
                  <a:pos x="32" y="34"/>
                </a:cxn>
                <a:cxn ang="0">
                  <a:pos x="34" y="37"/>
                </a:cxn>
                <a:cxn ang="0">
                  <a:pos x="35" y="42"/>
                </a:cxn>
                <a:cxn ang="0">
                  <a:pos x="34" y="46"/>
                </a:cxn>
                <a:cxn ang="0">
                  <a:pos x="33" y="49"/>
                </a:cxn>
                <a:cxn ang="0">
                  <a:pos x="31" y="51"/>
                </a:cxn>
                <a:cxn ang="0">
                  <a:pos x="33" y="53"/>
                </a:cxn>
                <a:cxn ang="0">
                  <a:pos x="28" y="56"/>
                </a:cxn>
                <a:cxn ang="0">
                  <a:pos x="29" y="52"/>
                </a:cxn>
                <a:cxn ang="0">
                  <a:pos x="26" y="45"/>
                </a:cxn>
                <a:cxn ang="0">
                  <a:pos x="21" y="42"/>
                </a:cxn>
                <a:cxn ang="0">
                  <a:pos x="18" y="42"/>
                </a:cxn>
                <a:cxn ang="0">
                  <a:pos x="15" y="42"/>
                </a:cxn>
                <a:cxn ang="0">
                  <a:pos x="11" y="42"/>
                </a:cxn>
                <a:cxn ang="0">
                  <a:pos x="8" y="43"/>
                </a:cxn>
                <a:cxn ang="0">
                  <a:pos x="3" y="42"/>
                </a:cxn>
                <a:cxn ang="0">
                  <a:pos x="0" y="38"/>
                </a:cxn>
                <a:cxn ang="0">
                  <a:pos x="10" y="28"/>
                </a:cxn>
                <a:cxn ang="0">
                  <a:pos x="14" y="13"/>
                </a:cxn>
                <a:cxn ang="0">
                  <a:pos x="19" y="11"/>
                </a:cxn>
                <a:cxn ang="0">
                  <a:pos x="22" y="16"/>
                </a:cxn>
                <a:cxn ang="0">
                  <a:pos x="19" y="18"/>
                </a:cxn>
                <a:cxn ang="0">
                  <a:pos x="19" y="24"/>
                </a:cxn>
                <a:cxn ang="0">
                  <a:pos x="27" y="23"/>
                </a:cxn>
                <a:cxn ang="0">
                  <a:pos x="30" y="18"/>
                </a:cxn>
                <a:cxn ang="0">
                  <a:pos x="26" y="17"/>
                </a:cxn>
                <a:cxn ang="0">
                  <a:pos x="28" y="13"/>
                </a:cxn>
                <a:cxn ang="0">
                  <a:pos x="23" y="12"/>
                </a:cxn>
                <a:cxn ang="0">
                  <a:pos x="24" y="8"/>
                </a:cxn>
                <a:cxn ang="0">
                  <a:pos x="24" y="5"/>
                </a:cxn>
                <a:cxn ang="0">
                  <a:pos x="32" y="1"/>
                </a:cxn>
                <a:cxn ang="0">
                  <a:pos x="42" y="0"/>
                </a:cxn>
                <a:cxn ang="0">
                  <a:pos x="46" y="3"/>
                </a:cxn>
                <a:cxn ang="0">
                  <a:pos x="47" y="4"/>
                </a:cxn>
              </a:cxnLst>
              <a:rect l="0" t="0" r="r" b="b"/>
              <a:pathLst>
                <a:path w="48" h="56">
                  <a:moveTo>
                    <a:pt x="47" y="4"/>
                  </a:moveTo>
                  <a:lnTo>
                    <a:pt x="48" y="9"/>
                  </a:lnTo>
                  <a:lnTo>
                    <a:pt x="46" y="12"/>
                  </a:lnTo>
                  <a:lnTo>
                    <a:pt x="46" y="16"/>
                  </a:lnTo>
                  <a:lnTo>
                    <a:pt x="43" y="16"/>
                  </a:lnTo>
                  <a:lnTo>
                    <a:pt x="42" y="18"/>
                  </a:lnTo>
                  <a:lnTo>
                    <a:pt x="41" y="19"/>
                  </a:lnTo>
                  <a:lnTo>
                    <a:pt x="44" y="21"/>
                  </a:lnTo>
                  <a:lnTo>
                    <a:pt x="45" y="20"/>
                  </a:lnTo>
                  <a:lnTo>
                    <a:pt x="46" y="22"/>
                  </a:lnTo>
                  <a:lnTo>
                    <a:pt x="46" y="25"/>
                  </a:lnTo>
                  <a:lnTo>
                    <a:pt x="44" y="27"/>
                  </a:lnTo>
                  <a:lnTo>
                    <a:pt x="43" y="30"/>
                  </a:lnTo>
                  <a:lnTo>
                    <a:pt x="41" y="32"/>
                  </a:lnTo>
                  <a:lnTo>
                    <a:pt x="37" y="33"/>
                  </a:lnTo>
                  <a:lnTo>
                    <a:pt x="35" y="32"/>
                  </a:lnTo>
                  <a:lnTo>
                    <a:pt x="34" y="33"/>
                  </a:lnTo>
                  <a:lnTo>
                    <a:pt x="32" y="34"/>
                  </a:lnTo>
                  <a:lnTo>
                    <a:pt x="32" y="35"/>
                  </a:lnTo>
                  <a:lnTo>
                    <a:pt x="34" y="37"/>
                  </a:lnTo>
                  <a:lnTo>
                    <a:pt x="34" y="39"/>
                  </a:lnTo>
                  <a:lnTo>
                    <a:pt x="35" y="42"/>
                  </a:lnTo>
                  <a:lnTo>
                    <a:pt x="35" y="44"/>
                  </a:lnTo>
                  <a:lnTo>
                    <a:pt x="34" y="46"/>
                  </a:lnTo>
                  <a:lnTo>
                    <a:pt x="35" y="47"/>
                  </a:lnTo>
                  <a:lnTo>
                    <a:pt x="33" y="49"/>
                  </a:lnTo>
                  <a:lnTo>
                    <a:pt x="32" y="50"/>
                  </a:lnTo>
                  <a:lnTo>
                    <a:pt x="31" y="51"/>
                  </a:lnTo>
                  <a:lnTo>
                    <a:pt x="32" y="51"/>
                  </a:lnTo>
                  <a:lnTo>
                    <a:pt x="33" y="53"/>
                  </a:lnTo>
                  <a:lnTo>
                    <a:pt x="32" y="56"/>
                  </a:lnTo>
                  <a:lnTo>
                    <a:pt x="28" y="56"/>
                  </a:lnTo>
                  <a:lnTo>
                    <a:pt x="28" y="53"/>
                  </a:lnTo>
                  <a:lnTo>
                    <a:pt x="29" y="52"/>
                  </a:lnTo>
                  <a:lnTo>
                    <a:pt x="30" y="48"/>
                  </a:lnTo>
                  <a:lnTo>
                    <a:pt x="26" y="45"/>
                  </a:lnTo>
                  <a:lnTo>
                    <a:pt x="22" y="45"/>
                  </a:lnTo>
                  <a:lnTo>
                    <a:pt x="21" y="42"/>
                  </a:lnTo>
                  <a:lnTo>
                    <a:pt x="19" y="41"/>
                  </a:lnTo>
                  <a:lnTo>
                    <a:pt x="18" y="42"/>
                  </a:lnTo>
                  <a:lnTo>
                    <a:pt x="16" y="40"/>
                  </a:lnTo>
                  <a:lnTo>
                    <a:pt x="15" y="42"/>
                  </a:lnTo>
                  <a:lnTo>
                    <a:pt x="13" y="42"/>
                  </a:lnTo>
                  <a:lnTo>
                    <a:pt x="11" y="42"/>
                  </a:lnTo>
                  <a:lnTo>
                    <a:pt x="11" y="43"/>
                  </a:lnTo>
                  <a:lnTo>
                    <a:pt x="8" y="43"/>
                  </a:lnTo>
                  <a:lnTo>
                    <a:pt x="6" y="43"/>
                  </a:lnTo>
                  <a:lnTo>
                    <a:pt x="3" y="42"/>
                  </a:lnTo>
                  <a:lnTo>
                    <a:pt x="3" y="41"/>
                  </a:lnTo>
                  <a:lnTo>
                    <a:pt x="0" y="38"/>
                  </a:lnTo>
                  <a:lnTo>
                    <a:pt x="5" y="34"/>
                  </a:lnTo>
                  <a:lnTo>
                    <a:pt x="10" y="28"/>
                  </a:lnTo>
                  <a:lnTo>
                    <a:pt x="11" y="24"/>
                  </a:lnTo>
                  <a:lnTo>
                    <a:pt x="14" y="13"/>
                  </a:lnTo>
                  <a:lnTo>
                    <a:pt x="16" y="12"/>
                  </a:lnTo>
                  <a:lnTo>
                    <a:pt x="19" y="11"/>
                  </a:lnTo>
                  <a:lnTo>
                    <a:pt x="22" y="13"/>
                  </a:lnTo>
                  <a:lnTo>
                    <a:pt x="22" y="16"/>
                  </a:lnTo>
                  <a:lnTo>
                    <a:pt x="20" y="18"/>
                  </a:lnTo>
                  <a:lnTo>
                    <a:pt x="19" y="18"/>
                  </a:lnTo>
                  <a:lnTo>
                    <a:pt x="20" y="22"/>
                  </a:lnTo>
                  <a:lnTo>
                    <a:pt x="19" y="24"/>
                  </a:lnTo>
                  <a:lnTo>
                    <a:pt x="25" y="25"/>
                  </a:lnTo>
                  <a:lnTo>
                    <a:pt x="27" y="23"/>
                  </a:lnTo>
                  <a:lnTo>
                    <a:pt x="29" y="22"/>
                  </a:lnTo>
                  <a:lnTo>
                    <a:pt x="30" y="18"/>
                  </a:lnTo>
                  <a:lnTo>
                    <a:pt x="27" y="18"/>
                  </a:lnTo>
                  <a:lnTo>
                    <a:pt x="26" y="17"/>
                  </a:lnTo>
                  <a:lnTo>
                    <a:pt x="26" y="15"/>
                  </a:lnTo>
                  <a:lnTo>
                    <a:pt x="28" y="13"/>
                  </a:lnTo>
                  <a:lnTo>
                    <a:pt x="27" y="13"/>
                  </a:lnTo>
                  <a:lnTo>
                    <a:pt x="23" y="12"/>
                  </a:lnTo>
                  <a:lnTo>
                    <a:pt x="24" y="9"/>
                  </a:lnTo>
                  <a:lnTo>
                    <a:pt x="24" y="8"/>
                  </a:lnTo>
                  <a:lnTo>
                    <a:pt x="23" y="8"/>
                  </a:lnTo>
                  <a:lnTo>
                    <a:pt x="24" y="5"/>
                  </a:lnTo>
                  <a:lnTo>
                    <a:pt x="28" y="3"/>
                  </a:lnTo>
                  <a:lnTo>
                    <a:pt x="32" y="1"/>
                  </a:lnTo>
                  <a:lnTo>
                    <a:pt x="36" y="1"/>
                  </a:lnTo>
                  <a:lnTo>
                    <a:pt x="42" y="0"/>
                  </a:lnTo>
                  <a:lnTo>
                    <a:pt x="43" y="2"/>
                  </a:lnTo>
                  <a:lnTo>
                    <a:pt x="46" y="3"/>
                  </a:lnTo>
                  <a:lnTo>
                    <a:pt x="46" y="4"/>
                  </a:lnTo>
                  <a:lnTo>
                    <a:pt x="47"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5" name="Freeform 37">
              <a:extLst>
                <a:ext uri="{FF2B5EF4-FFF2-40B4-BE49-F238E27FC236}">
                  <a16:creationId xmlns:a16="http://schemas.microsoft.com/office/drawing/2014/main" id="{DD6F0C0A-6CF9-C2D5-1BA2-7B6C3166E140}"/>
                </a:ext>
              </a:extLst>
            </p:cNvPr>
            <p:cNvSpPr>
              <a:spLocks/>
            </p:cNvSpPr>
            <p:nvPr/>
          </p:nvSpPr>
          <p:spPr bwMode="auto">
            <a:xfrm>
              <a:off x="5336759" y="3987800"/>
              <a:ext cx="77788" cy="65088"/>
            </a:xfrm>
            <a:custGeom>
              <a:avLst/>
              <a:gdLst/>
              <a:ahLst/>
              <a:cxnLst>
                <a:cxn ang="0">
                  <a:pos x="6" y="4"/>
                </a:cxn>
                <a:cxn ang="0">
                  <a:pos x="12" y="4"/>
                </a:cxn>
                <a:cxn ang="0">
                  <a:pos x="16" y="2"/>
                </a:cxn>
                <a:cxn ang="0">
                  <a:pos x="21" y="3"/>
                </a:cxn>
                <a:cxn ang="0">
                  <a:pos x="24" y="2"/>
                </a:cxn>
                <a:cxn ang="0">
                  <a:pos x="28" y="2"/>
                </a:cxn>
                <a:cxn ang="0">
                  <a:pos x="31" y="2"/>
                </a:cxn>
                <a:cxn ang="0">
                  <a:pos x="34" y="2"/>
                </a:cxn>
                <a:cxn ang="0">
                  <a:pos x="39" y="5"/>
                </a:cxn>
                <a:cxn ang="0">
                  <a:pos x="42" y="12"/>
                </a:cxn>
                <a:cxn ang="0">
                  <a:pos x="41" y="16"/>
                </a:cxn>
                <a:cxn ang="0">
                  <a:pos x="47" y="17"/>
                </a:cxn>
                <a:cxn ang="0">
                  <a:pos x="49" y="25"/>
                </a:cxn>
                <a:cxn ang="0">
                  <a:pos x="45" y="28"/>
                </a:cxn>
                <a:cxn ang="0">
                  <a:pos x="43" y="30"/>
                </a:cxn>
                <a:cxn ang="0">
                  <a:pos x="42" y="36"/>
                </a:cxn>
                <a:cxn ang="0">
                  <a:pos x="43" y="41"/>
                </a:cxn>
                <a:cxn ang="0">
                  <a:pos x="38" y="41"/>
                </a:cxn>
                <a:cxn ang="0">
                  <a:pos x="35" y="38"/>
                </a:cxn>
                <a:cxn ang="0">
                  <a:pos x="30" y="35"/>
                </a:cxn>
                <a:cxn ang="0">
                  <a:pos x="30" y="32"/>
                </a:cxn>
                <a:cxn ang="0">
                  <a:pos x="29" y="29"/>
                </a:cxn>
                <a:cxn ang="0">
                  <a:pos x="25" y="32"/>
                </a:cxn>
                <a:cxn ang="0">
                  <a:pos x="21" y="32"/>
                </a:cxn>
                <a:cxn ang="0">
                  <a:pos x="21" y="28"/>
                </a:cxn>
                <a:cxn ang="0">
                  <a:pos x="20" y="24"/>
                </a:cxn>
                <a:cxn ang="0">
                  <a:pos x="15" y="24"/>
                </a:cxn>
                <a:cxn ang="0">
                  <a:pos x="11" y="21"/>
                </a:cxn>
                <a:cxn ang="0">
                  <a:pos x="9" y="16"/>
                </a:cxn>
                <a:cxn ang="0">
                  <a:pos x="5" y="16"/>
                </a:cxn>
                <a:cxn ang="0">
                  <a:pos x="3" y="16"/>
                </a:cxn>
                <a:cxn ang="0">
                  <a:pos x="0" y="8"/>
                </a:cxn>
              </a:cxnLst>
              <a:rect l="0" t="0" r="r" b="b"/>
              <a:pathLst>
                <a:path w="49" h="41">
                  <a:moveTo>
                    <a:pt x="0" y="8"/>
                  </a:moveTo>
                  <a:lnTo>
                    <a:pt x="6" y="4"/>
                  </a:lnTo>
                  <a:lnTo>
                    <a:pt x="9" y="3"/>
                  </a:lnTo>
                  <a:lnTo>
                    <a:pt x="12" y="4"/>
                  </a:lnTo>
                  <a:lnTo>
                    <a:pt x="15" y="4"/>
                  </a:lnTo>
                  <a:lnTo>
                    <a:pt x="16" y="2"/>
                  </a:lnTo>
                  <a:lnTo>
                    <a:pt x="19" y="3"/>
                  </a:lnTo>
                  <a:lnTo>
                    <a:pt x="21" y="3"/>
                  </a:lnTo>
                  <a:lnTo>
                    <a:pt x="24" y="3"/>
                  </a:lnTo>
                  <a:lnTo>
                    <a:pt x="24" y="2"/>
                  </a:lnTo>
                  <a:lnTo>
                    <a:pt x="26" y="2"/>
                  </a:lnTo>
                  <a:lnTo>
                    <a:pt x="28" y="2"/>
                  </a:lnTo>
                  <a:lnTo>
                    <a:pt x="29" y="0"/>
                  </a:lnTo>
                  <a:lnTo>
                    <a:pt x="31" y="2"/>
                  </a:lnTo>
                  <a:lnTo>
                    <a:pt x="32" y="1"/>
                  </a:lnTo>
                  <a:lnTo>
                    <a:pt x="34" y="2"/>
                  </a:lnTo>
                  <a:lnTo>
                    <a:pt x="35" y="5"/>
                  </a:lnTo>
                  <a:lnTo>
                    <a:pt x="39" y="5"/>
                  </a:lnTo>
                  <a:lnTo>
                    <a:pt x="43" y="8"/>
                  </a:lnTo>
                  <a:lnTo>
                    <a:pt x="42" y="12"/>
                  </a:lnTo>
                  <a:lnTo>
                    <a:pt x="41" y="13"/>
                  </a:lnTo>
                  <a:lnTo>
                    <a:pt x="41" y="16"/>
                  </a:lnTo>
                  <a:lnTo>
                    <a:pt x="45" y="16"/>
                  </a:lnTo>
                  <a:lnTo>
                    <a:pt x="47" y="17"/>
                  </a:lnTo>
                  <a:lnTo>
                    <a:pt x="49" y="21"/>
                  </a:lnTo>
                  <a:lnTo>
                    <a:pt x="49" y="25"/>
                  </a:lnTo>
                  <a:lnTo>
                    <a:pt x="47" y="29"/>
                  </a:lnTo>
                  <a:lnTo>
                    <a:pt x="45" y="28"/>
                  </a:lnTo>
                  <a:lnTo>
                    <a:pt x="45" y="29"/>
                  </a:lnTo>
                  <a:lnTo>
                    <a:pt x="43" y="30"/>
                  </a:lnTo>
                  <a:lnTo>
                    <a:pt x="42" y="33"/>
                  </a:lnTo>
                  <a:lnTo>
                    <a:pt x="42" y="36"/>
                  </a:lnTo>
                  <a:lnTo>
                    <a:pt x="44" y="38"/>
                  </a:lnTo>
                  <a:lnTo>
                    <a:pt x="43" y="41"/>
                  </a:lnTo>
                  <a:lnTo>
                    <a:pt x="42" y="40"/>
                  </a:lnTo>
                  <a:lnTo>
                    <a:pt x="38" y="41"/>
                  </a:lnTo>
                  <a:lnTo>
                    <a:pt x="38" y="39"/>
                  </a:lnTo>
                  <a:lnTo>
                    <a:pt x="35" y="38"/>
                  </a:lnTo>
                  <a:lnTo>
                    <a:pt x="33" y="36"/>
                  </a:lnTo>
                  <a:lnTo>
                    <a:pt x="30" y="35"/>
                  </a:lnTo>
                  <a:lnTo>
                    <a:pt x="30" y="33"/>
                  </a:lnTo>
                  <a:lnTo>
                    <a:pt x="30" y="32"/>
                  </a:lnTo>
                  <a:lnTo>
                    <a:pt x="30" y="28"/>
                  </a:lnTo>
                  <a:lnTo>
                    <a:pt x="29" y="29"/>
                  </a:lnTo>
                  <a:lnTo>
                    <a:pt x="28" y="32"/>
                  </a:lnTo>
                  <a:lnTo>
                    <a:pt x="25" y="32"/>
                  </a:lnTo>
                  <a:lnTo>
                    <a:pt x="23" y="33"/>
                  </a:lnTo>
                  <a:lnTo>
                    <a:pt x="21" y="32"/>
                  </a:lnTo>
                  <a:lnTo>
                    <a:pt x="21" y="30"/>
                  </a:lnTo>
                  <a:lnTo>
                    <a:pt x="21" y="28"/>
                  </a:lnTo>
                  <a:lnTo>
                    <a:pt x="22" y="26"/>
                  </a:lnTo>
                  <a:lnTo>
                    <a:pt x="20" y="24"/>
                  </a:lnTo>
                  <a:lnTo>
                    <a:pt x="17" y="24"/>
                  </a:lnTo>
                  <a:lnTo>
                    <a:pt x="15" y="24"/>
                  </a:lnTo>
                  <a:lnTo>
                    <a:pt x="14" y="21"/>
                  </a:lnTo>
                  <a:lnTo>
                    <a:pt x="11" y="21"/>
                  </a:lnTo>
                  <a:lnTo>
                    <a:pt x="10" y="20"/>
                  </a:lnTo>
                  <a:lnTo>
                    <a:pt x="9" y="16"/>
                  </a:lnTo>
                  <a:lnTo>
                    <a:pt x="8" y="14"/>
                  </a:lnTo>
                  <a:lnTo>
                    <a:pt x="5" y="16"/>
                  </a:lnTo>
                  <a:lnTo>
                    <a:pt x="5" y="17"/>
                  </a:lnTo>
                  <a:lnTo>
                    <a:pt x="3" y="16"/>
                  </a:lnTo>
                  <a:lnTo>
                    <a:pt x="1" y="13"/>
                  </a:lnTo>
                  <a:lnTo>
                    <a:pt x="0" y="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6" name="Freeform 38">
              <a:extLst>
                <a:ext uri="{FF2B5EF4-FFF2-40B4-BE49-F238E27FC236}">
                  <a16:creationId xmlns:a16="http://schemas.microsoft.com/office/drawing/2014/main" id="{AE3D9BF4-A96C-D827-9602-DCBE8F284DD3}"/>
                </a:ext>
              </a:extLst>
            </p:cNvPr>
            <p:cNvSpPr>
              <a:spLocks noEditPoints="1"/>
            </p:cNvSpPr>
            <p:nvPr/>
          </p:nvSpPr>
          <p:spPr bwMode="auto">
            <a:xfrm>
              <a:off x="5184359" y="4000500"/>
              <a:ext cx="296863" cy="293688"/>
            </a:xfrm>
            <a:custGeom>
              <a:avLst/>
              <a:gdLst/>
              <a:ahLst/>
              <a:cxnLst>
                <a:cxn ang="0">
                  <a:pos x="186" y="164"/>
                </a:cxn>
                <a:cxn ang="0">
                  <a:pos x="183" y="185"/>
                </a:cxn>
                <a:cxn ang="0">
                  <a:pos x="179" y="180"/>
                </a:cxn>
                <a:cxn ang="0">
                  <a:pos x="175" y="176"/>
                </a:cxn>
                <a:cxn ang="0">
                  <a:pos x="174" y="171"/>
                </a:cxn>
                <a:cxn ang="0">
                  <a:pos x="179" y="163"/>
                </a:cxn>
                <a:cxn ang="0">
                  <a:pos x="184" y="161"/>
                </a:cxn>
                <a:cxn ang="0">
                  <a:pos x="40" y="150"/>
                </a:cxn>
                <a:cxn ang="0">
                  <a:pos x="45" y="127"/>
                </a:cxn>
                <a:cxn ang="0">
                  <a:pos x="52" y="118"/>
                </a:cxn>
                <a:cxn ang="0">
                  <a:pos x="47" y="105"/>
                </a:cxn>
                <a:cxn ang="0">
                  <a:pos x="41" y="93"/>
                </a:cxn>
                <a:cxn ang="0">
                  <a:pos x="33" y="79"/>
                </a:cxn>
                <a:cxn ang="0">
                  <a:pos x="26" y="73"/>
                </a:cxn>
                <a:cxn ang="0">
                  <a:pos x="11" y="65"/>
                </a:cxn>
                <a:cxn ang="0">
                  <a:pos x="2" y="61"/>
                </a:cxn>
                <a:cxn ang="0">
                  <a:pos x="6" y="55"/>
                </a:cxn>
                <a:cxn ang="0">
                  <a:pos x="2" y="52"/>
                </a:cxn>
                <a:cxn ang="0">
                  <a:pos x="13" y="49"/>
                </a:cxn>
                <a:cxn ang="0">
                  <a:pos x="25" y="49"/>
                </a:cxn>
                <a:cxn ang="0">
                  <a:pos x="36" y="50"/>
                </a:cxn>
                <a:cxn ang="0">
                  <a:pos x="42" y="48"/>
                </a:cxn>
                <a:cxn ang="0">
                  <a:pos x="38" y="33"/>
                </a:cxn>
                <a:cxn ang="0">
                  <a:pos x="47" y="36"/>
                </a:cxn>
                <a:cxn ang="0">
                  <a:pos x="63" y="36"/>
                </a:cxn>
                <a:cxn ang="0">
                  <a:pos x="70" y="27"/>
                </a:cxn>
                <a:cxn ang="0">
                  <a:pos x="83" y="11"/>
                </a:cxn>
                <a:cxn ang="0">
                  <a:pos x="96" y="0"/>
                </a:cxn>
                <a:cxn ang="0">
                  <a:pos x="104" y="6"/>
                </a:cxn>
                <a:cxn ang="0">
                  <a:pos x="111" y="16"/>
                </a:cxn>
                <a:cxn ang="0">
                  <a:pos x="117" y="22"/>
                </a:cxn>
                <a:cxn ang="0">
                  <a:pos x="125" y="21"/>
                </a:cxn>
                <a:cxn ang="0">
                  <a:pos x="129" y="28"/>
                </a:cxn>
                <a:cxn ang="0">
                  <a:pos x="139" y="33"/>
                </a:cxn>
                <a:cxn ang="0">
                  <a:pos x="152" y="40"/>
                </a:cxn>
                <a:cxn ang="0">
                  <a:pos x="160" y="39"/>
                </a:cxn>
                <a:cxn ang="0">
                  <a:pos x="164" y="51"/>
                </a:cxn>
                <a:cxn ang="0">
                  <a:pos x="161" y="62"/>
                </a:cxn>
                <a:cxn ang="0">
                  <a:pos x="156" y="72"/>
                </a:cxn>
                <a:cxn ang="0">
                  <a:pos x="153" y="76"/>
                </a:cxn>
                <a:cxn ang="0">
                  <a:pos x="142" y="90"/>
                </a:cxn>
                <a:cxn ang="0">
                  <a:pos x="143" y="99"/>
                </a:cxn>
                <a:cxn ang="0">
                  <a:pos x="150" y="105"/>
                </a:cxn>
                <a:cxn ang="0">
                  <a:pos x="152" y="117"/>
                </a:cxn>
                <a:cxn ang="0">
                  <a:pos x="154" y="125"/>
                </a:cxn>
                <a:cxn ang="0">
                  <a:pos x="162" y="134"/>
                </a:cxn>
                <a:cxn ang="0">
                  <a:pos x="153" y="148"/>
                </a:cxn>
                <a:cxn ang="0">
                  <a:pos x="137" y="156"/>
                </a:cxn>
                <a:cxn ang="0">
                  <a:pos x="123" y="150"/>
                </a:cxn>
                <a:cxn ang="0">
                  <a:pos x="106" y="153"/>
                </a:cxn>
                <a:cxn ang="0">
                  <a:pos x="101" y="166"/>
                </a:cxn>
                <a:cxn ang="0">
                  <a:pos x="89" y="168"/>
                </a:cxn>
                <a:cxn ang="0">
                  <a:pos x="82" y="167"/>
                </a:cxn>
                <a:cxn ang="0">
                  <a:pos x="71" y="160"/>
                </a:cxn>
                <a:cxn ang="0">
                  <a:pos x="61" y="162"/>
                </a:cxn>
                <a:cxn ang="0">
                  <a:pos x="55" y="160"/>
                </a:cxn>
                <a:cxn ang="0">
                  <a:pos x="44" y="156"/>
                </a:cxn>
                <a:cxn ang="0">
                  <a:pos x="41" y="153"/>
                </a:cxn>
              </a:cxnLst>
              <a:rect l="0" t="0" r="r" b="b"/>
              <a:pathLst>
                <a:path w="187" h="185">
                  <a:moveTo>
                    <a:pt x="185" y="156"/>
                  </a:moveTo>
                  <a:lnTo>
                    <a:pt x="186" y="158"/>
                  </a:lnTo>
                  <a:lnTo>
                    <a:pt x="186" y="160"/>
                  </a:lnTo>
                  <a:lnTo>
                    <a:pt x="186" y="163"/>
                  </a:lnTo>
                  <a:lnTo>
                    <a:pt x="186" y="164"/>
                  </a:lnTo>
                  <a:lnTo>
                    <a:pt x="187" y="167"/>
                  </a:lnTo>
                  <a:lnTo>
                    <a:pt x="186" y="173"/>
                  </a:lnTo>
                  <a:lnTo>
                    <a:pt x="185" y="175"/>
                  </a:lnTo>
                  <a:lnTo>
                    <a:pt x="185" y="181"/>
                  </a:lnTo>
                  <a:lnTo>
                    <a:pt x="183" y="185"/>
                  </a:lnTo>
                  <a:lnTo>
                    <a:pt x="181" y="185"/>
                  </a:lnTo>
                  <a:lnTo>
                    <a:pt x="180" y="183"/>
                  </a:lnTo>
                  <a:lnTo>
                    <a:pt x="178" y="183"/>
                  </a:lnTo>
                  <a:lnTo>
                    <a:pt x="177" y="181"/>
                  </a:lnTo>
                  <a:lnTo>
                    <a:pt x="179" y="180"/>
                  </a:lnTo>
                  <a:lnTo>
                    <a:pt x="178" y="179"/>
                  </a:lnTo>
                  <a:lnTo>
                    <a:pt x="176" y="178"/>
                  </a:lnTo>
                  <a:lnTo>
                    <a:pt x="177" y="176"/>
                  </a:lnTo>
                  <a:lnTo>
                    <a:pt x="176" y="175"/>
                  </a:lnTo>
                  <a:lnTo>
                    <a:pt x="175" y="176"/>
                  </a:lnTo>
                  <a:lnTo>
                    <a:pt x="174" y="175"/>
                  </a:lnTo>
                  <a:lnTo>
                    <a:pt x="175" y="175"/>
                  </a:lnTo>
                  <a:lnTo>
                    <a:pt x="176" y="173"/>
                  </a:lnTo>
                  <a:lnTo>
                    <a:pt x="176" y="172"/>
                  </a:lnTo>
                  <a:lnTo>
                    <a:pt x="174" y="171"/>
                  </a:lnTo>
                  <a:lnTo>
                    <a:pt x="174" y="170"/>
                  </a:lnTo>
                  <a:lnTo>
                    <a:pt x="176" y="169"/>
                  </a:lnTo>
                  <a:lnTo>
                    <a:pt x="174" y="168"/>
                  </a:lnTo>
                  <a:lnTo>
                    <a:pt x="175" y="165"/>
                  </a:lnTo>
                  <a:lnTo>
                    <a:pt x="179" y="163"/>
                  </a:lnTo>
                  <a:lnTo>
                    <a:pt x="180" y="163"/>
                  </a:lnTo>
                  <a:lnTo>
                    <a:pt x="181" y="162"/>
                  </a:lnTo>
                  <a:lnTo>
                    <a:pt x="182" y="161"/>
                  </a:lnTo>
                  <a:lnTo>
                    <a:pt x="183" y="162"/>
                  </a:lnTo>
                  <a:lnTo>
                    <a:pt x="184" y="161"/>
                  </a:lnTo>
                  <a:lnTo>
                    <a:pt x="184" y="158"/>
                  </a:lnTo>
                  <a:lnTo>
                    <a:pt x="185" y="156"/>
                  </a:lnTo>
                  <a:lnTo>
                    <a:pt x="185" y="156"/>
                  </a:lnTo>
                  <a:close/>
                  <a:moveTo>
                    <a:pt x="38" y="151"/>
                  </a:moveTo>
                  <a:lnTo>
                    <a:pt x="40" y="150"/>
                  </a:lnTo>
                  <a:lnTo>
                    <a:pt x="42" y="147"/>
                  </a:lnTo>
                  <a:lnTo>
                    <a:pt x="46" y="128"/>
                  </a:lnTo>
                  <a:lnTo>
                    <a:pt x="48" y="127"/>
                  </a:lnTo>
                  <a:lnTo>
                    <a:pt x="47" y="125"/>
                  </a:lnTo>
                  <a:lnTo>
                    <a:pt x="45" y="127"/>
                  </a:lnTo>
                  <a:lnTo>
                    <a:pt x="46" y="117"/>
                  </a:lnTo>
                  <a:lnTo>
                    <a:pt x="47" y="111"/>
                  </a:lnTo>
                  <a:lnTo>
                    <a:pt x="48" y="112"/>
                  </a:lnTo>
                  <a:lnTo>
                    <a:pt x="51" y="114"/>
                  </a:lnTo>
                  <a:lnTo>
                    <a:pt x="52" y="118"/>
                  </a:lnTo>
                  <a:lnTo>
                    <a:pt x="53" y="120"/>
                  </a:lnTo>
                  <a:lnTo>
                    <a:pt x="52" y="114"/>
                  </a:lnTo>
                  <a:lnTo>
                    <a:pt x="48" y="109"/>
                  </a:lnTo>
                  <a:lnTo>
                    <a:pt x="47" y="107"/>
                  </a:lnTo>
                  <a:lnTo>
                    <a:pt x="47" y="105"/>
                  </a:lnTo>
                  <a:lnTo>
                    <a:pt x="49" y="101"/>
                  </a:lnTo>
                  <a:lnTo>
                    <a:pt x="48" y="98"/>
                  </a:lnTo>
                  <a:lnTo>
                    <a:pt x="47" y="95"/>
                  </a:lnTo>
                  <a:lnTo>
                    <a:pt x="45" y="93"/>
                  </a:lnTo>
                  <a:lnTo>
                    <a:pt x="41" y="93"/>
                  </a:lnTo>
                  <a:lnTo>
                    <a:pt x="38" y="88"/>
                  </a:lnTo>
                  <a:lnTo>
                    <a:pt x="35" y="85"/>
                  </a:lnTo>
                  <a:lnTo>
                    <a:pt x="37" y="81"/>
                  </a:lnTo>
                  <a:lnTo>
                    <a:pt x="35" y="80"/>
                  </a:lnTo>
                  <a:lnTo>
                    <a:pt x="33" y="79"/>
                  </a:lnTo>
                  <a:lnTo>
                    <a:pt x="30" y="77"/>
                  </a:lnTo>
                  <a:lnTo>
                    <a:pt x="29" y="76"/>
                  </a:lnTo>
                  <a:lnTo>
                    <a:pt x="31" y="73"/>
                  </a:lnTo>
                  <a:lnTo>
                    <a:pt x="29" y="71"/>
                  </a:lnTo>
                  <a:lnTo>
                    <a:pt x="26" y="73"/>
                  </a:lnTo>
                  <a:lnTo>
                    <a:pt x="23" y="70"/>
                  </a:lnTo>
                  <a:lnTo>
                    <a:pt x="18" y="68"/>
                  </a:lnTo>
                  <a:lnTo>
                    <a:pt x="14" y="67"/>
                  </a:lnTo>
                  <a:lnTo>
                    <a:pt x="12" y="67"/>
                  </a:lnTo>
                  <a:lnTo>
                    <a:pt x="11" y="65"/>
                  </a:lnTo>
                  <a:lnTo>
                    <a:pt x="6" y="66"/>
                  </a:lnTo>
                  <a:lnTo>
                    <a:pt x="5" y="64"/>
                  </a:lnTo>
                  <a:lnTo>
                    <a:pt x="4" y="63"/>
                  </a:lnTo>
                  <a:lnTo>
                    <a:pt x="2" y="63"/>
                  </a:lnTo>
                  <a:lnTo>
                    <a:pt x="2" y="61"/>
                  </a:lnTo>
                  <a:lnTo>
                    <a:pt x="6" y="61"/>
                  </a:lnTo>
                  <a:lnTo>
                    <a:pt x="6" y="59"/>
                  </a:lnTo>
                  <a:lnTo>
                    <a:pt x="3" y="58"/>
                  </a:lnTo>
                  <a:lnTo>
                    <a:pt x="5" y="57"/>
                  </a:lnTo>
                  <a:lnTo>
                    <a:pt x="6" y="55"/>
                  </a:lnTo>
                  <a:lnTo>
                    <a:pt x="5" y="55"/>
                  </a:lnTo>
                  <a:lnTo>
                    <a:pt x="3" y="55"/>
                  </a:lnTo>
                  <a:lnTo>
                    <a:pt x="0" y="56"/>
                  </a:lnTo>
                  <a:lnTo>
                    <a:pt x="0" y="52"/>
                  </a:lnTo>
                  <a:lnTo>
                    <a:pt x="2" y="52"/>
                  </a:lnTo>
                  <a:lnTo>
                    <a:pt x="4" y="51"/>
                  </a:lnTo>
                  <a:lnTo>
                    <a:pt x="7" y="50"/>
                  </a:lnTo>
                  <a:lnTo>
                    <a:pt x="11" y="48"/>
                  </a:lnTo>
                  <a:lnTo>
                    <a:pt x="12" y="50"/>
                  </a:lnTo>
                  <a:lnTo>
                    <a:pt x="13" y="49"/>
                  </a:lnTo>
                  <a:lnTo>
                    <a:pt x="16" y="49"/>
                  </a:lnTo>
                  <a:lnTo>
                    <a:pt x="16" y="47"/>
                  </a:lnTo>
                  <a:lnTo>
                    <a:pt x="18" y="46"/>
                  </a:lnTo>
                  <a:lnTo>
                    <a:pt x="23" y="46"/>
                  </a:lnTo>
                  <a:lnTo>
                    <a:pt x="25" y="49"/>
                  </a:lnTo>
                  <a:lnTo>
                    <a:pt x="26" y="51"/>
                  </a:lnTo>
                  <a:lnTo>
                    <a:pt x="29" y="52"/>
                  </a:lnTo>
                  <a:lnTo>
                    <a:pt x="32" y="49"/>
                  </a:lnTo>
                  <a:lnTo>
                    <a:pt x="34" y="51"/>
                  </a:lnTo>
                  <a:lnTo>
                    <a:pt x="36" y="50"/>
                  </a:lnTo>
                  <a:lnTo>
                    <a:pt x="38" y="49"/>
                  </a:lnTo>
                  <a:lnTo>
                    <a:pt x="39" y="51"/>
                  </a:lnTo>
                  <a:lnTo>
                    <a:pt x="42" y="50"/>
                  </a:lnTo>
                  <a:lnTo>
                    <a:pt x="44" y="49"/>
                  </a:lnTo>
                  <a:lnTo>
                    <a:pt x="42" y="48"/>
                  </a:lnTo>
                  <a:lnTo>
                    <a:pt x="42" y="45"/>
                  </a:lnTo>
                  <a:lnTo>
                    <a:pt x="42" y="42"/>
                  </a:lnTo>
                  <a:lnTo>
                    <a:pt x="42" y="39"/>
                  </a:lnTo>
                  <a:lnTo>
                    <a:pt x="41" y="39"/>
                  </a:lnTo>
                  <a:lnTo>
                    <a:pt x="38" y="33"/>
                  </a:lnTo>
                  <a:lnTo>
                    <a:pt x="38" y="29"/>
                  </a:lnTo>
                  <a:lnTo>
                    <a:pt x="43" y="30"/>
                  </a:lnTo>
                  <a:lnTo>
                    <a:pt x="47" y="29"/>
                  </a:lnTo>
                  <a:lnTo>
                    <a:pt x="46" y="33"/>
                  </a:lnTo>
                  <a:lnTo>
                    <a:pt x="47" y="36"/>
                  </a:lnTo>
                  <a:lnTo>
                    <a:pt x="50" y="35"/>
                  </a:lnTo>
                  <a:lnTo>
                    <a:pt x="57" y="36"/>
                  </a:lnTo>
                  <a:lnTo>
                    <a:pt x="60" y="37"/>
                  </a:lnTo>
                  <a:lnTo>
                    <a:pt x="60" y="37"/>
                  </a:lnTo>
                  <a:lnTo>
                    <a:pt x="63" y="36"/>
                  </a:lnTo>
                  <a:lnTo>
                    <a:pt x="67" y="34"/>
                  </a:lnTo>
                  <a:lnTo>
                    <a:pt x="64" y="33"/>
                  </a:lnTo>
                  <a:lnTo>
                    <a:pt x="64" y="31"/>
                  </a:lnTo>
                  <a:lnTo>
                    <a:pt x="65" y="30"/>
                  </a:lnTo>
                  <a:lnTo>
                    <a:pt x="70" y="27"/>
                  </a:lnTo>
                  <a:lnTo>
                    <a:pt x="74" y="25"/>
                  </a:lnTo>
                  <a:lnTo>
                    <a:pt x="80" y="23"/>
                  </a:lnTo>
                  <a:lnTo>
                    <a:pt x="81" y="21"/>
                  </a:lnTo>
                  <a:lnTo>
                    <a:pt x="83" y="18"/>
                  </a:lnTo>
                  <a:lnTo>
                    <a:pt x="83" y="11"/>
                  </a:lnTo>
                  <a:lnTo>
                    <a:pt x="84" y="6"/>
                  </a:lnTo>
                  <a:lnTo>
                    <a:pt x="87" y="4"/>
                  </a:lnTo>
                  <a:lnTo>
                    <a:pt x="89" y="2"/>
                  </a:lnTo>
                  <a:lnTo>
                    <a:pt x="95" y="1"/>
                  </a:lnTo>
                  <a:lnTo>
                    <a:pt x="96" y="0"/>
                  </a:lnTo>
                  <a:lnTo>
                    <a:pt x="97" y="5"/>
                  </a:lnTo>
                  <a:lnTo>
                    <a:pt x="99" y="8"/>
                  </a:lnTo>
                  <a:lnTo>
                    <a:pt x="101" y="9"/>
                  </a:lnTo>
                  <a:lnTo>
                    <a:pt x="101" y="8"/>
                  </a:lnTo>
                  <a:lnTo>
                    <a:pt x="104" y="6"/>
                  </a:lnTo>
                  <a:lnTo>
                    <a:pt x="105" y="8"/>
                  </a:lnTo>
                  <a:lnTo>
                    <a:pt x="106" y="12"/>
                  </a:lnTo>
                  <a:lnTo>
                    <a:pt x="107" y="13"/>
                  </a:lnTo>
                  <a:lnTo>
                    <a:pt x="110" y="13"/>
                  </a:lnTo>
                  <a:lnTo>
                    <a:pt x="111" y="16"/>
                  </a:lnTo>
                  <a:lnTo>
                    <a:pt x="113" y="16"/>
                  </a:lnTo>
                  <a:lnTo>
                    <a:pt x="116" y="16"/>
                  </a:lnTo>
                  <a:lnTo>
                    <a:pt x="118" y="18"/>
                  </a:lnTo>
                  <a:lnTo>
                    <a:pt x="117" y="20"/>
                  </a:lnTo>
                  <a:lnTo>
                    <a:pt x="117" y="22"/>
                  </a:lnTo>
                  <a:lnTo>
                    <a:pt x="117" y="24"/>
                  </a:lnTo>
                  <a:lnTo>
                    <a:pt x="119" y="25"/>
                  </a:lnTo>
                  <a:lnTo>
                    <a:pt x="121" y="24"/>
                  </a:lnTo>
                  <a:lnTo>
                    <a:pt x="124" y="24"/>
                  </a:lnTo>
                  <a:lnTo>
                    <a:pt x="125" y="21"/>
                  </a:lnTo>
                  <a:lnTo>
                    <a:pt x="126" y="20"/>
                  </a:lnTo>
                  <a:lnTo>
                    <a:pt x="126" y="24"/>
                  </a:lnTo>
                  <a:lnTo>
                    <a:pt x="126" y="25"/>
                  </a:lnTo>
                  <a:lnTo>
                    <a:pt x="126" y="27"/>
                  </a:lnTo>
                  <a:lnTo>
                    <a:pt x="129" y="28"/>
                  </a:lnTo>
                  <a:lnTo>
                    <a:pt x="131" y="30"/>
                  </a:lnTo>
                  <a:lnTo>
                    <a:pt x="134" y="31"/>
                  </a:lnTo>
                  <a:lnTo>
                    <a:pt x="134" y="33"/>
                  </a:lnTo>
                  <a:lnTo>
                    <a:pt x="138" y="32"/>
                  </a:lnTo>
                  <a:lnTo>
                    <a:pt x="139" y="33"/>
                  </a:lnTo>
                  <a:lnTo>
                    <a:pt x="143" y="33"/>
                  </a:lnTo>
                  <a:lnTo>
                    <a:pt x="146" y="34"/>
                  </a:lnTo>
                  <a:lnTo>
                    <a:pt x="147" y="34"/>
                  </a:lnTo>
                  <a:lnTo>
                    <a:pt x="149" y="37"/>
                  </a:lnTo>
                  <a:lnTo>
                    <a:pt x="152" y="40"/>
                  </a:lnTo>
                  <a:lnTo>
                    <a:pt x="154" y="39"/>
                  </a:lnTo>
                  <a:lnTo>
                    <a:pt x="154" y="40"/>
                  </a:lnTo>
                  <a:lnTo>
                    <a:pt x="158" y="40"/>
                  </a:lnTo>
                  <a:lnTo>
                    <a:pt x="158" y="39"/>
                  </a:lnTo>
                  <a:lnTo>
                    <a:pt x="160" y="39"/>
                  </a:lnTo>
                  <a:lnTo>
                    <a:pt x="161" y="41"/>
                  </a:lnTo>
                  <a:lnTo>
                    <a:pt x="163" y="42"/>
                  </a:lnTo>
                  <a:lnTo>
                    <a:pt x="166" y="42"/>
                  </a:lnTo>
                  <a:lnTo>
                    <a:pt x="170" y="43"/>
                  </a:lnTo>
                  <a:lnTo>
                    <a:pt x="164" y="51"/>
                  </a:lnTo>
                  <a:lnTo>
                    <a:pt x="164" y="52"/>
                  </a:lnTo>
                  <a:lnTo>
                    <a:pt x="163" y="56"/>
                  </a:lnTo>
                  <a:lnTo>
                    <a:pt x="161" y="59"/>
                  </a:lnTo>
                  <a:lnTo>
                    <a:pt x="161" y="62"/>
                  </a:lnTo>
                  <a:lnTo>
                    <a:pt x="161" y="62"/>
                  </a:lnTo>
                  <a:lnTo>
                    <a:pt x="160" y="69"/>
                  </a:lnTo>
                  <a:lnTo>
                    <a:pt x="161" y="70"/>
                  </a:lnTo>
                  <a:lnTo>
                    <a:pt x="159" y="73"/>
                  </a:lnTo>
                  <a:lnTo>
                    <a:pt x="156" y="73"/>
                  </a:lnTo>
                  <a:lnTo>
                    <a:pt x="156" y="72"/>
                  </a:lnTo>
                  <a:lnTo>
                    <a:pt x="153" y="72"/>
                  </a:lnTo>
                  <a:lnTo>
                    <a:pt x="152" y="75"/>
                  </a:lnTo>
                  <a:lnTo>
                    <a:pt x="153" y="75"/>
                  </a:lnTo>
                  <a:lnTo>
                    <a:pt x="153" y="76"/>
                  </a:lnTo>
                  <a:lnTo>
                    <a:pt x="153" y="76"/>
                  </a:lnTo>
                  <a:lnTo>
                    <a:pt x="149" y="81"/>
                  </a:lnTo>
                  <a:lnTo>
                    <a:pt x="149" y="81"/>
                  </a:lnTo>
                  <a:lnTo>
                    <a:pt x="146" y="83"/>
                  </a:lnTo>
                  <a:lnTo>
                    <a:pt x="146" y="86"/>
                  </a:lnTo>
                  <a:lnTo>
                    <a:pt x="142" y="90"/>
                  </a:lnTo>
                  <a:lnTo>
                    <a:pt x="141" y="92"/>
                  </a:lnTo>
                  <a:lnTo>
                    <a:pt x="142" y="93"/>
                  </a:lnTo>
                  <a:lnTo>
                    <a:pt x="142" y="96"/>
                  </a:lnTo>
                  <a:lnTo>
                    <a:pt x="140" y="98"/>
                  </a:lnTo>
                  <a:lnTo>
                    <a:pt x="143" y="99"/>
                  </a:lnTo>
                  <a:lnTo>
                    <a:pt x="148" y="93"/>
                  </a:lnTo>
                  <a:lnTo>
                    <a:pt x="151" y="92"/>
                  </a:lnTo>
                  <a:lnTo>
                    <a:pt x="153" y="99"/>
                  </a:lnTo>
                  <a:lnTo>
                    <a:pt x="154" y="102"/>
                  </a:lnTo>
                  <a:lnTo>
                    <a:pt x="150" y="105"/>
                  </a:lnTo>
                  <a:lnTo>
                    <a:pt x="153" y="108"/>
                  </a:lnTo>
                  <a:lnTo>
                    <a:pt x="153" y="110"/>
                  </a:lnTo>
                  <a:lnTo>
                    <a:pt x="156" y="112"/>
                  </a:lnTo>
                  <a:lnTo>
                    <a:pt x="155" y="114"/>
                  </a:lnTo>
                  <a:lnTo>
                    <a:pt x="152" y="117"/>
                  </a:lnTo>
                  <a:lnTo>
                    <a:pt x="150" y="116"/>
                  </a:lnTo>
                  <a:lnTo>
                    <a:pt x="148" y="118"/>
                  </a:lnTo>
                  <a:lnTo>
                    <a:pt x="150" y="121"/>
                  </a:lnTo>
                  <a:lnTo>
                    <a:pt x="153" y="122"/>
                  </a:lnTo>
                  <a:lnTo>
                    <a:pt x="154" y="125"/>
                  </a:lnTo>
                  <a:lnTo>
                    <a:pt x="153" y="125"/>
                  </a:lnTo>
                  <a:lnTo>
                    <a:pt x="152" y="128"/>
                  </a:lnTo>
                  <a:lnTo>
                    <a:pt x="153" y="132"/>
                  </a:lnTo>
                  <a:lnTo>
                    <a:pt x="157" y="135"/>
                  </a:lnTo>
                  <a:lnTo>
                    <a:pt x="162" y="134"/>
                  </a:lnTo>
                  <a:lnTo>
                    <a:pt x="162" y="137"/>
                  </a:lnTo>
                  <a:lnTo>
                    <a:pt x="162" y="141"/>
                  </a:lnTo>
                  <a:lnTo>
                    <a:pt x="159" y="142"/>
                  </a:lnTo>
                  <a:lnTo>
                    <a:pt x="158" y="144"/>
                  </a:lnTo>
                  <a:lnTo>
                    <a:pt x="153" y="148"/>
                  </a:lnTo>
                  <a:lnTo>
                    <a:pt x="148" y="153"/>
                  </a:lnTo>
                  <a:lnTo>
                    <a:pt x="146" y="154"/>
                  </a:lnTo>
                  <a:lnTo>
                    <a:pt x="144" y="154"/>
                  </a:lnTo>
                  <a:lnTo>
                    <a:pt x="139" y="156"/>
                  </a:lnTo>
                  <a:lnTo>
                    <a:pt x="137" y="156"/>
                  </a:lnTo>
                  <a:lnTo>
                    <a:pt x="134" y="154"/>
                  </a:lnTo>
                  <a:lnTo>
                    <a:pt x="129" y="150"/>
                  </a:lnTo>
                  <a:lnTo>
                    <a:pt x="127" y="150"/>
                  </a:lnTo>
                  <a:lnTo>
                    <a:pt x="125" y="150"/>
                  </a:lnTo>
                  <a:lnTo>
                    <a:pt x="123" y="150"/>
                  </a:lnTo>
                  <a:lnTo>
                    <a:pt x="120" y="150"/>
                  </a:lnTo>
                  <a:lnTo>
                    <a:pt x="116" y="147"/>
                  </a:lnTo>
                  <a:lnTo>
                    <a:pt x="113" y="148"/>
                  </a:lnTo>
                  <a:lnTo>
                    <a:pt x="108" y="151"/>
                  </a:lnTo>
                  <a:lnTo>
                    <a:pt x="106" y="153"/>
                  </a:lnTo>
                  <a:lnTo>
                    <a:pt x="103" y="157"/>
                  </a:lnTo>
                  <a:lnTo>
                    <a:pt x="102" y="160"/>
                  </a:lnTo>
                  <a:lnTo>
                    <a:pt x="103" y="164"/>
                  </a:lnTo>
                  <a:lnTo>
                    <a:pt x="103" y="167"/>
                  </a:lnTo>
                  <a:lnTo>
                    <a:pt x="101" y="166"/>
                  </a:lnTo>
                  <a:lnTo>
                    <a:pt x="97" y="168"/>
                  </a:lnTo>
                  <a:lnTo>
                    <a:pt x="96" y="169"/>
                  </a:lnTo>
                  <a:lnTo>
                    <a:pt x="94" y="169"/>
                  </a:lnTo>
                  <a:lnTo>
                    <a:pt x="91" y="167"/>
                  </a:lnTo>
                  <a:lnTo>
                    <a:pt x="89" y="168"/>
                  </a:lnTo>
                  <a:lnTo>
                    <a:pt x="87" y="168"/>
                  </a:lnTo>
                  <a:lnTo>
                    <a:pt x="87" y="167"/>
                  </a:lnTo>
                  <a:lnTo>
                    <a:pt x="85" y="166"/>
                  </a:lnTo>
                  <a:lnTo>
                    <a:pt x="84" y="166"/>
                  </a:lnTo>
                  <a:lnTo>
                    <a:pt x="82" y="167"/>
                  </a:lnTo>
                  <a:lnTo>
                    <a:pt x="81" y="166"/>
                  </a:lnTo>
                  <a:lnTo>
                    <a:pt x="80" y="164"/>
                  </a:lnTo>
                  <a:lnTo>
                    <a:pt x="80" y="163"/>
                  </a:lnTo>
                  <a:lnTo>
                    <a:pt x="72" y="160"/>
                  </a:lnTo>
                  <a:lnTo>
                    <a:pt x="71" y="160"/>
                  </a:lnTo>
                  <a:lnTo>
                    <a:pt x="71" y="163"/>
                  </a:lnTo>
                  <a:lnTo>
                    <a:pt x="68" y="163"/>
                  </a:lnTo>
                  <a:lnTo>
                    <a:pt x="65" y="163"/>
                  </a:lnTo>
                  <a:lnTo>
                    <a:pt x="65" y="162"/>
                  </a:lnTo>
                  <a:lnTo>
                    <a:pt x="61" y="162"/>
                  </a:lnTo>
                  <a:lnTo>
                    <a:pt x="60" y="162"/>
                  </a:lnTo>
                  <a:lnTo>
                    <a:pt x="60" y="161"/>
                  </a:lnTo>
                  <a:lnTo>
                    <a:pt x="57" y="160"/>
                  </a:lnTo>
                  <a:lnTo>
                    <a:pt x="57" y="160"/>
                  </a:lnTo>
                  <a:lnTo>
                    <a:pt x="55" y="160"/>
                  </a:lnTo>
                  <a:lnTo>
                    <a:pt x="55" y="161"/>
                  </a:lnTo>
                  <a:lnTo>
                    <a:pt x="52" y="158"/>
                  </a:lnTo>
                  <a:lnTo>
                    <a:pt x="51" y="158"/>
                  </a:lnTo>
                  <a:lnTo>
                    <a:pt x="45" y="156"/>
                  </a:lnTo>
                  <a:lnTo>
                    <a:pt x="44" y="156"/>
                  </a:lnTo>
                  <a:lnTo>
                    <a:pt x="43" y="156"/>
                  </a:lnTo>
                  <a:lnTo>
                    <a:pt x="42" y="155"/>
                  </a:lnTo>
                  <a:lnTo>
                    <a:pt x="44" y="153"/>
                  </a:lnTo>
                  <a:lnTo>
                    <a:pt x="43" y="152"/>
                  </a:lnTo>
                  <a:lnTo>
                    <a:pt x="41" y="153"/>
                  </a:lnTo>
                  <a:lnTo>
                    <a:pt x="38" y="15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7" name="Freeform 39">
              <a:extLst>
                <a:ext uri="{FF2B5EF4-FFF2-40B4-BE49-F238E27FC236}">
                  <a16:creationId xmlns:a16="http://schemas.microsoft.com/office/drawing/2014/main" id="{BDE49494-F630-E43F-44DE-1F37612DD3A5}"/>
                </a:ext>
              </a:extLst>
            </p:cNvPr>
            <p:cNvSpPr>
              <a:spLocks/>
            </p:cNvSpPr>
            <p:nvPr/>
          </p:nvSpPr>
          <p:spPr bwMode="auto">
            <a:xfrm>
              <a:off x="5092284" y="4227513"/>
              <a:ext cx="257175" cy="209550"/>
            </a:xfrm>
            <a:custGeom>
              <a:avLst/>
              <a:gdLst/>
              <a:ahLst/>
              <a:cxnLst>
                <a:cxn ang="0">
                  <a:pos x="6" y="28"/>
                </a:cxn>
                <a:cxn ang="0">
                  <a:pos x="4" y="16"/>
                </a:cxn>
                <a:cxn ang="0">
                  <a:pos x="0" y="12"/>
                </a:cxn>
                <a:cxn ang="0">
                  <a:pos x="5" y="7"/>
                </a:cxn>
                <a:cxn ang="0">
                  <a:pos x="13" y="5"/>
                </a:cxn>
                <a:cxn ang="0">
                  <a:pos x="21" y="0"/>
                </a:cxn>
                <a:cxn ang="0">
                  <a:pos x="36" y="3"/>
                </a:cxn>
                <a:cxn ang="0">
                  <a:pos x="45" y="1"/>
                </a:cxn>
                <a:cxn ang="0">
                  <a:pos x="58" y="5"/>
                </a:cxn>
                <a:cxn ang="0">
                  <a:pos x="76" y="6"/>
                </a:cxn>
                <a:cxn ang="0">
                  <a:pos x="85" y="4"/>
                </a:cxn>
                <a:cxn ang="0">
                  <a:pos x="96" y="8"/>
                </a:cxn>
                <a:cxn ang="0">
                  <a:pos x="102" y="10"/>
                </a:cxn>
                <a:cxn ang="0">
                  <a:pos x="102" y="13"/>
                </a:cxn>
                <a:cxn ang="0">
                  <a:pos x="110" y="15"/>
                </a:cxn>
                <a:cxn ang="0">
                  <a:pos x="115" y="17"/>
                </a:cxn>
                <a:cxn ang="0">
                  <a:pos x="118" y="19"/>
                </a:cxn>
                <a:cxn ang="0">
                  <a:pos x="123" y="20"/>
                </a:cxn>
                <a:cxn ang="0">
                  <a:pos x="129" y="17"/>
                </a:cxn>
                <a:cxn ang="0">
                  <a:pos x="138" y="21"/>
                </a:cxn>
                <a:cxn ang="0">
                  <a:pos x="142" y="23"/>
                </a:cxn>
                <a:cxn ang="0">
                  <a:pos x="145" y="25"/>
                </a:cxn>
                <a:cxn ang="0">
                  <a:pos x="152" y="26"/>
                </a:cxn>
                <a:cxn ang="0">
                  <a:pos x="159" y="23"/>
                </a:cxn>
                <a:cxn ang="0">
                  <a:pos x="161" y="29"/>
                </a:cxn>
                <a:cxn ang="0">
                  <a:pos x="155" y="37"/>
                </a:cxn>
                <a:cxn ang="0">
                  <a:pos x="142" y="45"/>
                </a:cxn>
                <a:cxn ang="0">
                  <a:pos x="130" y="50"/>
                </a:cxn>
                <a:cxn ang="0">
                  <a:pos x="131" y="54"/>
                </a:cxn>
                <a:cxn ang="0">
                  <a:pos x="119" y="67"/>
                </a:cxn>
                <a:cxn ang="0">
                  <a:pos x="116" y="75"/>
                </a:cxn>
                <a:cxn ang="0">
                  <a:pos x="119" y="83"/>
                </a:cxn>
                <a:cxn ang="0">
                  <a:pos x="120" y="89"/>
                </a:cxn>
                <a:cxn ang="0">
                  <a:pos x="114" y="95"/>
                </a:cxn>
                <a:cxn ang="0">
                  <a:pos x="110" y="106"/>
                </a:cxn>
                <a:cxn ang="0">
                  <a:pos x="100" y="108"/>
                </a:cxn>
                <a:cxn ang="0">
                  <a:pos x="91" y="120"/>
                </a:cxn>
                <a:cxn ang="0">
                  <a:pos x="85" y="121"/>
                </a:cxn>
                <a:cxn ang="0">
                  <a:pos x="63" y="120"/>
                </a:cxn>
                <a:cxn ang="0">
                  <a:pos x="51" y="128"/>
                </a:cxn>
                <a:cxn ang="0">
                  <a:pos x="49" y="129"/>
                </a:cxn>
                <a:cxn ang="0">
                  <a:pos x="47" y="132"/>
                </a:cxn>
                <a:cxn ang="0">
                  <a:pos x="39" y="124"/>
                </a:cxn>
                <a:cxn ang="0">
                  <a:pos x="36" y="120"/>
                </a:cxn>
                <a:cxn ang="0">
                  <a:pos x="30" y="113"/>
                </a:cxn>
                <a:cxn ang="0">
                  <a:pos x="23" y="112"/>
                </a:cxn>
                <a:cxn ang="0">
                  <a:pos x="26" y="102"/>
                </a:cxn>
                <a:cxn ang="0">
                  <a:pos x="24" y="94"/>
                </a:cxn>
                <a:cxn ang="0">
                  <a:pos x="30" y="83"/>
                </a:cxn>
                <a:cxn ang="0">
                  <a:pos x="24" y="74"/>
                </a:cxn>
                <a:cxn ang="0">
                  <a:pos x="31" y="71"/>
                </a:cxn>
                <a:cxn ang="0">
                  <a:pos x="32" y="54"/>
                </a:cxn>
                <a:cxn ang="0">
                  <a:pos x="32" y="47"/>
                </a:cxn>
                <a:cxn ang="0">
                  <a:pos x="40" y="39"/>
                </a:cxn>
                <a:cxn ang="0">
                  <a:pos x="33" y="32"/>
                </a:cxn>
                <a:cxn ang="0">
                  <a:pos x="17" y="33"/>
                </a:cxn>
                <a:cxn ang="0">
                  <a:pos x="6" y="33"/>
                </a:cxn>
              </a:cxnLst>
              <a:rect l="0" t="0" r="r" b="b"/>
              <a:pathLst>
                <a:path w="162" h="132">
                  <a:moveTo>
                    <a:pt x="6" y="33"/>
                  </a:moveTo>
                  <a:lnTo>
                    <a:pt x="5" y="31"/>
                  </a:lnTo>
                  <a:lnTo>
                    <a:pt x="6" y="28"/>
                  </a:lnTo>
                  <a:lnTo>
                    <a:pt x="8" y="23"/>
                  </a:lnTo>
                  <a:lnTo>
                    <a:pt x="6" y="20"/>
                  </a:lnTo>
                  <a:lnTo>
                    <a:pt x="4" y="16"/>
                  </a:lnTo>
                  <a:lnTo>
                    <a:pt x="1" y="16"/>
                  </a:lnTo>
                  <a:lnTo>
                    <a:pt x="0" y="15"/>
                  </a:lnTo>
                  <a:lnTo>
                    <a:pt x="0" y="12"/>
                  </a:lnTo>
                  <a:lnTo>
                    <a:pt x="1" y="10"/>
                  </a:lnTo>
                  <a:lnTo>
                    <a:pt x="3" y="8"/>
                  </a:lnTo>
                  <a:lnTo>
                    <a:pt x="5" y="7"/>
                  </a:lnTo>
                  <a:lnTo>
                    <a:pt x="9" y="7"/>
                  </a:lnTo>
                  <a:lnTo>
                    <a:pt x="12" y="7"/>
                  </a:lnTo>
                  <a:lnTo>
                    <a:pt x="13" y="5"/>
                  </a:lnTo>
                  <a:lnTo>
                    <a:pt x="13" y="2"/>
                  </a:lnTo>
                  <a:lnTo>
                    <a:pt x="16" y="0"/>
                  </a:lnTo>
                  <a:lnTo>
                    <a:pt x="21" y="0"/>
                  </a:lnTo>
                  <a:lnTo>
                    <a:pt x="27" y="3"/>
                  </a:lnTo>
                  <a:lnTo>
                    <a:pt x="32" y="4"/>
                  </a:lnTo>
                  <a:lnTo>
                    <a:pt x="36" y="3"/>
                  </a:lnTo>
                  <a:lnTo>
                    <a:pt x="40" y="2"/>
                  </a:lnTo>
                  <a:lnTo>
                    <a:pt x="43" y="1"/>
                  </a:lnTo>
                  <a:lnTo>
                    <a:pt x="45" y="1"/>
                  </a:lnTo>
                  <a:lnTo>
                    <a:pt x="48" y="3"/>
                  </a:lnTo>
                  <a:lnTo>
                    <a:pt x="52" y="4"/>
                  </a:lnTo>
                  <a:lnTo>
                    <a:pt x="58" y="5"/>
                  </a:lnTo>
                  <a:lnTo>
                    <a:pt x="67" y="5"/>
                  </a:lnTo>
                  <a:lnTo>
                    <a:pt x="70" y="5"/>
                  </a:lnTo>
                  <a:lnTo>
                    <a:pt x="76" y="6"/>
                  </a:lnTo>
                  <a:lnTo>
                    <a:pt x="79" y="5"/>
                  </a:lnTo>
                  <a:lnTo>
                    <a:pt x="82" y="3"/>
                  </a:lnTo>
                  <a:lnTo>
                    <a:pt x="85" y="4"/>
                  </a:lnTo>
                  <a:lnTo>
                    <a:pt x="90" y="7"/>
                  </a:lnTo>
                  <a:lnTo>
                    <a:pt x="94" y="7"/>
                  </a:lnTo>
                  <a:lnTo>
                    <a:pt x="96" y="8"/>
                  </a:lnTo>
                  <a:lnTo>
                    <a:pt x="99" y="10"/>
                  </a:lnTo>
                  <a:lnTo>
                    <a:pt x="101" y="9"/>
                  </a:lnTo>
                  <a:lnTo>
                    <a:pt x="102" y="10"/>
                  </a:lnTo>
                  <a:lnTo>
                    <a:pt x="100" y="12"/>
                  </a:lnTo>
                  <a:lnTo>
                    <a:pt x="101" y="13"/>
                  </a:lnTo>
                  <a:lnTo>
                    <a:pt x="102" y="13"/>
                  </a:lnTo>
                  <a:lnTo>
                    <a:pt x="103" y="13"/>
                  </a:lnTo>
                  <a:lnTo>
                    <a:pt x="109" y="15"/>
                  </a:lnTo>
                  <a:lnTo>
                    <a:pt x="110" y="15"/>
                  </a:lnTo>
                  <a:lnTo>
                    <a:pt x="113" y="18"/>
                  </a:lnTo>
                  <a:lnTo>
                    <a:pt x="113" y="17"/>
                  </a:lnTo>
                  <a:lnTo>
                    <a:pt x="115" y="17"/>
                  </a:lnTo>
                  <a:lnTo>
                    <a:pt x="115" y="17"/>
                  </a:lnTo>
                  <a:lnTo>
                    <a:pt x="118" y="18"/>
                  </a:lnTo>
                  <a:lnTo>
                    <a:pt x="118" y="19"/>
                  </a:lnTo>
                  <a:lnTo>
                    <a:pt x="119" y="19"/>
                  </a:lnTo>
                  <a:lnTo>
                    <a:pt x="123" y="19"/>
                  </a:lnTo>
                  <a:lnTo>
                    <a:pt x="123" y="20"/>
                  </a:lnTo>
                  <a:lnTo>
                    <a:pt x="126" y="20"/>
                  </a:lnTo>
                  <a:lnTo>
                    <a:pt x="129" y="20"/>
                  </a:lnTo>
                  <a:lnTo>
                    <a:pt x="129" y="17"/>
                  </a:lnTo>
                  <a:lnTo>
                    <a:pt x="130" y="17"/>
                  </a:lnTo>
                  <a:lnTo>
                    <a:pt x="138" y="20"/>
                  </a:lnTo>
                  <a:lnTo>
                    <a:pt x="138" y="21"/>
                  </a:lnTo>
                  <a:lnTo>
                    <a:pt x="139" y="23"/>
                  </a:lnTo>
                  <a:lnTo>
                    <a:pt x="140" y="24"/>
                  </a:lnTo>
                  <a:lnTo>
                    <a:pt x="142" y="23"/>
                  </a:lnTo>
                  <a:lnTo>
                    <a:pt x="143" y="23"/>
                  </a:lnTo>
                  <a:lnTo>
                    <a:pt x="145" y="24"/>
                  </a:lnTo>
                  <a:lnTo>
                    <a:pt x="145" y="25"/>
                  </a:lnTo>
                  <a:lnTo>
                    <a:pt x="147" y="25"/>
                  </a:lnTo>
                  <a:lnTo>
                    <a:pt x="149" y="24"/>
                  </a:lnTo>
                  <a:lnTo>
                    <a:pt x="152" y="26"/>
                  </a:lnTo>
                  <a:lnTo>
                    <a:pt x="154" y="26"/>
                  </a:lnTo>
                  <a:lnTo>
                    <a:pt x="155" y="25"/>
                  </a:lnTo>
                  <a:lnTo>
                    <a:pt x="159" y="23"/>
                  </a:lnTo>
                  <a:lnTo>
                    <a:pt x="161" y="24"/>
                  </a:lnTo>
                  <a:lnTo>
                    <a:pt x="161" y="25"/>
                  </a:lnTo>
                  <a:lnTo>
                    <a:pt x="161" y="29"/>
                  </a:lnTo>
                  <a:lnTo>
                    <a:pt x="162" y="29"/>
                  </a:lnTo>
                  <a:lnTo>
                    <a:pt x="162" y="33"/>
                  </a:lnTo>
                  <a:lnTo>
                    <a:pt x="155" y="37"/>
                  </a:lnTo>
                  <a:lnTo>
                    <a:pt x="150" y="41"/>
                  </a:lnTo>
                  <a:lnTo>
                    <a:pt x="148" y="43"/>
                  </a:lnTo>
                  <a:lnTo>
                    <a:pt x="142" y="45"/>
                  </a:lnTo>
                  <a:lnTo>
                    <a:pt x="138" y="46"/>
                  </a:lnTo>
                  <a:lnTo>
                    <a:pt x="132" y="48"/>
                  </a:lnTo>
                  <a:lnTo>
                    <a:pt x="130" y="50"/>
                  </a:lnTo>
                  <a:lnTo>
                    <a:pt x="130" y="52"/>
                  </a:lnTo>
                  <a:lnTo>
                    <a:pt x="132" y="53"/>
                  </a:lnTo>
                  <a:lnTo>
                    <a:pt x="131" y="54"/>
                  </a:lnTo>
                  <a:lnTo>
                    <a:pt x="127" y="55"/>
                  </a:lnTo>
                  <a:lnTo>
                    <a:pt x="124" y="61"/>
                  </a:lnTo>
                  <a:lnTo>
                    <a:pt x="119" y="67"/>
                  </a:lnTo>
                  <a:lnTo>
                    <a:pt x="118" y="69"/>
                  </a:lnTo>
                  <a:lnTo>
                    <a:pt x="117" y="72"/>
                  </a:lnTo>
                  <a:lnTo>
                    <a:pt x="116" y="75"/>
                  </a:lnTo>
                  <a:lnTo>
                    <a:pt x="118" y="81"/>
                  </a:lnTo>
                  <a:lnTo>
                    <a:pt x="118" y="82"/>
                  </a:lnTo>
                  <a:lnTo>
                    <a:pt x="119" y="83"/>
                  </a:lnTo>
                  <a:lnTo>
                    <a:pt x="123" y="85"/>
                  </a:lnTo>
                  <a:lnTo>
                    <a:pt x="123" y="87"/>
                  </a:lnTo>
                  <a:lnTo>
                    <a:pt x="120" y="89"/>
                  </a:lnTo>
                  <a:lnTo>
                    <a:pt x="118" y="90"/>
                  </a:lnTo>
                  <a:lnTo>
                    <a:pt x="115" y="92"/>
                  </a:lnTo>
                  <a:lnTo>
                    <a:pt x="114" y="95"/>
                  </a:lnTo>
                  <a:lnTo>
                    <a:pt x="112" y="96"/>
                  </a:lnTo>
                  <a:lnTo>
                    <a:pt x="109" y="103"/>
                  </a:lnTo>
                  <a:lnTo>
                    <a:pt x="110" y="106"/>
                  </a:lnTo>
                  <a:lnTo>
                    <a:pt x="109" y="106"/>
                  </a:lnTo>
                  <a:lnTo>
                    <a:pt x="103" y="107"/>
                  </a:lnTo>
                  <a:lnTo>
                    <a:pt x="100" y="108"/>
                  </a:lnTo>
                  <a:lnTo>
                    <a:pt x="97" y="111"/>
                  </a:lnTo>
                  <a:lnTo>
                    <a:pt x="96" y="116"/>
                  </a:lnTo>
                  <a:lnTo>
                    <a:pt x="91" y="120"/>
                  </a:lnTo>
                  <a:lnTo>
                    <a:pt x="90" y="118"/>
                  </a:lnTo>
                  <a:lnTo>
                    <a:pt x="87" y="119"/>
                  </a:lnTo>
                  <a:lnTo>
                    <a:pt x="85" y="121"/>
                  </a:lnTo>
                  <a:lnTo>
                    <a:pt x="83" y="121"/>
                  </a:lnTo>
                  <a:lnTo>
                    <a:pt x="82" y="120"/>
                  </a:lnTo>
                  <a:lnTo>
                    <a:pt x="63" y="120"/>
                  </a:lnTo>
                  <a:lnTo>
                    <a:pt x="59" y="124"/>
                  </a:lnTo>
                  <a:lnTo>
                    <a:pt x="53" y="125"/>
                  </a:lnTo>
                  <a:lnTo>
                    <a:pt x="51" y="128"/>
                  </a:lnTo>
                  <a:lnTo>
                    <a:pt x="51" y="130"/>
                  </a:lnTo>
                  <a:lnTo>
                    <a:pt x="50" y="131"/>
                  </a:lnTo>
                  <a:lnTo>
                    <a:pt x="49" y="129"/>
                  </a:lnTo>
                  <a:lnTo>
                    <a:pt x="49" y="129"/>
                  </a:lnTo>
                  <a:lnTo>
                    <a:pt x="49" y="131"/>
                  </a:lnTo>
                  <a:lnTo>
                    <a:pt x="47" y="132"/>
                  </a:lnTo>
                  <a:lnTo>
                    <a:pt x="45" y="131"/>
                  </a:lnTo>
                  <a:lnTo>
                    <a:pt x="40" y="127"/>
                  </a:lnTo>
                  <a:lnTo>
                    <a:pt x="39" y="124"/>
                  </a:lnTo>
                  <a:lnTo>
                    <a:pt x="39" y="122"/>
                  </a:lnTo>
                  <a:lnTo>
                    <a:pt x="37" y="122"/>
                  </a:lnTo>
                  <a:lnTo>
                    <a:pt x="36" y="120"/>
                  </a:lnTo>
                  <a:lnTo>
                    <a:pt x="37" y="119"/>
                  </a:lnTo>
                  <a:lnTo>
                    <a:pt x="34" y="115"/>
                  </a:lnTo>
                  <a:lnTo>
                    <a:pt x="30" y="113"/>
                  </a:lnTo>
                  <a:lnTo>
                    <a:pt x="29" y="113"/>
                  </a:lnTo>
                  <a:lnTo>
                    <a:pt x="27" y="112"/>
                  </a:lnTo>
                  <a:lnTo>
                    <a:pt x="23" y="112"/>
                  </a:lnTo>
                  <a:lnTo>
                    <a:pt x="23" y="112"/>
                  </a:lnTo>
                  <a:lnTo>
                    <a:pt x="25" y="105"/>
                  </a:lnTo>
                  <a:lnTo>
                    <a:pt x="26" y="102"/>
                  </a:lnTo>
                  <a:lnTo>
                    <a:pt x="31" y="97"/>
                  </a:lnTo>
                  <a:lnTo>
                    <a:pt x="29" y="95"/>
                  </a:lnTo>
                  <a:lnTo>
                    <a:pt x="24" y="94"/>
                  </a:lnTo>
                  <a:lnTo>
                    <a:pt x="25" y="91"/>
                  </a:lnTo>
                  <a:lnTo>
                    <a:pt x="28" y="86"/>
                  </a:lnTo>
                  <a:lnTo>
                    <a:pt x="30" y="83"/>
                  </a:lnTo>
                  <a:lnTo>
                    <a:pt x="29" y="82"/>
                  </a:lnTo>
                  <a:lnTo>
                    <a:pt x="27" y="77"/>
                  </a:lnTo>
                  <a:lnTo>
                    <a:pt x="24" y="74"/>
                  </a:lnTo>
                  <a:lnTo>
                    <a:pt x="25" y="73"/>
                  </a:lnTo>
                  <a:lnTo>
                    <a:pt x="28" y="72"/>
                  </a:lnTo>
                  <a:lnTo>
                    <a:pt x="31" y="71"/>
                  </a:lnTo>
                  <a:lnTo>
                    <a:pt x="31" y="69"/>
                  </a:lnTo>
                  <a:lnTo>
                    <a:pt x="31" y="62"/>
                  </a:lnTo>
                  <a:lnTo>
                    <a:pt x="32" y="54"/>
                  </a:lnTo>
                  <a:lnTo>
                    <a:pt x="31" y="51"/>
                  </a:lnTo>
                  <a:lnTo>
                    <a:pt x="31" y="47"/>
                  </a:lnTo>
                  <a:lnTo>
                    <a:pt x="32" y="47"/>
                  </a:lnTo>
                  <a:lnTo>
                    <a:pt x="39" y="43"/>
                  </a:lnTo>
                  <a:lnTo>
                    <a:pt x="41" y="41"/>
                  </a:lnTo>
                  <a:lnTo>
                    <a:pt x="40" y="39"/>
                  </a:lnTo>
                  <a:lnTo>
                    <a:pt x="36" y="35"/>
                  </a:lnTo>
                  <a:lnTo>
                    <a:pt x="35" y="33"/>
                  </a:lnTo>
                  <a:lnTo>
                    <a:pt x="33" y="32"/>
                  </a:lnTo>
                  <a:lnTo>
                    <a:pt x="31" y="31"/>
                  </a:lnTo>
                  <a:lnTo>
                    <a:pt x="28" y="33"/>
                  </a:lnTo>
                  <a:lnTo>
                    <a:pt x="17" y="33"/>
                  </a:lnTo>
                  <a:lnTo>
                    <a:pt x="14" y="29"/>
                  </a:lnTo>
                  <a:lnTo>
                    <a:pt x="11" y="31"/>
                  </a:lnTo>
                  <a:lnTo>
                    <a:pt x="6" y="3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8" name="Freeform 40">
              <a:extLst>
                <a:ext uri="{FF2B5EF4-FFF2-40B4-BE49-F238E27FC236}">
                  <a16:creationId xmlns:a16="http://schemas.microsoft.com/office/drawing/2014/main" id="{381EE127-337D-5911-DA46-9EEC6A52C67C}"/>
                </a:ext>
              </a:extLst>
            </p:cNvPr>
            <p:cNvSpPr>
              <a:spLocks noEditPoints="1"/>
            </p:cNvSpPr>
            <p:nvPr/>
          </p:nvSpPr>
          <p:spPr bwMode="auto">
            <a:xfrm>
              <a:off x="5451059" y="3762375"/>
              <a:ext cx="92075" cy="107950"/>
            </a:xfrm>
            <a:custGeom>
              <a:avLst/>
              <a:gdLst/>
              <a:ahLst/>
              <a:cxnLst>
                <a:cxn ang="0">
                  <a:pos x="4" y="18"/>
                </a:cxn>
                <a:cxn ang="0">
                  <a:pos x="8" y="16"/>
                </a:cxn>
                <a:cxn ang="0">
                  <a:pos x="17" y="15"/>
                </a:cxn>
                <a:cxn ang="0">
                  <a:pos x="24" y="4"/>
                </a:cxn>
                <a:cxn ang="0">
                  <a:pos x="30" y="3"/>
                </a:cxn>
                <a:cxn ang="0">
                  <a:pos x="33" y="1"/>
                </a:cxn>
                <a:cxn ang="0">
                  <a:pos x="32" y="7"/>
                </a:cxn>
                <a:cxn ang="0">
                  <a:pos x="30" y="15"/>
                </a:cxn>
                <a:cxn ang="0">
                  <a:pos x="19" y="19"/>
                </a:cxn>
                <a:cxn ang="0">
                  <a:pos x="14" y="18"/>
                </a:cxn>
                <a:cxn ang="0">
                  <a:pos x="12" y="19"/>
                </a:cxn>
                <a:cxn ang="0">
                  <a:pos x="9" y="24"/>
                </a:cxn>
                <a:cxn ang="0">
                  <a:pos x="6" y="27"/>
                </a:cxn>
                <a:cxn ang="0">
                  <a:pos x="4" y="27"/>
                </a:cxn>
                <a:cxn ang="0">
                  <a:pos x="51" y="66"/>
                </a:cxn>
                <a:cxn ang="0">
                  <a:pos x="48" y="61"/>
                </a:cxn>
                <a:cxn ang="0">
                  <a:pos x="42" y="61"/>
                </a:cxn>
                <a:cxn ang="0">
                  <a:pos x="40" y="51"/>
                </a:cxn>
                <a:cxn ang="0">
                  <a:pos x="46" y="45"/>
                </a:cxn>
                <a:cxn ang="0">
                  <a:pos x="51" y="52"/>
                </a:cxn>
                <a:cxn ang="0">
                  <a:pos x="53" y="43"/>
                </a:cxn>
                <a:cxn ang="0">
                  <a:pos x="57" y="43"/>
                </a:cxn>
                <a:cxn ang="0">
                  <a:pos x="57" y="53"/>
                </a:cxn>
                <a:cxn ang="0">
                  <a:pos x="54" y="57"/>
                </a:cxn>
                <a:cxn ang="0">
                  <a:pos x="56" y="61"/>
                </a:cxn>
                <a:cxn ang="0">
                  <a:pos x="51" y="66"/>
                </a:cxn>
                <a:cxn ang="0">
                  <a:pos x="8" y="68"/>
                </a:cxn>
                <a:cxn ang="0">
                  <a:pos x="8" y="64"/>
                </a:cxn>
                <a:cxn ang="0">
                  <a:pos x="6" y="57"/>
                </a:cxn>
                <a:cxn ang="0">
                  <a:pos x="2" y="56"/>
                </a:cxn>
                <a:cxn ang="0">
                  <a:pos x="1" y="51"/>
                </a:cxn>
                <a:cxn ang="0">
                  <a:pos x="3" y="46"/>
                </a:cxn>
                <a:cxn ang="0">
                  <a:pos x="1" y="37"/>
                </a:cxn>
                <a:cxn ang="0">
                  <a:pos x="3" y="31"/>
                </a:cxn>
                <a:cxn ang="0">
                  <a:pos x="8" y="34"/>
                </a:cxn>
                <a:cxn ang="0">
                  <a:pos x="12" y="27"/>
                </a:cxn>
                <a:cxn ang="0">
                  <a:pos x="17" y="31"/>
                </a:cxn>
                <a:cxn ang="0">
                  <a:pos x="17" y="21"/>
                </a:cxn>
                <a:cxn ang="0">
                  <a:pos x="28" y="22"/>
                </a:cxn>
                <a:cxn ang="0">
                  <a:pos x="30" y="31"/>
                </a:cxn>
                <a:cxn ang="0">
                  <a:pos x="37" y="34"/>
                </a:cxn>
                <a:cxn ang="0">
                  <a:pos x="32" y="42"/>
                </a:cxn>
                <a:cxn ang="0">
                  <a:pos x="29" y="39"/>
                </a:cxn>
                <a:cxn ang="0">
                  <a:pos x="29" y="43"/>
                </a:cxn>
                <a:cxn ang="0">
                  <a:pos x="26" y="49"/>
                </a:cxn>
                <a:cxn ang="0">
                  <a:pos x="21" y="52"/>
                </a:cxn>
                <a:cxn ang="0">
                  <a:pos x="21" y="55"/>
                </a:cxn>
                <a:cxn ang="0">
                  <a:pos x="19" y="60"/>
                </a:cxn>
                <a:cxn ang="0">
                  <a:pos x="18" y="66"/>
                </a:cxn>
              </a:cxnLst>
              <a:rect l="0" t="0" r="r" b="b"/>
              <a:pathLst>
                <a:path w="58" h="68">
                  <a:moveTo>
                    <a:pt x="2" y="24"/>
                  </a:moveTo>
                  <a:lnTo>
                    <a:pt x="4" y="18"/>
                  </a:lnTo>
                  <a:lnTo>
                    <a:pt x="6" y="15"/>
                  </a:lnTo>
                  <a:lnTo>
                    <a:pt x="8" y="16"/>
                  </a:lnTo>
                  <a:lnTo>
                    <a:pt x="12" y="15"/>
                  </a:lnTo>
                  <a:lnTo>
                    <a:pt x="17" y="15"/>
                  </a:lnTo>
                  <a:lnTo>
                    <a:pt x="18" y="13"/>
                  </a:lnTo>
                  <a:lnTo>
                    <a:pt x="24" y="4"/>
                  </a:lnTo>
                  <a:lnTo>
                    <a:pt x="29" y="2"/>
                  </a:lnTo>
                  <a:lnTo>
                    <a:pt x="30" y="3"/>
                  </a:lnTo>
                  <a:lnTo>
                    <a:pt x="32" y="0"/>
                  </a:lnTo>
                  <a:lnTo>
                    <a:pt x="33" y="1"/>
                  </a:lnTo>
                  <a:lnTo>
                    <a:pt x="31" y="6"/>
                  </a:lnTo>
                  <a:lnTo>
                    <a:pt x="32" y="7"/>
                  </a:lnTo>
                  <a:lnTo>
                    <a:pt x="32" y="13"/>
                  </a:lnTo>
                  <a:lnTo>
                    <a:pt x="30" y="15"/>
                  </a:lnTo>
                  <a:lnTo>
                    <a:pt x="29" y="18"/>
                  </a:lnTo>
                  <a:lnTo>
                    <a:pt x="19" y="19"/>
                  </a:lnTo>
                  <a:lnTo>
                    <a:pt x="17" y="18"/>
                  </a:lnTo>
                  <a:lnTo>
                    <a:pt x="14" y="18"/>
                  </a:lnTo>
                  <a:lnTo>
                    <a:pt x="14" y="18"/>
                  </a:lnTo>
                  <a:lnTo>
                    <a:pt x="12" y="19"/>
                  </a:lnTo>
                  <a:lnTo>
                    <a:pt x="11" y="19"/>
                  </a:lnTo>
                  <a:lnTo>
                    <a:pt x="9" y="24"/>
                  </a:lnTo>
                  <a:lnTo>
                    <a:pt x="8" y="26"/>
                  </a:lnTo>
                  <a:lnTo>
                    <a:pt x="6" y="27"/>
                  </a:lnTo>
                  <a:lnTo>
                    <a:pt x="6" y="28"/>
                  </a:lnTo>
                  <a:lnTo>
                    <a:pt x="4" y="27"/>
                  </a:lnTo>
                  <a:lnTo>
                    <a:pt x="2" y="24"/>
                  </a:lnTo>
                  <a:close/>
                  <a:moveTo>
                    <a:pt x="51" y="66"/>
                  </a:moveTo>
                  <a:lnTo>
                    <a:pt x="50" y="65"/>
                  </a:lnTo>
                  <a:lnTo>
                    <a:pt x="48" y="61"/>
                  </a:lnTo>
                  <a:lnTo>
                    <a:pt x="46" y="62"/>
                  </a:lnTo>
                  <a:lnTo>
                    <a:pt x="42" y="61"/>
                  </a:lnTo>
                  <a:lnTo>
                    <a:pt x="42" y="58"/>
                  </a:lnTo>
                  <a:lnTo>
                    <a:pt x="40" y="51"/>
                  </a:lnTo>
                  <a:lnTo>
                    <a:pt x="42" y="50"/>
                  </a:lnTo>
                  <a:lnTo>
                    <a:pt x="46" y="45"/>
                  </a:lnTo>
                  <a:lnTo>
                    <a:pt x="48" y="50"/>
                  </a:lnTo>
                  <a:lnTo>
                    <a:pt x="51" y="52"/>
                  </a:lnTo>
                  <a:lnTo>
                    <a:pt x="52" y="49"/>
                  </a:lnTo>
                  <a:lnTo>
                    <a:pt x="53" y="43"/>
                  </a:lnTo>
                  <a:lnTo>
                    <a:pt x="55" y="43"/>
                  </a:lnTo>
                  <a:lnTo>
                    <a:pt x="57" y="43"/>
                  </a:lnTo>
                  <a:lnTo>
                    <a:pt x="58" y="49"/>
                  </a:lnTo>
                  <a:lnTo>
                    <a:pt x="57" y="53"/>
                  </a:lnTo>
                  <a:lnTo>
                    <a:pt x="56" y="54"/>
                  </a:lnTo>
                  <a:lnTo>
                    <a:pt x="54" y="57"/>
                  </a:lnTo>
                  <a:lnTo>
                    <a:pt x="57" y="60"/>
                  </a:lnTo>
                  <a:lnTo>
                    <a:pt x="56" y="61"/>
                  </a:lnTo>
                  <a:lnTo>
                    <a:pt x="53" y="66"/>
                  </a:lnTo>
                  <a:lnTo>
                    <a:pt x="51" y="66"/>
                  </a:lnTo>
                  <a:close/>
                  <a:moveTo>
                    <a:pt x="19" y="67"/>
                  </a:moveTo>
                  <a:lnTo>
                    <a:pt x="8" y="68"/>
                  </a:lnTo>
                  <a:lnTo>
                    <a:pt x="8" y="68"/>
                  </a:lnTo>
                  <a:lnTo>
                    <a:pt x="8" y="64"/>
                  </a:lnTo>
                  <a:lnTo>
                    <a:pt x="7" y="57"/>
                  </a:lnTo>
                  <a:lnTo>
                    <a:pt x="6" y="57"/>
                  </a:lnTo>
                  <a:lnTo>
                    <a:pt x="3" y="54"/>
                  </a:lnTo>
                  <a:lnTo>
                    <a:pt x="2" y="56"/>
                  </a:lnTo>
                  <a:lnTo>
                    <a:pt x="0" y="54"/>
                  </a:lnTo>
                  <a:lnTo>
                    <a:pt x="1" y="51"/>
                  </a:lnTo>
                  <a:lnTo>
                    <a:pt x="3" y="48"/>
                  </a:lnTo>
                  <a:lnTo>
                    <a:pt x="3" y="46"/>
                  </a:lnTo>
                  <a:lnTo>
                    <a:pt x="1" y="40"/>
                  </a:lnTo>
                  <a:lnTo>
                    <a:pt x="1" y="37"/>
                  </a:lnTo>
                  <a:lnTo>
                    <a:pt x="2" y="32"/>
                  </a:lnTo>
                  <a:lnTo>
                    <a:pt x="3" y="31"/>
                  </a:lnTo>
                  <a:lnTo>
                    <a:pt x="5" y="33"/>
                  </a:lnTo>
                  <a:lnTo>
                    <a:pt x="8" y="34"/>
                  </a:lnTo>
                  <a:lnTo>
                    <a:pt x="11" y="28"/>
                  </a:lnTo>
                  <a:lnTo>
                    <a:pt x="12" y="27"/>
                  </a:lnTo>
                  <a:lnTo>
                    <a:pt x="14" y="31"/>
                  </a:lnTo>
                  <a:lnTo>
                    <a:pt x="17" y="31"/>
                  </a:lnTo>
                  <a:lnTo>
                    <a:pt x="17" y="25"/>
                  </a:lnTo>
                  <a:lnTo>
                    <a:pt x="17" y="21"/>
                  </a:lnTo>
                  <a:lnTo>
                    <a:pt x="23" y="21"/>
                  </a:lnTo>
                  <a:lnTo>
                    <a:pt x="28" y="22"/>
                  </a:lnTo>
                  <a:lnTo>
                    <a:pt x="29" y="28"/>
                  </a:lnTo>
                  <a:lnTo>
                    <a:pt x="30" y="31"/>
                  </a:lnTo>
                  <a:lnTo>
                    <a:pt x="36" y="32"/>
                  </a:lnTo>
                  <a:lnTo>
                    <a:pt x="37" y="34"/>
                  </a:lnTo>
                  <a:lnTo>
                    <a:pt x="35" y="40"/>
                  </a:lnTo>
                  <a:lnTo>
                    <a:pt x="32" y="42"/>
                  </a:lnTo>
                  <a:lnTo>
                    <a:pt x="31" y="39"/>
                  </a:lnTo>
                  <a:lnTo>
                    <a:pt x="29" y="39"/>
                  </a:lnTo>
                  <a:lnTo>
                    <a:pt x="28" y="40"/>
                  </a:lnTo>
                  <a:lnTo>
                    <a:pt x="29" y="43"/>
                  </a:lnTo>
                  <a:lnTo>
                    <a:pt x="27" y="48"/>
                  </a:lnTo>
                  <a:lnTo>
                    <a:pt x="26" y="49"/>
                  </a:lnTo>
                  <a:lnTo>
                    <a:pt x="25" y="51"/>
                  </a:lnTo>
                  <a:lnTo>
                    <a:pt x="21" y="52"/>
                  </a:lnTo>
                  <a:lnTo>
                    <a:pt x="23" y="54"/>
                  </a:lnTo>
                  <a:lnTo>
                    <a:pt x="21" y="55"/>
                  </a:lnTo>
                  <a:lnTo>
                    <a:pt x="20" y="57"/>
                  </a:lnTo>
                  <a:lnTo>
                    <a:pt x="19" y="60"/>
                  </a:lnTo>
                  <a:lnTo>
                    <a:pt x="19" y="63"/>
                  </a:lnTo>
                  <a:lnTo>
                    <a:pt x="18" y="66"/>
                  </a:lnTo>
                  <a:lnTo>
                    <a:pt x="19" y="6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69" name="Freeform 41">
              <a:extLst>
                <a:ext uri="{FF2B5EF4-FFF2-40B4-BE49-F238E27FC236}">
                  <a16:creationId xmlns:a16="http://schemas.microsoft.com/office/drawing/2014/main" id="{01CCBEF9-29A0-CFEE-FF1B-E0856A2850CF}"/>
                </a:ext>
              </a:extLst>
            </p:cNvPr>
            <p:cNvSpPr>
              <a:spLocks/>
            </p:cNvSpPr>
            <p:nvPr/>
          </p:nvSpPr>
          <p:spPr bwMode="auto">
            <a:xfrm>
              <a:off x="5403434" y="4032250"/>
              <a:ext cx="15875" cy="22225"/>
            </a:xfrm>
            <a:custGeom>
              <a:avLst/>
              <a:gdLst/>
              <a:ahLst/>
              <a:cxnLst>
                <a:cxn ang="0">
                  <a:pos x="1" y="13"/>
                </a:cxn>
                <a:cxn ang="0">
                  <a:pos x="2" y="10"/>
                </a:cxn>
                <a:cxn ang="0">
                  <a:pos x="0" y="8"/>
                </a:cxn>
                <a:cxn ang="0">
                  <a:pos x="0" y="5"/>
                </a:cxn>
                <a:cxn ang="0">
                  <a:pos x="1" y="2"/>
                </a:cxn>
                <a:cxn ang="0">
                  <a:pos x="3" y="1"/>
                </a:cxn>
                <a:cxn ang="0">
                  <a:pos x="3" y="0"/>
                </a:cxn>
                <a:cxn ang="0">
                  <a:pos x="5" y="1"/>
                </a:cxn>
                <a:cxn ang="0">
                  <a:pos x="5" y="3"/>
                </a:cxn>
                <a:cxn ang="0">
                  <a:pos x="8" y="6"/>
                </a:cxn>
                <a:cxn ang="0">
                  <a:pos x="10" y="7"/>
                </a:cxn>
                <a:cxn ang="0">
                  <a:pos x="10" y="10"/>
                </a:cxn>
                <a:cxn ang="0">
                  <a:pos x="8" y="11"/>
                </a:cxn>
                <a:cxn ang="0">
                  <a:pos x="9" y="14"/>
                </a:cxn>
                <a:cxn ang="0">
                  <a:pos x="8" y="14"/>
                </a:cxn>
                <a:cxn ang="0">
                  <a:pos x="5" y="13"/>
                </a:cxn>
                <a:cxn ang="0">
                  <a:pos x="1" y="13"/>
                </a:cxn>
              </a:cxnLst>
              <a:rect l="0" t="0" r="r" b="b"/>
              <a:pathLst>
                <a:path w="10" h="14">
                  <a:moveTo>
                    <a:pt x="1" y="13"/>
                  </a:moveTo>
                  <a:lnTo>
                    <a:pt x="2" y="10"/>
                  </a:lnTo>
                  <a:lnTo>
                    <a:pt x="0" y="8"/>
                  </a:lnTo>
                  <a:lnTo>
                    <a:pt x="0" y="5"/>
                  </a:lnTo>
                  <a:lnTo>
                    <a:pt x="1" y="2"/>
                  </a:lnTo>
                  <a:lnTo>
                    <a:pt x="3" y="1"/>
                  </a:lnTo>
                  <a:lnTo>
                    <a:pt x="3" y="0"/>
                  </a:lnTo>
                  <a:lnTo>
                    <a:pt x="5" y="1"/>
                  </a:lnTo>
                  <a:lnTo>
                    <a:pt x="5" y="3"/>
                  </a:lnTo>
                  <a:lnTo>
                    <a:pt x="8" y="6"/>
                  </a:lnTo>
                  <a:lnTo>
                    <a:pt x="10" y="7"/>
                  </a:lnTo>
                  <a:lnTo>
                    <a:pt x="10" y="10"/>
                  </a:lnTo>
                  <a:lnTo>
                    <a:pt x="8" y="11"/>
                  </a:lnTo>
                  <a:lnTo>
                    <a:pt x="9" y="14"/>
                  </a:lnTo>
                  <a:lnTo>
                    <a:pt x="8" y="14"/>
                  </a:lnTo>
                  <a:lnTo>
                    <a:pt x="5" y="13"/>
                  </a:lnTo>
                  <a:lnTo>
                    <a:pt x="1" y="1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0" name="Freeform 42">
              <a:extLst>
                <a:ext uri="{FF2B5EF4-FFF2-40B4-BE49-F238E27FC236}">
                  <a16:creationId xmlns:a16="http://schemas.microsoft.com/office/drawing/2014/main" id="{624D76D9-F232-4F3A-74F1-1A27C091CFA4}"/>
                </a:ext>
              </a:extLst>
            </p:cNvPr>
            <p:cNvSpPr>
              <a:spLocks/>
            </p:cNvSpPr>
            <p:nvPr/>
          </p:nvSpPr>
          <p:spPr bwMode="auto">
            <a:xfrm>
              <a:off x="5512971" y="3235325"/>
              <a:ext cx="268288" cy="619125"/>
            </a:xfrm>
            <a:custGeom>
              <a:avLst/>
              <a:gdLst/>
              <a:ahLst/>
              <a:cxnLst>
                <a:cxn ang="0">
                  <a:pos x="159" y="112"/>
                </a:cxn>
                <a:cxn ang="0">
                  <a:pos x="146" y="111"/>
                </a:cxn>
                <a:cxn ang="0">
                  <a:pos x="134" y="127"/>
                </a:cxn>
                <a:cxn ang="0">
                  <a:pos x="129" y="143"/>
                </a:cxn>
                <a:cxn ang="0">
                  <a:pos x="131" y="158"/>
                </a:cxn>
                <a:cxn ang="0">
                  <a:pos x="113" y="182"/>
                </a:cxn>
                <a:cxn ang="0">
                  <a:pos x="101" y="189"/>
                </a:cxn>
                <a:cxn ang="0">
                  <a:pos x="90" y="200"/>
                </a:cxn>
                <a:cxn ang="0">
                  <a:pos x="82" y="209"/>
                </a:cxn>
                <a:cxn ang="0">
                  <a:pos x="80" y="232"/>
                </a:cxn>
                <a:cxn ang="0">
                  <a:pos x="82" y="255"/>
                </a:cxn>
                <a:cxn ang="0">
                  <a:pos x="90" y="260"/>
                </a:cxn>
                <a:cxn ang="0">
                  <a:pos x="103" y="278"/>
                </a:cxn>
                <a:cxn ang="0">
                  <a:pos x="99" y="287"/>
                </a:cxn>
                <a:cxn ang="0">
                  <a:pos x="87" y="291"/>
                </a:cxn>
                <a:cxn ang="0">
                  <a:pos x="74" y="288"/>
                </a:cxn>
                <a:cxn ang="0">
                  <a:pos x="78" y="292"/>
                </a:cxn>
                <a:cxn ang="0">
                  <a:pos x="86" y="294"/>
                </a:cxn>
                <a:cxn ang="0">
                  <a:pos x="95" y="292"/>
                </a:cxn>
                <a:cxn ang="0">
                  <a:pos x="99" y="293"/>
                </a:cxn>
                <a:cxn ang="0">
                  <a:pos x="91" y="300"/>
                </a:cxn>
                <a:cxn ang="0">
                  <a:pos x="88" y="302"/>
                </a:cxn>
                <a:cxn ang="0">
                  <a:pos x="83" y="308"/>
                </a:cxn>
                <a:cxn ang="0">
                  <a:pos x="71" y="311"/>
                </a:cxn>
                <a:cxn ang="0">
                  <a:pos x="74" y="329"/>
                </a:cxn>
                <a:cxn ang="0">
                  <a:pos x="73" y="335"/>
                </a:cxn>
                <a:cxn ang="0">
                  <a:pos x="70" y="349"/>
                </a:cxn>
                <a:cxn ang="0">
                  <a:pos x="61" y="373"/>
                </a:cxn>
                <a:cxn ang="0">
                  <a:pos x="47" y="375"/>
                </a:cxn>
                <a:cxn ang="0">
                  <a:pos x="42" y="386"/>
                </a:cxn>
                <a:cxn ang="0">
                  <a:pos x="30" y="390"/>
                </a:cxn>
                <a:cxn ang="0">
                  <a:pos x="24" y="385"/>
                </a:cxn>
                <a:cxn ang="0">
                  <a:pos x="18" y="369"/>
                </a:cxn>
                <a:cxn ang="0">
                  <a:pos x="24" y="362"/>
                </a:cxn>
                <a:cxn ang="0">
                  <a:pos x="17" y="354"/>
                </a:cxn>
                <a:cxn ang="0">
                  <a:pos x="9" y="334"/>
                </a:cxn>
                <a:cxn ang="0">
                  <a:pos x="8" y="320"/>
                </a:cxn>
                <a:cxn ang="0">
                  <a:pos x="2" y="305"/>
                </a:cxn>
                <a:cxn ang="0">
                  <a:pos x="5" y="305"/>
                </a:cxn>
                <a:cxn ang="0">
                  <a:pos x="11" y="284"/>
                </a:cxn>
                <a:cxn ang="0">
                  <a:pos x="18" y="268"/>
                </a:cxn>
                <a:cxn ang="0">
                  <a:pos x="20" y="248"/>
                </a:cxn>
                <a:cxn ang="0">
                  <a:pos x="14" y="230"/>
                </a:cxn>
                <a:cxn ang="0">
                  <a:pos x="14" y="183"/>
                </a:cxn>
                <a:cxn ang="0">
                  <a:pos x="27" y="165"/>
                </a:cxn>
                <a:cxn ang="0">
                  <a:pos x="41" y="161"/>
                </a:cxn>
                <a:cxn ang="0">
                  <a:pos x="38" y="140"/>
                </a:cxn>
                <a:cxn ang="0">
                  <a:pos x="46" y="104"/>
                </a:cxn>
                <a:cxn ang="0">
                  <a:pos x="64" y="80"/>
                </a:cxn>
                <a:cxn ang="0">
                  <a:pos x="68" y="59"/>
                </a:cxn>
                <a:cxn ang="0">
                  <a:pos x="86" y="40"/>
                </a:cxn>
                <a:cxn ang="0">
                  <a:pos x="92" y="21"/>
                </a:cxn>
                <a:cxn ang="0">
                  <a:pos x="113" y="29"/>
                </a:cxn>
                <a:cxn ang="0">
                  <a:pos x="119" y="1"/>
                </a:cxn>
                <a:cxn ang="0">
                  <a:pos x="128" y="2"/>
                </a:cxn>
                <a:cxn ang="0">
                  <a:pos x="155" y="29"/>
                </a:cxn>
                <a:cxn ang="0">
                  <a:pos x="162" y="55"/>
                </a:cxn>
                <a:cxn ang="0">
                  <a:pos x="165" y="93"/>
                </a:cxn>
              </a:cxnLst>
              <a:rect l="0" t="0" r="r" b="b"/>
              <a:pathLst>
                <a:path w="169" h="390">
                  <a:moveTo>
                    <a:pt x="169" y="108"/>
                  </a:moveTo>
                  <a:lnTo>
                    <a:pt x="167" y="108"/>
                  </a:lnTo>
                  <a:lnTo>
                    <a:pt x="162" y="111"/>
                  </a:lnTo>
                  <a:lnTo>
                    <a:pt x="159" y="112"/>
                  </a:lnTo>
                  <a:lnTo>
                    <a:pt x="154" y="107"/>
                  </a:lnTo>
                  <a:lnTo>
                    <a:pt x="152" y="104"/>
                  </a:lnTo>
                  <a:lnTo>
                    <a:pt x="150" y="106"/>
                  </a:lnTo>
                  <a:lnTo>
                    <a:pt x="146" y="111"/>
                  </a:lnTo>
                  <a:lnTo>
                    <a:pt x="143" y="120"/>
                  </a:lnTo>
                  <a:lnTo>
                    <a:pt x="141" y="122"/>
                  </a:lnTo>
                  <a:lnTo>
                    <a:pt x="137" y="122"/>
                  </a:lnTo>
                  <a:lnTo>
                    <a:pt x="134" y="127"/>
                  </a:lnTo>
                  <a:lnTo>
                    <a:pt x="136" y="130"/>
                  </a:lnTo>
                  <a:lnTo>
                    <a:pt x="137" y="133"/>
                  </a:lnTo>
                  <a:lnTo>
                    <a:pt x="135" y="137"/>
                  </a:lnTo>
                  <a:lnTo>
                    <a:pt x="129" y="143"/>
                  </a:lnTo>
                  <a:lnTo>
                    <a:pt x="131" y="146"/>
                  </a:lnTo>
                  <a:lnTo>
                    <a:pt x="133" y="148"/>
                  </a:lnTo>
                  <a:lnTo>
                    <a:pt x="135" y="152"/>
                  </a:lnTo>
                  <a:lnTo>
                    <a:pt x="131" y="158"/>
                  </a:lnTo>
                  <a:lnTo>
                    <a:pt x="128" y="163"/>
                  </a:lnTo>
                  <a:lnTo>
                    <a:pt x="126" y="169"/>
                  </a:lnTo>
                  <a:lnTo>
                    <a:pt x="117" y="178"/>
                  </a:lnTo>
                  <a:lnTo>
                    <a:pt x="113" y="182"/>
                  </a:lnTo>
                  <a:lnTo>
                    <a:pt x="110" y="179"/>
                  </a:lnTo>
                  <a:lnTo>
                    <a:pt x="108" y="180"/>
                  </a:lnTo>
                  <a:lnTo>
                    <a:pt x="105" y="188"/>
                  </a:lnTo>
                  <a:lnTo>
                    <a:pt x="101" y="189"/>
                  </a:lnTo>
                  <a:lnTo>
                    <a:pt x="98" y="194"/>
                  </a:lnTo>
                  <a:lnTo>
                    <a:pt x="96" y="197"/>
                  </a:lnTo>
                  <a:lnTo>
                    <a:pt x="95" y="199"/>
                  </a:lnTo>
                  <a:lnTo>
                    <a:pt x="90" y="200"/>
                  </a:lnTo>
                  <a:lnTo>
                    <a:pt x="89" y="199"/>
                  </a:lnTo>
                  <a:lnTo>
                    <a:pt x="90" y="206"/>
                  </a:lnTo>
                  <a:lnTo>
                    <a:pt x="87" y="212"/>
                  </a:lnTo>
                  <a:lnTo>
                    <a:pt x="82" y="209"/>
                  </a:lnTo>
                  <a:lnTo>
                    <a:pt x="83" y="216"/>
                  </a:lnTo>
                  <a:lnTo>
                    <a:pt x="84" y="219"/>
                  </a:lnTo>
                  <a:lnTo>
                    <a:pt x="83" y="231"/>
                  </a:lnTo>
                  <a:lnTo>
                    <a:pt x="80" y="232"/>
                  </a:lnTo>
                  <a:lnTo>
                    <a:pt x="79" y="234"/>
                  </a:lnTo>
                  <a:lnTo>
                    <a:pt x="80" y="244"/>
                  </a:lnTo>
                  <a:lnTo>
                    <a:pt x="80" y="250"/>
                  </a:lnTo>
                  <a:lnTo>
                    <a:pt x="82" y="255"/>
                  </a:lnTo>
                  <a:lnTo>
                    <a:pt x="80" y="258"/>
                  </a:lnTo>
                  <a:lnTo>
                    <a:pt x="86" y="259"/>
                  </a:lnTo>
                  <a:lnTo>
                    <a:pt x="87" y="261"/>
                  </a:lnTo>
                  <a:lnTo>
                    <a:pt x="90" y="260"/>
                  </a:lnTo>
                  <a:lnTo>
                    <a:pt x="94" y="267"/>
                  </a:lnTo>
                  <a:lnTo>
                    <a:pt x="96" y="271"/>
                  </a:lnTo>
                  <a:lnTo>
                    <a:pt x="102" y="273"/>
                  </a:lnTo>
                  <a:lnTo>
                    <a:pt x="103" y="278"/>
                  </a:lnTo>
                  <a:lnTo>
                    <a:pt x="105" y="279"/>
                  </a:lnTo>
                  <a:lnTo>
                    <a:pt x="105" y="283"/>
                  </a:lnTo>
                  <a:lnTo>
                    <a:pt x="102" y="283"/>
                  </a:lnTo>
                  <a:lnTo>
                    <a:pt x="99" y="287"/>
                  </a:lnTo>
                  <a:lnTo>
                    <a:pt x="94" y="290"/>
                  </a:lnTo>
                  <a:lnTo>
                    <a:pt x="92" y="292"/>
                  </a:lnTo>
                  <a:lnTo>
                    <a:pt x="88" y="292"/>
                  </a:lnTo>
                  <a:lnTo>
                    <a:pt x="87" y="291"/>
                  </a:lnTo>
                  <a:lnTo>
                    <a:pt x="83" y="289"/>
                  </a:lnTo>
                  <a:lnTo>
                    <a:pt x="79" y="287"/>
                  </a:lnTo>
                  <a:lnTo>
                    <a:pt x="75" y="287"/>
                  </a:lnTo>
                  <a:lnTo>
                    <a:pt x="74" y="288"/>
                  </a:lnTo>
                  <a:lnTo>
                    <a:pt x="72" y="286"/>
                  </a:lnTo>
                  <a:lnTo>
                    <a:pt x="70" y="290"/>
                  </a:lnTo>
                  <a:lnTo>
                    <a:pt x="75" y="289"/>
                  </a:lnTo>
                  <a:lnTo>
                    <a:pt x="78" y="292"/>
                  </a:lnTo>
                  <a:lnTo>
                    <a:pt x="81" y="293"/>
                  </a:lnTo>
                  <a:lnTo>
                    <a:pt x="83" y="295"/>
                  </a:lnTo>
                  <a:lnTo>
                    <a:pt x="86" y="296"/>
                  </a:lnTo>
                  <a:lnTo>
                    <a:pt x="86" y="294"/>
                  </a:lnTo>
                  <a:lnTo>
                    <a:pt x="89" y="295"/>
                  </a:lnTo>
                  <a:lnTo>
                    <a:pt x="91" y="293"/>
                  </a:lnTo>
                  <a:lnTo>
                    <a:pt x="92" y="293"/>
                  </a:lnTo>
                  <a:lnTo>
                    <a:pt x="95" y="292"/>
                  </a:lnTo>
                  <a:lnTo>
                    <a:pt x="97" y="293"/>
                  </a:lnTo>
                  <a:lnTo>
                    <a:pt x="97" y="291"/>
                  </a:lnTo>
                  <a:lnTo>
                    <a:pt x="98" y="291"/>
                  </a:lnTo>
                  <a:lnTo>
                    <a:pt x="99" y="293"/>
                  </a:lnTo>
                  <a:lnTo>
                    <a:pt x="99" y="294"/>
                  </a:lnTo>
                  <a:lnTo>
                    <a:pt x="95" y="294"/>
                  </a:lnTo>
                  <a:lnTo>
                    <a:pt x="96" y="297"/>
                  </a:lnTo>
                  <a:lnTo>
                    <a:pt x="91" y="300"/>
                  </a:lnTo>
                  <a:lnTo>
                    <a:pt x="90" y="303"/>
                  </a:lnTo>
                  <a:lnTo>
                    <a:pt x="88" y="305"/>
                  </a:lnTo>
                  <a:lnTo>
                    <a:pt x="87" y="303"/>
                  </a:lnTo>
                  <a:lnTo>
                    <a:pt x="88" y="302"/>
                  </a:lnTo>
                  <a:lnTo>
                    <a:pt x="88" y="299"/>
                  </a:lnTo>
                  <a:lnTo>
                    <a:pt x="86" y="299"/>
                  </a:lnTo>
                  <a:lnTo>
                    <a:pt x="86" y="304"/>
                  </a:lnTo>
                  <a:lnTo>
                    <a:pt x="83" y="308"/>
                  </a:lnTo>
                  <a:lnTo>
                    <a:pt x="81" y="308"/>
                  </a:lnTo>
                  <a:lnTo>
                    <a:pt x="79" y="308"/>
                  </a:lnTo>
                  <a:lnTo>
                    <a:pt x="79" y="310"/>
                  </a:lnTo>
                  <a:lnTo>
                    <a:pt x="71" y="311"/>
                  </a:lnTo>
                  <a:lnTo>
                    <a:pt x="72" y="316"/>
                  </a:lnTo>
                  <a:lnTo>
                    <a:pt x="75" y="318"/>
                  </a:lnTo>
                  <a:lnTo>
                    <a:pt x="75" y="325"/>
                  </a:lnTo>
                  <a:lnTo>
                    <a:pt x="74" y="329"/>
                  </a:lnTo>
                  <a:lnTo>
                    <a:pt x="73" y="330"/>
                  </a:lnTo>
                  <a:lnTo>
                    <a:pt x="71" y="329"/>
                  </a:lnTo>
                  <a:lnTo>
                    <a:pt x="71" y="333"/>
                  </a:lnTo>
                  <a:lnTo>
                    <a:pt x="73" y="335"/>
                  </a:lnTo>
                  <a:lnTo>
                    <a:pt x="72" y="338"/>
                  </a:lnTo>
                  <a:lnTo>
                    <a:pt x="74" y="340"/>
                  </a:lnTo>
                  <a:lnTo>
                    <a:pt x="71" y="344"/>
                  </a:lnTo>
                  <a:lnTo>
                    <a:pt x="70" y="349"/>
                  </a:lnTo>
                  <a:lnTo>
                    <a:pt x="70" y="355"/>
                  </a:lnTo>
                  <a:lnTo>
                    <a:pt x="65" y="366"/>
                  </a:lnTo>
                  <a:lnTo>
                    <a:pt x="62" y="374"/>
                  </a:lnTo>
                  <a:lnTo>
                    <a:pt x="61" y="373"/>
                  </a:lnTo>
                  <a:lnTo>
                    <a:pt x="58" y="371"/>
                  </a:lnTo>
                  <a:lnTo>
                    <a:pt x="55" y="372"/>
                  </a:lnTo>
                  <a:lnTo>
                    <a:pt x="47" y="371"/>
                  </a:lnTo>
                  <a:lnTo>
                    <a:pt x="47" y="375"/>
                  </a:lnTo>
                  <a:lnTo>
                    <a:pt x="45" y="374"/>
                  </a:lnTo>
                  <a:lnTo>
                    <a:pt x="42" y="377"/>
                  </a:lnTo>
                  <a:lnTo>
                    <a:pt x="41" y="382"/>
                  </a:lnTo>
                  <a:lnTo>
                    <a:pt x="42" y="386"/>
                  </a:lnTo>
                  <a:lnTo>
                    <a:pt x="40" y="389"/>
                  </a:lnTo>
                  <a:lnTo>
                    <a:pt x="38" y="388"/>
                  </a:lnTo>
                  <a:lnTo>
                    <a:pt x="36" y="388"/>
                  </a:lnTo>
                  <a:lnTo>
                    <a:pt x="30" y="390"/>
                  </a:lnTo>
                  <a:lnTo>
                    <a:pt x="23" y="389"/>
                  </a:lnTo>
                  <a:lnTo>
                    <a:pt x="23" y="388"/>
                  </a:lnTo>
                  <a:lnTo>
                    <a:pt x="24" y="387"/>
                  </a:lnTo>
                  <a:lnTo>
                    <a:pt x="24" y="385"/>
                  </a:lnTo>
                  <a:lnTo>
                    <a:pt x="26" y="382"/>
                  </a:lnTo>
                  <a:lnTo>
                    <a:pt x="22" y="377"/>
                  </a:lnTo>
                  <a:lnTo>
                    <a:pt x="19" y="371"/>
                  </a:lnTo>
                  <a:lnTo>
                    <a:pt x="18" y="369"/>
                  </a:lnTo>
                  <a:lnTo>
                    <a:pt x="21" y="368"/>
                  </a:lnTo>
                  <a:lnTo>
                    <a:pt x="21" y="364"/>
                  </a:lnTo>
                  <a:lnTo>
                    <a:pt x="23" y="365"/>
                  </a:lnTo>
                  <a:lnTo>
                    <a:pt x="24" y="362"/>
                  </a:lnTo>
                  <a:lnTo>
                    <a:pt x="23" y="360"/>
                  </a:lnTo>
                  <a:lnTo>
                    <a:pt x="21" y="360"/>
                  </a:lnTo>
                  <a:lnTo>
                    <a:pt x="20" y="356"/>
                  </a:lnTo>
                  <a:lnTo>
                    <a:pt x="17" y="354"/>
                  </a:lnTo>
                  <a:lnTo>
                    <a:pt x="13" y="343"/>
                  </a:lnTo>
                  <a:lnTo>
                    <a:pt x="11" y="343"/>
                  </a:lnTo>
                  <a:lnTo>
                    <a:pt x="11" y="338"/>
                  </a:lnTo>
                  <a:lnTo>
                    <a:pt x="9" y="334"/>
                  </a:lnTo>
                  <a:lnTo>
                    <a:pt x="8" y="331"/>
                  </a:lnTo>
                  <a:lnTo>
                    <a:pt x="9" y="326"/>
                  </a:lnTo>
                  <a:lnTo>
                    <a:pt x="10" y="322"/>
                  </a:lnTo>
                  <a:lnTo>
                    <a:pt x="8" y="320"/>
                  </a:lnTo>
                  <a:lnTo>
                    <a:pt x="5" y="321"/>
                  </a:lnTo>
                  <a:lnTo>
                    <a:pt x="5" y="318"/>
                  </a:lnTo>
                  <a:lnTo>
                    <a:pt x="2" y="319"/>
                  </a:lnTo>
                  <a:lnTo>
                    <a:pt x="2" y="305"/>
                  </a:lnTo>
                  <a:lnTo>
                    <a:pt x="0" y="303"/>
                  </a:lnTo>
                  <a:lnTo>
                    <a:pt x="2" y="299"/>
                  </a:lnTo>
                  <a:lnTo>
                    <a:pt x="4" y="301"/>
                  </a:lnTo>
                  <a:lnTo>
                    <a:pt x="5" y="305"/>
                  </a:lnTo>
                  <a:lnTo>
                    <a:pt x="7" y="305"/>
                  </a:lnTo>
                  <a:lnTo>
                    <a:pt x="9" y="296"/>
                  </a:lnTo>
                  <a:lnTo>
                    <a:pt x="8" y="287"/>
                  </a:lnTo>
                  <a:lnTo>
                    <a:pt x="11" y="284"/>
                  </a:lnTo>
                  <a:lnTo>
                    <a:pt x="11" y="279"/>
                  </a:lnTo>
                  <a:lnTo>
                    <a:pt x="14" y="279"/>
                  </a:lnTo>
                  <a:lnTo>
                    <a:pt x="18" y="275"/>
                  </a:lnTo>
                  <a:lnTo>
                    <a:pt x="18" y="268"/>
                  </a:lnTo>
                  <a:lnTo>
                    <a:pt x="20" y="264"/>
                  </a:lnTo>
                  <a:lnTo>
                    <a:pt x="18" y="259"/>
                  </a:lnTo>
                  <a:lnTo>
                    <a:pt x="15" y="250"/>
                  </a:lnTo>
                  <a:lnTo>
                    <a:pt x="20" y="248"/>
                  </a:lnTo>
                  <a:lnTo>
                    <a:pt x="23" y="240"/>
                  </a:lnTo>
                  <a:lnTo>
                    <a:pt x="21" y="237"/>
                  </a:lnTo>
                  <a:lnTo>
                    <a:pt x="17" y="235"/>
                  </a:lnTo>
                  <a:lnTo>
                    <a:pt x="14" y="230"/>
                  </a:lnTo>
                  <a:lnTo>
                    <a:pt x="15" y="215"/>
                  </a:lnTo>
                  <a:lnTo>
                    <a:pt x="12" y="206"/>
                  </a:lnTo>
                  <a:lnTo>
                    <a:pt x="14" y="192"/>
                  </a:lnTo>
                  <a:lnTo>
                    <a:pt x="14" y="183"/>
                  </a:lnTo>
                  <a:lnTo>
                    <a:pt x="17" y="177"/>
                  </a:lnTo>
                  <a:lnTo>
                    <a:pt x="20" y="170"/>
                  </a:lnTo>
                  <a:lnTo>
                    <a:pt x="24" y="167"/>
                  </a:lnTo>
                  <a:lnTo>
                    <a:pt x="27" y="165"/>
                  </a:lnTo>
                  <a:lnTo>
                    <a:pt x="33" y="166"/>
                  </a:lnTo>
                  <a:lnTo>
                    <a:pt x="37" y="165"/>
                  </a:lnTo>
                  <a:lnTo>
                    <a:pt x="40" y="163"/>
                  </a:lnTo>
                  <a:lnTo>
                    <a:pt x="41" y="161"/>
                  </a:lnTo>
                  <a:lnTo>
                    <a:pt x="39" y="153"/>
                  </a:lnTo>
                  <a:lnTo>
                    <a:pt x="37" y="149"/>
                  </a:lnTo>
                  <a:lnTo>
                    <a:pt x="35" y="147"/>
                  </a:lnTo>
                  <a:lnTo>
                    <a:pt x="38" y="140"/>
                  </a:lnTo>
                  <a:lnTo>
                    <a:pt x="41" y="133"/>
                  </a:lnTo>
                  <a:lnTo>
                    <a:pt x="44" y="126"/>
                  </a:lnTo>
                  <a:lnTo>
                    <a:pt x="45" y="118"/>
                  </a:lnTo>
                  <a:lnTo>
                    <a:pt x="46" y="104"/>
                  </a:lnTo>
                  <a:lnTo>
                    <a:pt x="47" y="101"/>
                  </a:lnTo>
                  <a:lnTo>
                    <a:pt x="52" y="100"/>
                  </a:lnTo>
                  <a:lnTo>
                    <a:pt x="56" y="94"/>
                  </a:lnTo>
                  <a:lnTo>
                    <a:pt x="64" y="80"/>
                  </a:lnTo>
                  <a:lnTo>
                    <a:pt x="68" y="75"/>
                  </a:lnTo>
                  <a:lnTo>
                    <a:pt x="69" y="70"/>
                  </a:lnTo>
                  <a:lnTo>
                    <a:pt x="68" y="62"/>
                  </a:lnTo>
                  <a:lnTo>
                    <a:pt x="68" y="59"/>
                  </a:lnTo>
                  <a:lnTo>
                    <a:pt x="76" y="41"/>
                  </a:lnTo>
                  <a:lnTo>
                    <a:pt x="79" y="38"/>
                  </a:lnTo>
                  <a:lnTo>
                    <a:pt x="81" y="38"/>
                  </a:lnTo>
                  <a:lnTo>
                    <a:pt x="86" y="40"/>
                  </a:lnTo>
                  <a:lnTo>
                    <a:pt x="90" y="40"/>
                  </a:lnTo>
                  <a:lnTo>
                    <a:pt x="92" y="35"/>
                  </a:lnTo>
                  <a:lnTo>
                    <a:pt x="92" y="32"/>
                  </a:lnTo>
                  <a:lnTo>
                    <a:pt x="92" y="21"/>
                  </a:lnTo>
                  <a:lnTo>
                    <a:pt x="93" y="18"/>
                  </a:lnTo>
                  <a:lnTo>
                    <a:pt x="104" y="25"/>
                  </a:lnTo>
                  <a:lnTo>
                    <a:pt x="109" y="27"/>
                  </a:lnTo>
                  <a:lnTo>
                    <a:pt x="113" y="29"/>
                  </a:lnTo>
                  <a:lnTo>
                    <a:pt x="115" y="29"/>
                  </a:lnTo>
                  <a:lnTo>
                    <a:pt x="117" y="25"/>
                  </a:lnTo>
                  <a:lnTo>
                    <a:pt x="118" y="18"/>
                  </a:lnTo>
                  <a:lnTo>
                    <a:pt x="119" y="1"/>
                  </a:lnTo>
                  <a:lnTo>
                    <a:pt x="125" y="0"/>
                  </a:lnTo>
                  <a:lnTo>
                    <a:pt x="127" y="1"/>
                  </a:lnTo>
                  <a:lnTo>
                    <a:pt x="128" y="2"/>
                  </a:lnTo>
                  <a:lnTo>
                    <a:pt x="128" y="2"/>
                  </a:lnTo>
                  <a:lnTo>
                    <a:pt x="132" y="10"/>
                  </a:lnTo>
                  <a:lnTo>
                    <a:pt x="140" y="21"/>
                  </a:lnTo>
                  <a:lnTo>
                    <a:pt x="146" y="25"/>
                  </a:lnTo>
                  <a:lnTo>
                    <a:pt x="155" y="29"/>
                  </a:lnTo>
                  <a:lnTo>
                    <a:pt x="158" y="32"/>
                  </a:lnTo>
                  <a:lnTo>
                    <a:pt x="163" y="41"/>
                  </a:lnTo>
                  <a:lnTo>
                    <a:pt x="162" y="47"/>
                  </a:lnTo>
                  <a:lnTo>
                    <a:pt x="162" y="55"/>
                  </a:lnTo>
                  <a:lnTo>
                    <a:pt x="165" y="65"/>
                  </a:lnTo>
                  <a:lnTo>
                    <a:pt x="168" y="75"/>
                  </a:lnTo>
                  <a:lnTo>
                    <a:pt x="168" y="81"/>
                  </a:lnTo>
                  <a:lnTo>
                    <a:pt x="165" y="93"/>
                  </a:lnTo>
                  <a:lnTo>
                    <a:pt x="166" y="101"/>
                  </a:lnTo>
                  <a:lnTo>
                    <a:pt x="168" y="105"/>
                  </a:lnTo>
                  <a:lnTo>
                    <a:pt x="169" y="10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1" name="Freeform 43">
              <a:extLst>
                <a:ext uri="{FF2B5EF4-FFF2-40B4-BE49-F238E27FC236}">
                  <a16:creationId xmlns:a16="http://schemas.microsoft.com/office/drawing/2014/main" id="{0376E230-1652-8ACB-9CD3-236F65047F83}"/>
                </a:ext>
              </a:extLst>
            </p:cNvPr>
            <p:cNvSpPr>
              <a:spLocks/>
            </p:cNvSpPr>
            <p:nvPr/>
          </p:nvSpPr>
          <p:spPr bwMode="auto">
            <a:xfrm>
              <a:off x="5011321" y="4440238"/>
              <a:ext cx="250825" cy="203200"/>
            </a:xfrm>
            <a:custGeom>
              <a:avLst/>
              <a:gdLst/>
              <a:ahLst/>
              <a:cxnLst>
                <a:cxn ang="0">
                  <a:pos x="145" y="17"/>
                </a:cxn>
                <a:cxn ang="0">
                  <a:pos x="149" y="20"/>
                </a:cxn>
                <a:cxn ang="0">
                  <a:pos x="150" y="32"/>
                </a:cxn>
                <a:cxn ang="0">
                  <a:pos x="151" y="45"/>
                </a:cxn>
                <a:cxn ang="0">
                  <a:pos x="157" y="53"/>
                </a:cxn>
                <a:cxn ang="0">
                  <a:pos x="156" y="61"/>
                </a:cxn>
                <a:cxn ang="0">
                  <a:pos x="141" y="61"/>
                </a:cxn>
                <a:cxn ang="0">
                  <a:pos x="133" y="65"/>
                </a:cxn>
                <a:cxn ang="0">
                  <a:pos x="124" y="67"/>
                </a:cxn>
                <a:cxn ang="0">
                  <a:pos x="122" y="69"/>
                </a:cxn>
                <a:cxn ang="0">
                  <a:pos x="124" y="76"/>
                </a:cxn>
                <a:cxn ang="0">
                  <a:pos x="114" y="83"/>
                </a:cxn>
                <a:cxn ang="0">
                  <a:pos x="105" y="89"/>
                </a:cxn>
                <a:cxn ang="0">
                  <a:pos x="99" y="93"/>
                </a:cxn>
                <a:cxn ang="0">
                  <a:pos x="89" y="95"/>
                </a:cxn>
                <a:cxn ang="0">
                  <a:pos x="85" y="100"/>
                </a:cxn>
                <a:cxn ang="0">
                  <a:pos x="72" y="103"/>
                </a:cxn>
                <a:cxn ang="0">
                  <a:pos x="60" y="112"/>
                </a:cxn>
                <a:cxn ang="0">
                  <a:pos x="59" y="128"/>
                </a:cxn>
                <a:cxn ang="0">
                  <a:pos x="40" y="128"/>
                </a:cxn>
                <a:cxn ang="0">
                  <a:pos x="10" y="128"/>
                </a:cxn>
                <a:cxn ang="0">
                  <a:pos x="1" y="126"/>
                </a:cxn>
                <a:cxn ang="0">
                  <a:pos x="6" y="123"/>
                </a:cxn>
                <a:cxn ang="0">
                  <a:pos x="21" y="118"/>
                </a:cxn>
                <a:cxn ang="0">
                  <a:pos x="30" y="110"/>
                </a:cxn>
                <a:cxn ang="0">
                  <a:pos x="43" y="97"/>
                </a:cxn>
                <a:cxn ang="0">
                  <a:pos x="46" y="89"/>
                </a:cxn>
                <a:cxn ang="0">
                  <a:pos x="43" y="80"/>
                </a:cxn>
                <a:cxn ang="0">
                  <a:pos x="43" y="72"/>
                </a:cxn>
                <a:cxn ang="0">
                  <a:pos x="50" y="62"/>
                </a:cxn>
                <a:cxn ang="0">
                  <a:pos x="51" y="54"/>
                </a:cxn>
                <a:cxn ang="0">
                  <a:pos x="59" y="44"/>
                </a:cxn>
                <a:cxn ang="0">
                  <a:pos x="69" y="38"/>
                </a:cxn>
                <a:cxn ang="0">
                  <a:pos x="80" y="32"/>
                </a:cxn>
                <a:cxn ang="0">
                  <a:pos x="87" y="23"/>
                </a:cxn>
                <a:cxn ang="0">
                  <a:pos x="94" y="2"/>
                </a:cxn>
                <a:cxn ang="0">
                  <a:pos x="99" y="0"/>
                </a:cxn>
                <a:cxn ang="0">
                  <a:pos x="104" y="7"/>
                </a:cxn>
                <a:cxn ang="0">
                  <a:pos x="112" y="11"/>
                </a:cxn>
                <a:cxn ang="0">
                  <a:pos x="119" y="12"/>
                </a:cxn>
                <a:cxn ang="0">
                  <a:pos x="130" y="9"/>
                </a:cxn>
                <a:cxn ang="0">
                  <a:pos x="135" y="12"/>
                </a:cxn>
                <a:cxn ang="0">
                  <a:pos x="141" y="13"/>
                </a:cxn>
              </a:cxnLst>
              <a:rect l="0" t="0" r="r" b="b"/>
              <a:pathLst>
                <a:path w="158" h="128">
                  <a:moveTo>
                    <a:pt x="143" y="13"/>
                  </a:moveTo>
                  <a:lnTo>
                    <a:pt x="145" y="17"/>
                  </a:lnTo>
                  <a:lnTo>
                    <a:pt x="148" y="19"/>
                  </a:lnTo>
                  <a:lnTo>
                    <a:pt x="149" y="20"/>
                  </a:lnTo>
                  <a:lnTo>
                    <a:pt x="150" y="27"/>
                  </a:lnTo>
                  <a:lnTo>
                    <a:pt x="150" y="32"/>
                  </a:lnTo>
                  <a:lnTo>
                    <a:pt x="150" y="41"/>
                  </a:lnTo>
                  <a:lnTo>
                    <a:pt x="151" y="45"/>
                  </a:lnTo>
                  <a:lnTo>
                    <a:pt x="154" y="50"/>
                  </a:lnTo>
                  <a:lnTo>
                    <a:pt x="157" y="53"/>
                  </a:lnTo>
                  <a:lnTo>
                    <a:pt x="158" y="54"/>
                  </a:lnTo>
                  <a:lnTo>
                    <a:pt x="156" y="61"/>
                  </a:lnTo>
                  <a:lnTo>
                    <a:pt x="145" y="61"/>
                  </a:lnTo>
                  <a:lnTo>
                    <a:pt x="141" y="61"/>
                  </a:lnTo>
                  <a:lnTo>
                    <a:pt x="135" y="61"/>
                  </a:lnTo>
                  <a:lnTo>
                    <a:pt x="133" y="65"/>
                  </a:lnTo>
                  <a:lnTo>
                    <a:pt x="131" y="66"/>
                  </a:lnTo>
                  <a:lnTo>
                    <a:pt x="124" y="67"/>
                  </a:lnTo>
                  <a:lnTo>
                    <a:pt x="123" y="68"/>
                  </a:lnTo>
                  <a:lnTo>
                    <a:pt x="122" y="69"/>
                  </a:lnTo>
                  <a:lnTo>
                    <a:pt x="122" y="72"/>
                  </a:lnTo>
                  <a:lnTo>
                    <a:pt x="124" y="76"/>
                  </a:lnTo>
                  <a:lnTo>
                    <a:pt x="123" y="78"/>
                  </a:lnTo>
                  <a:lnTo>
                    <a:pt x="114" y="83"/>
                  </a:lnTo>
                  <a:lnTo>
                    <a:pt x="108" y="85"/>
                  </a:lnTo>
                  <a:lnTo>
                    <a:pt x="105" y="89"/>
                  </a:lnTo>
                  <a:lnTo>
                    <a:pt x="102" y="92"/>
                  </a:lnTo>
                  <a:lnTo>
                    <a:pt x="99" y="93"/>
                  </a:lnTo>
                  <a:lnTo>
                    <a:pt x="94" y="95"/>
                  </a:lnTo>
                  <a:lnTo>
                    <a:pt x="89" y="95"/>
                  </a:lnTo>
                  <a:lnTo>
                    <a:pt x="88" y="99"/>
                  </a:lnTo>
                  <a:lnTo>
                    <a:pt x="85" y="100"/>
                  </a:lnTo>
                  <a:lnTo>
                    <a:pt x="78" y="99"/>
                  </a:lnTo>
                  <a:lnTo>
                    <a:pt x="72" y="103"/>
                  </a:lnTo>
                  <a:lnTo>
                    <a:pt x="64" y="110"/>
                  </a:lnTo>
                  <a:lnTo>
                    <a:pt x="60" y="112"/>
                  </a:lnTo>
                  <a:lnTo>
                    <a:pt x="59" y="114"/>
                  </a:lnTo>
                  <a:lnTo>
                    <a:pt x="59" y="128"/>
                  </a:lnTo>
                  <a:lnTo>
                    <a:pt x="51" y="128"/>
                  </a:lnTo>
                  <a:lnTo>
                    <a:pt x="40" y="128"/>
                  </a:lnTo>
                  <a:lnTo>
                    <a:pt x="25" y="128"/>
                  </a:lnTo>
                  <a:lnTo>
                    <a:pt x="10" y="128"/>
                  </a:lnTo>
                  <a:lnTo>
                    <a:pt x="0" y="128"/>
                  </a:lnTo>
                  <a:lnTo>
                    <a:pt x="1" y="126"/>
                  </a:lnTo>
                  <a:lnTo>
                    <a:pt x="4" y="123"/>
                  </a:lnTo>
                  <a:lnTo>
                    <a:pt x="6" y="123"/>
                  </a:lnTo>
                  <a:lnTo>
                    <a:pt x="14" y="121"/>
                  </a:lnTo>
                  <a:lnTo>
                    <a:pt x="21" y="118"/>
                  </a:lnTo>
                  <a:lnTo>
                    <a:pt x="23" y="116"/>
                  </a:lnTo>
                  <a:lnTo>
                    <a:pt x="30" y="110"/>
                  </a:lnTo>
                  <a:lnTo>
                    <a:pt x="37" y="104"/>
                  </a:lnTo>
                  <a:lnTo>
                    <a:pt x="43" y="97"/>
                  </a:lnTo>
                  <a:lnTo>
                    <a:pt x="46" y="92"/>
                  </a:lnTo>
                  <a:lnTo>
                    <a:pt x="46" y="89"/>
                  </a:lnTo>
                  <a:lnTo>
                    <a:pt x="46" y="85"/>
                  </a:lnTo>
                  <a:lnTo>
                    <a:pt x="43" y="80"/>
                  </a:lnTo>
                  <a:lnTo>
                    <a:pt x="43" y="75"/>
                  </a:lnTo>
                  <a:lnTo>
                    <a:pt x="43" y="72"/>
                  </a:lnTo>
                  <a:lnTo>
                    <a:pt x="46" y="68"/>
                  </a:lnTo>
                  <a:lnTo>
                    <a:pt x="50" y="62"/>
                  </a:lnTo>
                  <a:lnTo>
                    <a:pt x="51" y="57"/>
                  </a:lnTo>
                  <a:lnTo>
                    <a:pt x="51" y="54"/>
                  </a:lnTo>
                  <a:lnTo>
                    <a:pt x="51" y="52"/>
                  </a:lnTo>
                  <a:lnTo>
                    <a:pt x="59" y="44"/>
                  </a:lnTo>
                  <a:lnTo>
                    <a:pt x="63" y="40"/>
                  </a:lnTo>
                  <a:lnTo>
                    <a:pt x="69" y="38"/>
                  </a:lnTo>
                  <a:lnTo>
                    <a:pt x="76" y="35"/>
                  </a:lnTo>
                  <a:lnTo>
                    <a:pt x="80" y="32"/>
                  </a:lnTo>
                  <a:lnTo>
                    <a:pt x="84" y="28"/>
                  </a:lnTo>
                  <a:lnTo>
                    <a:pt x="87" y="23"/>
                  </a:lnTo>
                  <a:lnTo>
                    <a:pt x="90" y="16"/>
                  </a:lnTo>
                  <a:lnTo>
                    <a:pt x="94" y="2"/>
                  </a:lnTo>
                  <a:lnTo>
                    <a:pt x="96" y="1"/>
                  </a:lnTo>
                  <a:lnTo>
                    <a:pt x="99" y="0"/>
                  </a:lnTo>
                  <a:lnTo>
                    <a:pt x="100" y="1"/>
                  </a:lnTo>
                  <a:lnTo>
                    <a:pt x="104" y="7"/>
                  </a:lnTo>
                  <a:lnTo>
                    <a:pt x="105" y="8"/>
                  </a:lnTo>
                  <a:lnTo>
                    <a:pt x="112" y="11"/>
                  </a:lnTo>
                  <a:lnTo>
                    <a:pt x="116" y="11"/>
                  </a:lnTo>
                  <a:lnTo>
                    <a:pt x="119" y="12"/>
                  </a:lnTo>
                  <a:lnTo>
                    <a:pt x="127" y="11"/>
                  </a:lnTo>
                  <a:lnTo>
                    <a:pt x="130" y="9"/>
                  </a:lnTo>
                  <a:lnTo>
                    <a:pt x="133" y="8"/>
                  </a:lnTo>
                  <a:lnTo>
                    <a:pt x="135" y="12"/>
                  </a:lnTo>
                  <a:lnTo>
                    <a:pt x="136" y="12"/>
                  </a:lnTo>
                  <a:lnTo>
                    <a:pt x="141" y="13"/>
                  </a:lnTo>
                  <a:lnTo>
                    <a:pt x="143" y="1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2" name="Freeform 44">
              <a:extLst>
                <a:ext uri="{FF2B5EF4-FFF2-40B4-BE49-F238E27FC236}">
                  <a16:creationId xmlns:a16="http://schemas.microsoft.com/office/drawing/2014/main" id="{C31C4CF0-8D8D-4353-804B-9B51FF7A713F}"/>
                </a:ext>
              </a:extLst>
            </p:cNvPr>
            <p:cNvSpPr>
              <a:spLocks noEditPoints="1"/>
            </p:cNvSpPr>
            <p:nvPr/>
          </p:nvSpPr>
          <p:spPr bwMode="auto">
            <a:xfrm>
              <a:off x="5406609" y="3868738"/>
              <a:ext cx="188913" cy="252413"/>
            </a:xfrm>
            <a:custGeom>
              <a:avLst/>
              <a:gdLst/>
              <a:ahLst/>
              <a:cxnLst>
                <a:cxn ang="0">
                  <a:pos x="21" y="142"/>
                </a:cxn>
                <a:cxn ang="0">
                  <a:pos x="26" y="125"/>
                </a:cxn>
                <a:cxn ang="0">
                  <a:pos x="18" y="123"/>
                </a:cxn>
                <a:cxn ang="0">
                  <a:pos x="7" y="117"/>
                </a:cxn>
                <a:cxn ang="0">
                  <a:pos x="3" y="106"/>
                </a:cxn>
                <a:cxn ang="0">
                  <a:pos x="1" y="91"/>
                </a:cxn>
                <a:cxn ang="0">
                  <a:pos x="2" y="84"/>
                </a:cxn>
                <a:cxn ang="0">
                  <a:pos x="3" y="74"/>
                </a:cxn>
                <a:cxn ang="0">
                  <a:pos x="4" y="67"/>
                </a:cxn>
                <a:cxn ang="0">
                  <a:pos x="15" y="60"/>
                </a:cxn>
                <a:cxn ang="0">
                  <a:pos x="11" y="53"/>
                </a:cxn>
                <a:cxn ang="0">
                  <a:pos x="16" y="39"/>
                </a:cxn>
                <a:cxn ang="0">
                  <a:pos x="19" y="30"/>
                </a:cxn>
                <a:cxn ang="0">
                  <a:pos x="28" y="35"/>
                </a:cxn>
                <a:cxn ang="0">
                  <a:pos x="31" y="32"/>
                </a:cxn>
                <a:cxn ang="0">
                  <a:pos x="42" y="26"/>
                </a:cxn>
                <a:cxn ang="0">
                  <a:pos x="37" y="18"/>
                </a:cxn>
                <a:cxn ang="0">
                  <a:pos x="39" y="14"/>
                </a:cxn>
                <a:cxn ang="0">
                  <a:pos x="36" y="1"/>
                </a:cxn>
                <a:cxn ang="0">
                  <a:pos x="53" y="10"/>
                </a:cxn>
                <a:cxn ang="0">
                  <a:pos x="58" y="13"/>
                </a:cxn>
                <a:cxn ang="0">
                  <a:pos x="67" y="18"/>
                </a:cxn>
                <a:cxn ang="0">
                  <a:pos x="69" y="24"/>
                </a:cxn>
                <a:cxn ang="0">
                  <a:pos x="88" y="14"/>
                </a:cxn>
                <a:cxn ang="0">
                  <a:pos x="97" y="20"/>
                </a:cxn>
                <a:cxn ang="0">
                  <a:pos x="103" y="26"/>
                </a:cxn>
                <a:cxn ang="0">
                  <a:pos x="109" y="29"/>
                </a:cxn>
                <a:cxn ang="0">
                  <a:pos x="110" y="48"/>
                </a:cxn>
                <a:cxn ang="0">
                  <a:pos x="115" y="62"/>
                </a:cxn>
                <a:cxn ang="0">
                  <a:pos x="115" y="72"/>
                </a:cxn>
                <a:cxn ang="0">
                  <a:pos x="116" y="88"/>
                </a:cxn>
                <a:cxn ang="0">
                  <a:pos x="111" y="86"/>
                </a:cxn>
                <a:cxn ang="0">
                  <a:pos x="100" y="90"/>
                </a:cxn>
                <a:cxn ang="0">
                  <a:pos x="93" y="95"/>
                </a:cxn>
                <a:cxn ang="0">
                  <a:pos x="84" y="99"/>
                </a:cxn>
                <a:cxn ang="0">
                  <a:pos x="86" y="108"/>
                </a:cxn>
                <a:cxn ang="0">
                  <a:pos x="91" y="119"/>
                </a:cxn>
                <a:cxn ang="0">
                  <a:pos x="100" y="125"/>
                </a:cxn>
                <a:cxn ang="0">
                  <a:pos x="99" y="134"/>
                </a:cxn>
                <a:cxn ang="0">
                  <a:pos x="89" y="143"/>
                </a:cxn>
                <a:cxn ang="0">
                  <a:pos x="93" y="155"/>
                </a:cxn>
                <a:cxn ang="0">
                  <a:pos x="85" y="152"/>
                </a:cxn>
                <a:cxn ang="0">
                  <a:pos x="73" y="155"/>
                </a:cxn>
                <a:cxn ang="0">
                  <a:pos x="65" y="156"/>
                </a:cxn>
                <a:cxn ang="0">
                  <a:pos x="59" y="156"/>
                </a:cxn>
                <a:cxn ang="0">
                  <a:pos x="54" y="156"/>
                </a:cxn>
                <a:cxn ang="0">
                  <a:pos x="49" y="155"/>
                </a:cxn>
                <a:cxn ang="0">
                  <a:pos x="36" y="151"/>
                </a:cxn>
                <a:cxn ang="0">
                  <a:pos x="29" y="153"/>
                </a:cxn>
                <a:cxn ang="0">
                  <a:pos x="108" y="25"/>
                </a:cxn>
                <a:cxn ang="0">
                  <a:pos x="103" y="20"/>
                </a:cxn>
              </a:cxnLst>
              <a:rect l="0" t="0" r="r" b="b"/>
              <a:pathLst>
                <a:path w="119" h="159">
                  <a:moveTo>
                    <a:pt x="21" y="153"/>
                  </a:moveTo>
                  <a:lnTo>
                    <a:pt x="20" y="152"/>
                  </a:lnTo>
                  <a:lnTo>
                    <a:pt x="21" y="145"/>
                  </a:lnTo>
                  <a:lnTo>
                    <a:pt x="21" y="145"/>
                  </a:lnTo>
                  <a:lnTo>
                    <a:pt x="21" y="142"/>
                  </a:lnTo>
                  <a:lnTo>
                    <a:pt x="23" y="139"/>
                  </a:lnTo>
                  <a:lnTo>
                    <a:pt x="24" y="135"/>
                  </a:lnTo>
                  <a:lnTo>
                    <a:pt x="24" y="134"/>
                  </a:lnTo>
                  <a:lnTo>
                    <a:pt x="30" y="126"/>
                  </a:lnTo>
                  <a:lnTo>
                    <a:pt x="26" y="125"/>
                  </a:lnTo>
                  <a:lnTo>
                    <a:pt x="23" y="125"/>
                  </a:lnTo>
                  <a:lnTo>
                    <a:pt x="21" y="124"/>
                  </a:lnTo>
                  <a:lnTo>
                    <a:pt x="20" y="122"/>
                  </a:lnTo>
                  <a:lnTo>
                    <a:pt x="18" y="122"/>
                  </a:lnTo>
                  <a:lnTo>
                    <a:pt x="18" y="123"/>
                  </a:lnTo>
                  <a:lnTo>
                    <a:pt x="14" y="123"/>
                  </a:lnTo>
                  <a:lnTo>
                    <a:pt x="14" y="122"/>
                  </a:lnTo>
                  <a:lnTo>
                    <a:pt x="12" y="123"/>
                  </a:lnTo>
                  <a:lnTo>
                    <a:pt x="9" y="120"/>
                  </a:lnTo>
                  <a:lnTo>
                    <a:pt x="7" y="117"/>
                  </a:lnTo>
                  <a:lnTo>
                    <a:pt x="6" y="114"/>
                  </a:lnTo>
                  <a:lnTo>
                    <a:pt x="8" y="113"/>
                  </a:lnTo>
                  <a:lnTo>
                    <a:pt x="8" y="110"/>
                  </a:lnTo>
                  <a:lnTo>
                    <a:pt x="6" y="109"/>
                  </a:lnTo>
                  <a:lnTo>
                    <a:pt x="3" y="106"/>
                  </a:lnTo>
                  <a:lnTo>
                    <a:pt x="3" y="104"/>
                  </a:lnTo>
                  <a:lnTo>
                    <a:pt x="5" y="100"/>
                  </a:lnTo>
                  <a:lnTo>
                    <a:pt x="5" y="96"/>
                  </a:lnTo>
                  <a:lnTo>
                    <a:pt x="3" y="92"/>
                  </a:lnTo>
                  <a:lnTo>
                    <a:pt x="1" y="91"/>
                  </a:lnTo>
                  <a:lnTo>
                    <a:pt x="2" y="88"/>
                  </a:lnTo>
                  <a:lnTo>
                    <a:pt x="1" y="86"/>
                  </a:lnTo>
                  <a:lnTo>
                    <a:pt x="0" y="86"/>
                  </a:lnTo>
                  <a:lnTo>
                    <a:pt x="1" y="85"/>
                  </a:lnTo>
                  <a:lnTo>
                    <a:pt x="2" y="84"/>
                  </a:lnTo>
                  <a:lnTo>
                    <a:pt x="4" y="82"/>
                  </a:lnTo>
                  <a:lnTo>
                    <a:pt x="3" y="81"/>
                  </a:lnTo>
                  <a:lnTo>
                    <a:pt x="4" y="79"/>
                  </a:lnTo>
                  <a:lnTo>
                    <a:pt x="4" y="77"/>
                  </a:lnTo>
                  <a:lnTo>
                    <a:pt x="3" y="74"/>
                  </a:lnTo>
                  <a:lnTo>
                    <a:pt x="3" y="72"/>
                  </a:lnTo>
                  <a:lnTo>
                    <a:pt x="1" y="70"/>
                  </a:lnTo>
                  <a:lnTo>
                    <a:pt x="1" y="69"/>
                  </a:lnTo>
                  <a:lnTo>
                    <a:pt x="3" y="68"/>
                  </a:lnTo>
                  <a:lnTo>
                    <a:pt x="4" y="67"/>
                  </a:lnTo>
                  <a:lnTo>
                    <a:pt x="6" y="68"/>
                  </a:lnTo>
                  <a:lnTo>
                    <a:pt x="10" y="67"/>
                  </a:lnTo>
                  <a:lnTo>
                    <a:pt x="12" y="65"/>
                  </a:lnTo>
                  <a:lnTo>
                    <a:pt x="13" y="62"/>
                  </a:lnTo>
                  <a:lnTo>
                    <a:pt x="15" y="60"/>
                  </a:lnTo>
                  <a:lnTo>
                    <a:pt x="15" y="57"/>
                  </a:lnTo>
                  <a:lnTo>
                    <a:pt x="14" y="55"/>
                  </a:lnTo>
                  <a:lnTo>
                    <a:pt x="13" y="56"/>
                  </a:lnTo>
                  <a:lnTo>
                    <a:pt x="10" y="54"/>
                  </a:lnTo>
                  <a:lnTo>
                    <a:pt x="11" y="53"/>
                  </a:lnTo>
                  <a:lnTo>
                    <a:pt x="12" y="51"/>
                  </a:lnTo>
                  <a:lnTo>
                    <a:pt x="15" y="51"/>
                  </a:lnTo>
                  <a:lnTo>
                    <a:pt x="15" y="47"/>
                  </a:lnTo>
                  <a:lnTo>
                    <a:pt x="17" y="44"/>
                  </a:lnTo>
                  <a:lnTo>
                    <a:pt x="16" y="39"/>
                  </a:lnTo>
                  <a:lnTo>
                    <a:pt x="17" y="38"/>
                  </a:lnTo>
                  <a:lnTo>
                    <a:pt x="14" y="36"/>
                  </a:lnTo>
                  <a:lnTo>
                    <a:pt x="15" y="32"/>
                  </a:lnTo>
                  <a:lnTo>
                    <a:pt x="16" y="30"/>
                  </a:lnTo>
                  <a:lnTo>
                    <a:pt x="19" y="30"/>
                  </a:lnTo>
                  <a:lnTo>
                    <a:pt x="25" y="29"/>
                  </a:lnTo>
                  <a:lnTo>
                    <a:pt x="27" y="29"/>
                  </a:lnTo>
                  <a:lnTo>
                    <a:pt x="28" y="30"/>
                  </a:lnTo>
                  <a:lnTo>
                    <a:pt x="29" y="33"/>
                  </a:lnTo>
                  <a:lnTo>
                    <a:pt x="28" y="35"/>
                  </a:lnTo>
                  <a:lnTo>
                    <a:pt x="30" y="36"/>
                  </a:lnTo>
                  <a:lnTo>
                    <a:pt x="31" y="35"/>
                  </a:lnTo>
                  <a:lnTo>
                    <a:pt x="31" y="33"/>
                  </a:lnTo>
                  <a:lnTo>
                    <a:pt x="30" y="31"/>
                  </a:lnTo>
                  <a:lnTo>
                    <a:pt x="31" y="32"/>
                  </a:lnTo>
                  <a:lnTo>
                    <a:pt x="34" y="33"/>
                  </a:lnTo>
                  <a:lnTo>
                    <a:pt x="33" y="30"/>
                  </a:lnTo>
                  <a:lnTo>
                    <a:pt x="34" y="25"/>
                  </a:lnTo>
                  <a:lnTo>
                    <a:pt x="39" y="26"/>
                  </a:lnTo>
                  <a:lnTo>
                    <a:pt x="42" y="26"/>
                  </a:lnTo>
                  <a:lnTo>
                    <a:pt x="39" y="24"/>
                  </a:lnTo>
                  <a:lnTo>
                    <a:pt x="38" y="21"/>
                  </a:lnTo>
                  <a:lnTo>
                    <a:pt x="40" y="21"/>
                  </a:lnTo>
                  <a:lnTo>
                    <a:pt x="38" y="20"/>
                  </a:lnTo>
                  <a:lnTo>
                    <a:pt x="37" y="18"/>
                  </a:lnTo>
                  <a:lnTo>
                    <a:pt x="39" y="17"/>
                  </a:lnTo>
                  <a:lnTo>
                    <a:pt x="39" y="16"/>
                  </a:lnTo>
                  <a:lnTo>
                    <a:pt x="35" y="17"/>
                  </a:lnTo>
                  <a:lnTo>
                    <a:pt x="34" y="15"/>
                  </a:lnTo>
                  <a:lnTo>
                    <a:pt x="39" y="14"/>
                  </a:lnTo>
                  <a:lnTo>
                    <a:pt x="40" y="12"/>
                  </a:lnTo>
                  <a:lnTo>
                    <a:pt x="37" y="7"/>
                  </a:lnTo>
                  <a:lnTo>
                    <a:pt x="35" y="4"/>
                  </a:lnTo>
                  <a:lnTo>
                    <a:pt x="36" y="1"/>
                  </a:lnTo>
                  <a:lnTo>
                    <a:pt x="36" y="1"/>
                  </a:lnTo>
                  <a:lnTo>
                    <a:pt x="47" y="0"/>
                  </a:lnTo>
                  <a:lnTo>
                    <a:pt x="48" y="1"/>
                  </a:lnTo>
                  <a:lnTo>
                    <a:pt x="52" y="5"/>
                  </a:lnTo>
                  <a:lnTo>
                    <a:pt x="53" y="8"/>
                  </a:lnTo>
                  <a:lnTo>
                    <a:pt x="53" y="10"/>
                  </a:lnTo>
                  <a:lnTo>
                    <a:pt x="52" y="12"/>
                  </a:lnTo>
                  <a:lnTo>
                    <a:pt x="54" y="11"/>
                  </a:lnTo>
                  <a:lnTo>
                    <a:pt x="55" y="14"/>
                  </a:lnTo>
                  <a:lnTo>
                    <a:pt x="56" y="12"/>
                  </a:lnTo>
                  <a:lnTo>
                    <a:pt x="58" y="13"/>
                  </a:lnTo>
                  <a:lnTo>
                    <a:pt x="59" y="14"/>
                  </a:lnTo>
                  <a:lnTo>
                    <a:pt x="62" y="15"/>
                  </a:lnTo>
                  <a:lnTo>
                    <a:pt x="67" y="14"/>
                  </a:lnTo>
                  <a:lnTo>
                    <a:pt x="67" y="16"/>
                  </a:lnTo>
                  <a:lnTo>
                    <a:pt x="67" y="18"/>
                  </a:lnTo>
                  <a:lnTo>
                    <a:pt x="67" y="19"/>
                  </a:lnTo>
                  <a:lnTo>
                    <a:pt x="63" y="22"/>
                  </a:lnTo>
                  <a:lnTo>
                    <a:pt x="65" y="24"/>
                  </a:lnTo>
                  <a:lnTo>
                    <a:pt x="69" y="22"/>
                  </a:lnTo>
                  <a:lnTo>
                    <a:pt x="69" y="24"/>
                  </a:lnTo>
                  <a:lnTo>
                    <a:pt x="72" y="24"/>
                  </a:lnTo>
                  <a:lnTo>
                    <a:pt x="74" y="20"/>
                  </a:lnTo>
                  <a:lnTo>
                    <a:pt x="80" y="19"/>
                  </a:lnTo>
                  <a:lnTo>
                    <a:pt x="84" y="17"/>
                  </a:lnTo>
                  <a:lnTo>
                    <a:pt x="88" y="14"/>
                  </a:lnTo>
                  <a:lnTo>
                    <a:pt x="90" y="15"/>
                  </a:lnTo>
                  <a:lnTo>
                    <a:pt x="92" y="13"/>
                  </a:lnTo>
                  <a:lnTo>
                    <a:pt x="93" y="15"/>
                  </a:lnTo>
                  <a:lnTo>
                    <a:pt x="94" y="17"/>
                  </a:lnTo>
                  <a:lnTo>
                    <a:pt x="97" y="20"/>
                  </a:lnTo>
                  <a:lnTo>
                    <a:pt x="98" y="20"/>
                  </a:lnTo>
                  <a:lnTo>
                    <a:pt x="102" y="19"/>
                  </a:lnTo>
                  <a:lnTo>
                    <a:pt x="102" y="20"/>
                  </a:lnTo>
                  <a:lnTo>
                    <a:pt x="103" y="24"/>
                  </a:lnTo>
                  <a:lnTo>
                    <a:pt x="103" y="26"/>
                  </a:lnTo>
                  <a:lnTo>
                    <a:pt x="104" y="27"/>
                  </a:lnTo>
                  <a:lnTo>
                    <a:pt x="106" y="28"/>
                  </a:lnTo>
                  <a:lnTo>
                    <a:pt x="108" y="28"/>
                  </a:lnTo>
                  <a:lnTo>
                    <a:pt x="108" y="29"/>
                  </a:lnTo>
                  <a:lnTo>
                    <a:pt x="109" y="29"/>
                  </a:lnTo>
                  <a:lnTo>
                    <a:pt x="111" y="38"/>
                  </a:lnTo>
                  <a:lnTo>
                    <a:pt x="110" y="43"/>
                  </a:lnTo>
                  <a:lnTo>
                    <a:pt x="108" y="44"/>
                  </a:lnTo>
                  <a:lnTo>
                    <a:pt x="108" y="47"/>
                  </a:lnTo>
                  <a:lnTo>
                    <a:pt x="110" y="48"/>
                  </a:lnTo>
                  <a:lnTo>
                    <a:pt x="114" y="53"/>
                  </a:lnTo>
                  <a:lnTo>
                    <a:pt x="112" y="56"/>
                  </a:lnTo>
                  <a:lnTo>
                    <a:pt x="113" y="58"/>
                  </a:lnTo>
                  <a:lnTo>
                    <a:pt x="115" y="60"/>
                  </a:lnTo>
                  <a:lnTo>
                    <a:pt x="115" y="62"/>
                  </a:lnTo>
                  <a:lnTo>
                    <a:pt x="115" y="63"/>
                  </a:lnTo>
                  <a:lnTo>
                    <a:pt x="115" y="66"/>
                  </a:lnTo>
                  <a:lnTo>
                    <a:pt x="114" y="68"/>
                  </a:lnTo>
                  <a:lnTo>
                    <a:pt x="114" y="69"/>
                  </a:lnTo>
                  <a:lnTo>
                    <a:pt x="115" y="72"/>
                  </a:lnTo>
                  <a:lnTo>
                    <a:pt x="115" y="74"/>
                  </a:lnTo>
                  <a:lnTo>
                    <a:pt x="117" y="76"/>
                  </a:lnTo>
                  <a:lnTo>
                    <a:pt x="119" y="81"/>
                  </a:lnTo>
                  <a:lnTo>
                    <a:pt x="117" y="87"/>
                  </a:lnTo>
                  <a:lnTo>
                    <a:pt x="116" y="88"/>
                  </a:lnTo>
                  <a:lnTo>
                    <a:pt x="114" y="87"/>
                  </a:lnTo>
                  <a:lnTo>
                    <a:pt x="114" y="85"/>
                  </a:lnTo>
                  <a:lnTo>
                    <a:pt x="112" y="84"/>
                  </a:lnTo>
                  <a:lnTo>
                    <a:pt x="109" y="84"/>
                  </a:lnTo>
                  <a:lnTo>
                    <a:pt x="111" y="86"/>
                  </a:lnTo>
                  <a:lnTo>
                    <a:pt x="109" y="87"/>
                  </a:lnTo>
                  <a:lnTo>
                    <a:pt x="108" y="88"/>
                  </a:lnTo>
                  <a:lnTo>
                    <a:pt x="105" y="89"/>
                  </a:lnTo>
                  <a:lnTo>
                    <a:pt x="104" y="90"/>
                  </a:lnTo>
                  <a:lnTo>
                    <a:pt x="100" y="90"/>
                  </a:lnTo>
                  <a:lnTo>
                    <a:pt x="99" y="92"/>
                  </a:lnTo>
                  <a:lnTo>
                    <a:pt x="98" y="92"/>
                  </a:lnTo>
                  <a:lnTo>
                    <a:pt x="96" y="92"/>
                  </a:lnTo>
                  <a:lnTo>
                    <a:pt x="95" y="95"/>
                  </a:lnTo>
                  <a:lnTo>
                    <a:pt x="93" y="95"/>
                  </a:lnTo>
                  <a:lnTo>
                    <a:pt x="93" y="96"/>
                  </a:lnTo>
                  <a:lnTo>
                    <a:pt x="90" y="96"/>
                  </a:lnTo>
                  <a:lnTo>
                    <a:pt x="87" y="98"/>
                  </a:lnTo>
                  <a:lnTo>
                    <a:pt x="86" y="98"/>
                  </a:lnTo>
                  <a:lnTo>
                    <a:pt x="84" y="99"/>
                  </a:lnTo>
                  <a:lnTo>
                    <a:pt x="83" y="101"/>
                  </a:lnTo>
                  <a:lnTo>
                    <a:pt x="83" y="102"/>
                  </a:lnTo>
                  <a:lnTo>
                    <a:pt x="84" y="105"/>
                  </a:lnTo>
                  <a:lnTo>
                    <a:pt x="87" y="106"/>
                  </a:lnTo>
                  <a:lnTo>
                    <a:pt x="86" y="108"/>
                  </a:lnTo>
                  <a:lnTo>
                    <a:pt x="85" y="112"/>
                  </a:lnTo>
                  <a:lnTo>
                    <a:pt x="87" y="113"/>
                  </a:lnTo>
                  <a:lnTo>
                    <a:pt x="87" y="115"/>
                  </a:lnTo>
                  <a:lnTo>
                    <a:pt x="88" y="116"/>
                  </a:lnTo>
                  <a:lnTo>
                    <a:pt x="91" y="119"/>
                  </a:lnTo>
                  <a:lnTo>
                    <a:pt x="92" y="118"/>
                  </a:lnTo>
                  <a:lnTo>
                    <a:pt x="95" y="123"/>
                  </a:lnTo>
                  <a:lnTo>
                    <a:pt x="98" y="124"/>
                  </a:lnTo>
                  <a:lnTo>
                    <a:pt x="99" y="126"/>
                  </a:lnTo>
                  <a:lnTo>
                    <a:pt x="100" y="125"/>
                  </a:lnTo>
                  <a:lnTo>
                    <a:pt x="101" y="127"/>
                  </a:lnTo>
                  <a:lnTo>
                    <a:pt x="102" y="127"/>
                  </a:lnTo>
                  <a:lnTo>
                    <a:pt x="105" y="133"/>
                  </a:lnTo>
                  <a:lnTo>
                    <a:pt x="101" y="135"/>
                  </a:lnTo>
                  <a:lnTo>
                    <a:pt x="99" y="134"/>
                  </a:lnTo>
                  <a:lnTo>
                    <a:pt x="98" y="134"/>
                  </a:lnTo>
                  <a:lnTo>
                    <a:pt x="97" y="137"/>
                  </a:lnTo>
                  <a:lnTo>
                    <a:pt x="97" y="138"/>
                  </a:lnTo>
                  <a:lnTo>
                    <a:pt x="91" y="141"/>
                  </a:lnTo>
                  <a:lnTo>
                    <a:pt x="89" y="143"/>
                  </a:lnTo>
                  <a:lnTo>
                    <a:pt x="92" y="148"/>
                  </a:lnTo>
                  <a:lnTo>
                    <a:pt x="91" y="151"/>
                  </a:lnTo>
                  <a:lnTo>
                    <a:pt x="93" y="151"/>
                  </a:lnTo>
                  <a:lnTo>
                    <a:pt x="93" y="152"/>
                  </a:lnTo>
                  <a:lnTo>
                    <a:pt x="93" y="155"/>
                  </a:lnTo>
                  <a:lnTo>
                    <a:pt x="92" y="156"/>
                  </a:lnTo>
                  <a:lnTo>
                    <a:pt x="89" y="154"/>
                  </a:lnTo>
                  <a:lnTo>
                    <a:pt x="90" y="153"/>
                  </a:lnTo>
                  <a:lnTo>
                    <a:pt x="89" y="152"/>
                  </a:lnTo>
                  <a:lnTo>
                    <a:pt x="85" y="152"/>
                  </a:lnTo>
                  <a:lnTo>
                    <a:pt x="84" y="151"/>
                  </a:lnTo>
                  <a:lnTo>
                    <a:pt x="82" y="152"/>
                  </a:lnTo>
                  <a:lnTo>
                    <a:pt x="81" y="153"/>
                  </a:lnTo>
                  <a:lnTo>
                    <a:pt x="74" y="153"/>
                  </a:lnTo>
                  <a:lnTo>
                    <a:pt x="73" y="155"/>
                  </a:lnTo>
                  <a:lnTo>
                    <a:pt x="71" y="155"/>
                  </a:lnTo>
                  <a:lnTo>
                    <a:pt x="71" y="156"/>
                  </a:lnTo>
                  <a:lnTo>
                    <a:pt x="69" y="157"/>
                  </a:lnTo>
                  <a:lnTo>
                    <a:pt x="65" y="157"/>
                  </a:lnTo>
                  <a:lnTo>
                    <a:pt x="65" y="156"/>
                  </a:lnTo>
                  <a:lnTo>
                    <a:pt x="64" y="155"/>
                  </a:lnTo>
                  <a:lnTo>
                    <a:pt x="61" y="154"/>
                  </a:lnTo>
                  <a:lnTo>
                    <a:pt x="60" y="154"/>
                  </a:lnTo>
                  <a:lnTo>
                    <a:pt x="58" y="154"/>
                  </a:lnTo>
                  <a:lnTo>
                    <a:pt x="59" y="156"/>
                  </a:lnTo>
                  <a:lnTo>
                    <a:pt x="56" y="159"/>
                  </a:lnTo>
                  <a:lnTo>
                    <a:pt x="55" y="159"/>
                  </a:lnTo>
                  <a:lnTo>
                    <a:pt x="55" y="158"/>
                  </a:lnTo>
                  <a:lnTo>
                    <a:pt x="54" y="157"/>
                  </a:lnTo>
                  <a:lnTo>
                    <a:pt x="54" y="156"/>
                  </a:lnTo>
                  <a:lnTo>
                    <a:pt x="53" y="155"/>
                  </a:lnTo>
                  <a:lnTo>
                    <a:pt x="52" y="154"/>
                  </a:lnTo>
                  <a:lnTo>
                    <a:pt x="51" y="154"/>
                  </a:lnTo>
                  <a:lnTo>
                    <a:pt x="50" y="153"/>
                  </a:lnTo>
                  <a:lnTo>
                    <a:pt x="49" y="155"/>
                  </a:lnTo>
                  <a:lnTo>
                    <a:pt x="47" y="154"/>
                  </a:lnTo>
                  <a:lnTo>
                    <a:pt x="43" y="152"/>
                  </a:lnTo>
                  <a:lnTo>
                    <a:pt x="38" y="152"/>
                  </a:lnTo>
                  <a:lnTo>
                    <a:pt x="37" y="151"/>
                  </a:lnTo>
                  <a:lnTo>
                    <a:pt x="36" y="151"/>
                  </a:lnTo>
                  <a:lnTo>
                    <a:pt x="36" y="150"/>
                  </a:lnTo>
                  <a:lnTo>
                    <a:pt x="32" y="152"/>
                  </a:lnTo>
                  <a:lnTo>
                    <a:pt x="33" y="153"/>
                  </a:lnTo>
                  <a:lnTo>
                    <a:pt x="31" y="154"/>
                  </a:lnTo>
                  <a:lnTo>
                    <a:pt x="29" y="153"/>
                  </a:lnTo>
                  <a:lnTo>
                    <a:pt x="26" y="154"/>
                  </a:lnTo>
                  <a:lnTo>
                    <a:pt x="24" y="153"/>
                  </a:lnTo>
                  <a:lnTo>
                    <a:pt x="22" y="154"/>
                  </a:lnTo>
                  <a:lnTo>
                    <a:pt x="21" y="153"/>
                  </a:lnTo>
                  <a:close/>
                  <a:moveTo>
                    <a:pt x="108" y="25"/>
                  </a:moveTo>
                  <a:lnTo>
                    <a:pt x="107" y="24"/>
                  </a:lnTo>
                  <a:lnTo>
                    <a:pt x="106" y="24"/>
                  </a:lnTo>
                  <a:lnTo>
                    <a:pt x="103" y="25"/>
                  </a:lnTo>
                  <a:lnTo>
                    <a:pt x="103" y="22"/>
                  </a:lnTo>
                  <a:lnTo>
                    <a:pt x="103" y="20"/>
                  </a:lnTo>
                  <a:lnTo>
                    <a:pt x="107" y="23"/>
                  </a:lnTo>
                  <a:lnTo>
                    <a:pt x="108" y="2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3" name="Freeform 45">
              <a:extLst>
                <a:ext uri="{FF2B5EF4-FFF2-40B4-BE49-F238E27FC236}">
                  <a16:creationId xmlns:a16="http://schemas.microsoft.com/office/drawing/2014/main" id="{BCFC5505-4A81-7430-B50C-FC6094687F6F}"/>
                </a:ext>
              </a:extLst>
            </p:cNvPr>
            <p:cNvSpPr>
              <a:spLocks/>
            </p:cNvSpPr>
            <p:nvPr/>
          </p:nvSpPr>
          <p:spPr bwMode="auto">
            <a:xfrm>
              <a:off x="4931946" y="4643438"/>
              <a:ext cx="173038" cy="142875"/>
            </a:xfrm>
            <a:custGeom>
              <a:avLst/>
              <a:gdLst/>
              <a:ahLst/>
              <a:cxnLst>
                <a:cxn ang="0">
                  <a:pos x="0" y="90"/>
                </a:cxn>
                <a:cxn ang="0">
                  <a:pos x="0" y="85"/>
                </a:cxn>
                <a:cxn ang="0">
                  <a:pos x="2" y="80"/>
                </a:cxn>
                <a:cxn ang="0">
                  <a:pos x="5" y="76"/>
                </a:cxn>
                <a:cxn ang="0">
                  <a:pos x="8" y="73"/>
                </a:cxn>
                <a:cxn ang="0">
                  <a:pos x="9" y="70"/>
                </a:cxn>
                <a:cxn ang="0">
                  <a:pos x="17" y="53"/>
                </a:cxn>
                <a:cxn ang="0">
                  <a:pos x="18" y="52"/>
                </a:cxn>
                <a:cxn ang="0">
                  <a:pos x="26" y="44"/>
                </a:cxn>
                <a:cxn ang="0">
                  <a:pos x="28" y="41"/>
                </a:cxn>
                <a:cxn ang="0">
                  <a:pos x="29" y="35"/>
                </a:cxn>
                <a:cxn ang="0">
                  <a:pos x="30" y="28"/>
                </a:cxn>
                <a:cxn ang="0">
                  <a:pos x="34" y="21"/>
                </a:cxn>
                <a:cxn ang="0">
                  <a:pos x="36" y="19"/>
                </a:cxn>
                <a:cxn ang="0">
                  <a:pos x="39" y="17"/>
                </a:cxn>
                <a:cxn ang="0">
                  <a:pos x="44" y="14"/>
                </a:cxn>
                <a:cxn ang="0">
                  <a:pos x="46" y="11"/>
                </a:cxn>
                <a:cxn ang="0">
                  <a:pos x="48" y="6"/>
                </a:cxn>
                <a:cxn ang="0">
                  <a:pos x="50" y="0"/>
                </a:cxn>
                <a:cxn ang="0">
                  <a:pos x="60" y="0"/>
                </a:cxn>
                <a:cxn ang="0">
                  <a:pos x="75" y="0"/>
                </a:cxn>
                <a:cxn ang="0">
                  <a:pos x="90" y="0"/>
                </a:cxn>
                <a:cxn ang="0">
                  <a:pos x="101" y="0"/>
                </a:cxn>
                <a:cxn ang="0">
                  <a:pos x="109" y="0"/>
                </a:cxn>
                <a:cxn ang="0">
                  <a:pos x="109" y="6"/>
                </a:cxn>
                <a:cxn ang="0">
                  <a:pos x="109" y="17"/>
                </a:cxn>
                <a:cxn ang="0">
                  <a:pos x="109" y="21"/>
                </a:cxn>
                <a:cxn ang="0">
                  <a:pos x="108" y="24"/>
                </a:cxn>
                <a:cxn ang="0">
                  <a:pos x="105" y="24"/>
                </a:cxn>
                <a:cxn ang="0">
                  <a:pos x="70" y="24"/>
                </a:cxn>
                <a:cxn ang="0">
                  <a:pos x="66" y="24"/>
                </a:cxn>
                <a:cxn ang="0">
                  <a:pos x="66" y="27"/>
                </a:cxn>
                <a:cxn ang="0">
                  <a:pos x="66" y="42"/>
                </a:cxn>
                <a:cxn ang="0">
                  <a:pos x="65" y="59"/>
                </a:cxn>
                <a:cxn ang="0">
                  <a:pos x="64" y="60"/>
                </a:cxn>
                <a:cxn ang="0">
                  <a:pos x="60" y="61"/>
                </a:cxn>
                <a:cxn ang="0">
                  <a:pos x="55" y="64"/>
                </a:cxn>
                <a:cxn ang="0">
                  <a:pos x="52" y="66"/>
                </a:cxn>
                <a:cxn ang="0">
                  <a:pos x="50" y="69"/>
                </a:cxn>
                <a:cxn ang="0">
                  <a:pos x="50" y="73"/>
                </a:cxn>
                <a:cxn ang="0">
                  <a:pos x="51" y="83"/>
                </a:cxn>
                <a:cxn ang="0">
                  <a:pos x="52" y="90"/>
                </a:cxn>
                <a:cxn ang="0">
                  <a:pos x="50" y="90"/>
                </a:cxn>
                <a:cxn ang="0">
                  <a:pos x="46" y="90"/>
                </a:cxn>
                <a:cxn ang="0">
                  <a:pos x="32" y="90"/>
                </a:cxn>
                <a:cxn ang="0">
                  <a:pos x="2" y="90"/>
                </a:cxn>
                <a:cxn ang="0">
                  <a:pos x="0" y="90"/>
                </a:cxn>
              </a:cxnLst>
              <a:rect l="0" t="0" r="r" b="b"/>
              <a:pathLst>
                <a:path w="109" h="90">
                  <a:moveTo>
                    <a:pt x="0" y="90"/>
                  </a:moveTo>
                  <a:lnTo>
                    <a:pt x="0" y="85"/>
                  </a:lnTo>
                  <a:lnTo>
                    <a:pt x="2" y="80"/>
                  </a:lnTo>
                  <a:lnTo>
                    <a:pt x="5" y="76"/>
                  </a:lnTo>
                  <a:lnTo>
                    <a:pt x="8" y="73"/>
                  </a:lnTo>
                  <a:lnTo>
                    <a:pt x="9" y="70"/>
                  </a:lnTo>
                  <a:lnTo>
                    <a:pt x="17" y="53"/>
                  </a:lnTo>
                  <a:lnTo>
                    <a:pt x="18" y="52"/>
                  </a:lnTo>
                  <a:lnTo>
                    <a:pt x="26" y="44"/>
                  </a:lnTo>
                  <a:lnTo>
                    <a:pt x="28" y="41"/>
                  </a:lnTo>
                  <a:lnTo>
                    <a:pt x="29" y="35"/>
                  </a:lnTo>
                  <a:lnTo>
                    <a:pt x="30" y="28"/>
                  </a:lnTo>
                  <a:lnTo>
                    <a:pt x="34" y="21"/>
                  </a:lnTo>
                  <a:lnTo>
                    <a:pt x="36" y="19"/>
                  </a:lnTo>
                  <a:lnTo>
                    <a:pt x="39" y="17"/>
                  </a:lnTo>
                  <a:lnTo>
                    <a:pt x="44" y="14"/>
                  </a:lnTo>
                  <a:lnTo>
                    <a:pt x="46" y="11"/>
                  </a:lnTo>
                  <a:lnTo>
                    <a:pt x="48" y="6"/>
                  </a:lnTo>
                  <a:lnTo>
                    <a:pt x="50" y="0"/>
                  </a:lnTo>
                  <a:lnTo>
                    <a:pt x="60" y="0"/>
                  </a:lnTo>
                  <a:lnTo>
                    <a:pt x="75" y="0"/>
                  </a:lnTo>
                  <a:lnTo>
                    <a:pt x="90" y="0"/>
                  </a:lnTo>
                  <a:lnTo>
                    <a:pt x="101" y="0"/>
                  </a:lnTo>
                  <a:lnTo>
                    <a:pt x="109" y="0"/>
                  </a:lnTo>
                  <a:lnTo>
                    <a:pt x="109" y="6"/>
                  </a:lnTo>
                  <a:lnTo>
                    <a:pt x="109" y="17"/>
                  </a:lnTo>
                  <a:lnTo>
                    <a:pt x="109" y="21"/>
                  </a:lnTo>
                  <a:lnTo>
                    <a:pt x="108" y="24"/>
                  </a:lnTo>
                  <a:lnTo>
                    <a:pt x="105" y="24"/>
                  </a:lnTo>
                  <a:lnTo>
                    <a:pt x="70" y="24"/>
                  </a:lnTo>
                  <a:lnTo>
                    <a:pt x="66" y="24"/>
                  </a:lnTo>
                  <a:lnTo>
                    <a:pt x="66" y="27"/>
                  </a:lnTo>
                  <a:lnTo>
                    <a:pt x="66" y="42"/>
                  </a:lnTo>
                  <a:lnTo>
                    <a:pt x="65" y="59"/>
                  </a:lnTo>
                  <a:lnTo>
                    <a:pt x="64" y="60"/>
                  </a:lnTo>
                  <a:lnTo>
                    <a:pt x="60" y="61"/>
                  </a:lnTo>
                  <a:lnTo>
                    <a:pt x="55" y="64"/>
                  </a:lnTo>
                  <a:lnTo>
                    <a:pt x="52" y="66"/>
                  </a:lnTo>
                  <a:lnTo>
                    <a:pt x="50" y="69"/>
                  </a:lnTo>
                  <a:lnTo>
                    <a:pt x="50" y="73"/>
                  </a:lnTo>
                  <a:lnTo>
                    <a:pt x="51" y="83"/>
                  </a:lnTo>
                  <a:lnTo>
                    <a:pt x="52" y="90"/>
                  </a:lnTo>
                  <a:lnTo>
                    <a:pt x="50" y="90"/>
                  </a:lnTo>
                  <a:lnTo>
                    <a:pt x="46" y="90"/>
                  </a:lnTo>
                  <a:lnTo>
                    <a:pt x="32" y="90"/>
                  </a:lnTo>
                  <a:lnTo>
                    <a:pt x="2" y="90"/>
                  </a:lnTo>
                  <a:lnTo>
                    <a:pt x="0" y="9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4" name="Freeform 46">
              <a:extLst>
                <a:ext uri="{FF2B5EF4-FFF2-40B4-BE49-F238E27FC236}">
                  <a16:creationId xmlns:a16="http://schemas.microsoft.com/office/drawing/2014/main" id="{37857D8A-02BD-3D27-3109-7D6656B0085E}"/>
                </a:ext>
              </a:extLst>
            </p:cNvPr>
            <p:cNvSpPr>
              <a:spLocks/>
            </p:cNvSpPr>
            <p:nvPr/>
          </p:nvSpPr>
          <p:spPr bwMode="auto">
            <a:xfrm>
              <a:off x="5406609" y="4106863"/>
              <a:ext cx="93663" cy="57150"/>
            </a:xfrm>
            <a:custGeom>
              <a:avLst/>
              <a:gdLst/>
              <a:ahLst/>
              <a:cxnLst>
                <a:cxn ang="0">
                  <a:pos x="48" y="7"/>
                </a:cxn>
                <a:cxn ang="0">
                  <a:pos x="48" y="12"/>
                </a:cxn>
                <a:cxn ang="0">
                  <a:pos x="51" y="14"/>
                </a:cxn>
                <a:cxn ang="0">
                  <a:pos x="54" y="18"/>
                </a:cxn>
                <a:cxn ang="0">
                  <a:pos x="59" y="16"/>
                </a:cxn>
                <a:cxn ang="0">
                  <a:pos x="58" y="20"/>
                </a:cxn>
                <a:cxn ang="0">
                  <a:pos x="58" y="23"/>
                </a:cxn>
                <a:cxn ang="0">
                  <a:pos x="55" y="21"/>
                </a:cxn>
                <a:cxn ang="0">
                  <a:pos x="53" y="25"/>
                </a:cxn>
                <a:cxn ang="0">
                  <a:pos x="54" y="29"/>
                </a:cxn>
                <a:cxn ang="0">
                  <a:pos x="49" y="27"/>
                </a:cxn>
                <a:cxn ang="0">
                  <a:pos x="48" y="28"/>
                </a:cxn>
                <a:cxn ang="0">
                  <a:pos x="45" y="24"/>
                </a:cxn>
                <a:cxn ang="0">
                  <a:pos x="43" y="27"/>
                </a:cxn>
                <a:cxn ang="0">
                  <a:pos x="41" y="35"/>
                </a:cxn>
                <a:cxn ang="0">
                  <a:pos x="37" y="34"/>
                </a:cxn>
                <a:cxn ang="0">
                  <a:pos x="36" y="32"/>
                </a:cxn>
                <a:cxn ang="0">
                  <a:pos x="32" y="25"/>
                </a:cxn>
                <a:cxn ang="0">
                  <a:pos x="28" y="30"/>
                </a:cxn>
                <a:cxn ang="0">
                  <a:pos x="25" y="35"/>
                </a:cxn>
                <a:cxn ang="0">
                  <a:pos x="17" y="36"/>
                </a:cxn>
                <a:cxn ang="0">
                  <a:pos x="13" y="32"/>
                </a:cxn>
                <a:cxn ang="0">
                  <a:pos x="8" y="26"/>
                </a:cxn>
                <a:cxn ang="0">
                  <a:pos x="0" y="31"/>
                </a:cxn>
                <a:cxn ang="0">
                  <a:pos x="2" y="26"/>
                </a:cxn>
                <a:cxn ang="0">
                  <a:pos x="2" y="23"/>
                </a:cxn>
                <a:cxn ang="0">
                  <a:pos x="6" y="16"/>
                </a:cxn>
                <a:cxn ang="0">
                  <a:pos x="9" y="14"/>
                </a:cxn>
                <a:cxn ang="0">
                  <a:pos x="13" y="9"/>
                </a:cxn>
                <a:cxn ang="0">
                  <a:pos x="12" y="8"/>
                </a:cxn>
                <a:cxn ang="0">
                  <a:pos x="16" y="5"/>
                </a:cxn>
                <a:cxn ang="0">
                  <a:pos x="19" y="6"/>
                </a:cxn>
                <a:cxn ang="0">
                  <a:pos x="22" y="4"/>
                </a:cxn>
                <a:cxn ang="0">
                  <a:pos x="26" y="4"/>
                </a:cxn>
                <a:cxn ang="0">
                  <a:pos x="31" y="4"/>
                </a:cxn>
                <a:cxn ang="0">
                  <a:pos x="32" y="2"/>
                </a:cxn>
                <a:cxn ang="0">
                  <a:pos x="36" y="1"/>
                </a:cxn>
                <a:cxn ang="0">
                  <a:pos x="38" y="2"/>
                </a:cxn>
                <a:cxn ang="0">
                  <a:pos x="47" y="4"/>
                </a:cxn>
              </a:cxnLst>
              <a:rect l="0" t="0" r="r" b="b"/>
              <a:pathLst>
                <a:path w="59" h="36">
                  <a:moveTo>
                    <a:pt x="47" y="4"/>
                  </a:moveTo>
                  <a:lnTo>
                    <a:pt x="48" y="7"/>
                  </a:lnTo>
                  <a:lnTo>
                    <a:pt x="46" y="10"/>
                  </a:lnTo>
                  <a:lnTo>
                    <a:pt x="48" y="12"/>
                  </a:lnTo>
                  <a:lnTo>
                    <a:pt x="47" y="14"/>
                  </a:lnTo>
                  <a:lnTo>
                    <a:pt x="51" y="14"/>
                  </a:lnTo>
                  <a:lnTo>
                    <a:pt x="51" y="15"/>
                  </a:lnTo>
                  <a:lnTo>
                    <a:pt x="54" y="18"/>
                  </a:lnTo>
                  <a:lnTo>
                    <a:pt x="58" y="15"/>
                  </a:lnTo>
                  <a:lnTo>
                    <a:pt x="59" y="16"/>
                  </a:lnTo>
                  <a:lnTo>
                    <a:pt x="59" y="17"/>
                  </a:lnTo>
                  <a:lnTo>
                    <a:pt x="58" y="20"/>
                  </a:lnTo>
                  <a:lnTo>
                    <a:pt x="58" y="22"/>
                  </a:lnTo>
                  <a:lnTo>
                    <a:pt x="58" y="23"/>
                  </a:lnTo>
                  <a:lnTo>
                    <a:pt x="57" y="23"/>
                  </a:lnTo>
                  <a:lnTo>
                    <a:pt x="55" y="21"/>
                  </a:lnTo>
                  <a:lnTo>
                    <a:pt x="54" y="22"/>
                  </a:lnTo>
                  <a:lnTo>
                    <a:pt x="53" y="25"/>
                  </a:lnTo>
                  <a:lnTo>
                    <a:pt x="55" y="26"/>
                  </a:lnTo>
                  <a:lnTo>
                    <a:pt x="54" y="29"/>
                  </a:lnTo>
                  <a:lnTo>
                    <a:pt x="52" y="27"/>
                  </a:lnTo>
                  <a:lnTo>
                    <a:pt x="49" y="27"/>
                  </a:lnTo>
                  <a:lnTo>
                    <a:pt x="49" y="28"/>
                  </a:lnTo>
                  <a:lnTo>
                    <a:pt x="48" y="28"/>
                  </a:lnTo>
                  <a:lnTo>
                    <a:pt x="46" y="27"/>
                  </a:lnTo>
                  <a:lnTo>
                    <a:pt x="45" y="24"/>
                  </a:lnTo>
                  <a:lnTo>
                    <a:pt x="43" y="25"/>
                  </a:lnTo>
                  <a:lnTo>
                    <a:pt x="43" y="27"/>
                  </a:lnTo>
                  <a:lnTo>
                    <a:pt x="41" y="31"/>
                  </a:lnTo>
                  <a:lnTo>
                    <a:pt x="41" y="35"/>
                  </a:lnTo>
                  <a:lnTo>
                    <a:pt x="39" y="36"/>
                  </a:lnTo>
                  <a:lnTo>
                    <a:pt x="37" y="34"/>
                  </a:lnTo>
                  <a:lnTo>
                    <a:pt x="37" y="32"/>
                  </a:lnTo>
                  <a:lnTo>
                    <a:pt x="36" y="32"/>
                  </a:lnTo>
                  <a:lnTo>
                    <a:pt x="32" y="29"/>
                  </a:lnTo>
                  <a:lnTo>
                    <a:pt x="32" y="25"/>
                  </a:lnTo>
                  <a:lnTo>
                    <a:pt x="28" y="29"/>
                  </a:lnTo>
                  <a:lnTo>
                    <a:pt x="28" y="30"/>
                  </a:lnTo>
                  <a:lnTo>
                    <a:pt x="26" y="34"/>
                  </a:lnTo>
                  <a:lnTo>
                    <a:pt x="25" y="35"/>
                  </a:lnTo>
                  <a:lnTo>
                    <a:pt x="21" y="34"/>
                  </a:lnTo>
                  <a:lnTo>
                    <a:pt x="17" y="36"/>
                  </a:lnTo>
                  <a:lnTo>
                    <a:pt x="14" y="35"/>
                  </a:lnTo>
                  <a:lnTo>
                    <a:pt x="13" y="32"/>
                  </a:lnTo>
                  <a:lnTo>
                    <a:pt x="11" y="25"/>
                  </a:lnTo>
                  <a:lnTo>
                    <a:pt x="8" y="26"/>
                  </a:lnTo>
                  <a:lnTo>
                    <a:pt x="3" y="32"/>
                  </a:lnTo>
                  <a:lnTo>
                    <a:pt x="0" y="31"/>
                  </a:lnTo>
                  <a:lnTo>
                    <a:pt x="2" y="29"/>
                  </a:lnTo>
                  <a:lnTo>
                    <a:pt x="2" y="26"/>
                  </a:lnTo>
                  <a:lnTo>
                    <a:pt x="1" y="25"/>
                  </a:lnTo>
                  <a:lnTo>
                    <a:pt x="2" y="23"/>
                  </a:lnTo>
                  <a:lnTo>
                    <a:pt x="6" y="19"/>
                  </a:lnTo>
                  <a:lnTo>
                    <a:pt x="6" y="16"/>
                  </a:lnTo>
                  <a:lnTo>
                    <a:pt x="9" y="14"/>
                  </a:lnTo>
                  <a:lnTo>
                    <a:pt x="9" y="14"/>
                  </a:lnTo>
                  <a:lnTo>
                    <a:pt x="13" y="9"/>
                  </a:lnTo>
                  <a:lnTo>
                    <a:pt x="13" y="9"/>
                  </a:lnTo>
                  <a:lnTo>
                    <a:pt x="13" y="8"/>
                  </a:lnTo>
                  <a:lnTo>
                    <a:pt x="12" y="8"/>
                  </a:lnTo>
                  <a:lnTo>
                    <a:pt x="13" y="5"/>
                  </a:lnTo>
                  <a:lnTo>
                    <a:pt x="16" y="5"/>
                  </a:lnTo>
                  <a:lnTo>
                    <a:pt x="16" y="6"/>
                  </a:lnTo>
                  <a:lnTo>
                    <a:pt x="19" y="6"/>
                  </a:lnTo>
                  <a:lnTo>
                    <a:pt x="21" y="3"/>
                  </a:lnTo>
                  <a:lnTo>
                    <a:pt x="22" y="4"/>
                  </a:lnTo>
                  <a:lnTo>
                    <a:pt x="24" y="3"/>
                  </a:lnTo>
                  <a:lnTo>
                    <a:pt x="26" y="4"/>
                  </a:lnTo>
                  <a:lnTo>
                    <a:pt x="29" y="3"/>
                  </a:lnTo>
                  <a:lnTo>
                    <a:pt x="31" y="4"/>
                  </a:lnTo>
                  <a:lnTo>
                    <a:pt x="33" y="3"/>
                  </a:lnTo>
                  <a:lnTo>
                    <a:pt x="32" y="2"/>
                  </a:lnTo>
                  <a:lnTo>
                    <a:pt x="36" y="0"/>
                  </a:lnTo>
                  <a:lnTo>
                    <a:pt x="36" y="1"/>
                  </a:lnTo>
                  <a:lnTo>
                    <a:pt x="37" y="1"/>
                  </a:lnTo>
                  <a:lnTo>
                    <a:pt x="38" y="2"/>
                  </a:lnTo>
                  <a:lnTo>
                    <a:pt x="43" y="2"/>
                  </a:lnTo>
                  <a:lnTo>
                    <a:pt x="47"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5" name="Freeform 47">
              <a:extLst>
                <a:ext uri="{FF2B5EF4-FFF2-40B4-BE49-F238E27FC236}">
                  <a16:creationId xmlns:a16="http://schemas.microsoft.com/office/drawing/2014/main" id="{F27FD21C-1ECA-C322-C417-827D8593211C}"/>
                </a:ext>
              </a:extLst>
            </p:cNvPr>
            <p:cNvSpPr>
              <a:spLocks/>
            </p:cNvSpPr>
            <p:nvPr/>
          </p:nvSpPr>
          <p:spPr bwMode="auto">
            <a:xfrm>
              <a:off x="3841334" y="5443538"/>
              <a:ext cx="247650" cy="285750"/>
            </a:xfrm>
            <a:custGeom>
              <a:avLst/>
              <a:gdLst/>
              <a:ahLst/>
              <a:cxnLst>
                <a:cxn ang="0">
                  <a:pos x="12" y="17"/>
                </a:cxn>
                <a:cxn ang="0">
                  <a:pos x="21" y="12"/>
                </a:cxn>
                <a:cxn ang="0">
                  <a:pos x="35" y="4"/>
                </a:cxn>
                <a:cxn ang="0">
                  <a:pos x="48" y="0"/>
                </a:cxn>
                <a:cxn ang="0">
                  <a:pos x="55" y="8"/>
                </a:cxn>
                <a:cxn ang="0">
                  <a:pos x="56" y="20"/>
                </a:cxn>
                <a:cxn ang="0">
                  <a:pos x="69" y="35"/>
                </a:cxn>
                <a:cxn ang="0">
                  <a:pos x="78" y="36"/>
                </a:cxn>
                <a:cxn ang="0">
                  <a:pos x="90" y="42"/>
                </a:cxn>
                <a:cxn ang="0">
                  <a:pos x="98" y="43"/>
                </a:cxn>
                <a:cxn ang="0">
                  <a:pos x="104" y="51"/>
                </a:cxn>
                <a:cxn ang="0">
                  <a:pos x="117" y="52"/>
                </a:cxn>
                <a:cxn ang="0">
                  <a:pos x="120" y="58"/>
                </a:cxn>
                <a:cxn ang="0">
                  <a:pos x="122" y="81"/>
                </a:cxn>
                <a:cxn ang="0">
                  <a:pos x="130" y="87"/>
                </a:cxn>
                <a:cxn ang="0">
                  <a:pos x="147" y="88"/>
                </a:cxn>
                <a:cxn ang="0">
                  <a:pos x="146" y="98"/>
                </a:cxn>
                <a:cxn ang="0">
                  <a:pos x="155" y="106"/>
                </a:cxn>
                <a:cxn ang="0">
                  <a:pos x="155" y="121"/>
                </a:cxn>
                <a:cxn ang="0">
                  <a:pos x="149" y="135"/>
                </a:cxn>
                <a:cxn ang="0">
                  <a:pos x="135" y="128"/>
                </a:cxn>
                <a:cxn ang="0">
                  <a:pos x="124" y="129"/>
                </a:cxn>
                <a:cxn ang="0">
                  <a:pos x="107" y="132"/>
                </a:cxn>
                <a:cxn ang="0">
                  <a:pos x="99" y="142"/>
                </a:cxn>
                <a:cxn ang="0">
                  <a:pos x="96" y="151"/>
                </a:cxn>
                <a:cxn ang="0">
                  <a:pos x="91" y="168"/>
                </a:cxn>
                <a:cxn ang="0">
                  <a:pos x="75" y="166"/>
                </a:cxn>
                <a:cxn ang="0">
                  <a:pos x="65" y="169"/>
                </a:cxn>
                <a:cxn ang="0">
                  <a:pos x="56" y="168"/>
                </a:cxn>
                <a:cxn ang="0">
                  <a:pos x="47" y="166"/>
                </a:cxn>
                <a:cxn ang="0">
                  <a:pos x="31" y="180"/>
                </a:cxn>
                <a:cxn ang="0">
                  <a:pos x="21" y="165"/>
                </a:cxn>
                <a:cxn ang="0">
                  <a:pos x="14" y="148"/>
                </a:cxn>
                <a:cxn ang="0">
                  <a:pos x="15" y="132"/>
                </a:cxn>
                <a:cxn ang="0">
                  <a:pos x="9" y="122"/>
                </a:cxn>
                <a:cxn ang="0">
                  <a:pos x="3" y="106"/>
                </a:cxn>
                <a:cxn ang="0">
                  <a:pos x="1" y="102"/>
                </a:cxn>
                <a:cxn ang="0">
                  <a:pos x="5" y="94"/>
                </a:cxn>
                <a:cxn ang="0">
                  <a:pos x="3" y="81"/>
                </a:cxn>
                <a:cxn ang="0">
                  <a:pos x="6" y="73"/>
                </a:cxn>
                <a:cxn ang="0">
                  <a:pos x="7" y="62"/>
                </a:cxn>
                <a:cxn ang="0">
                  <a:pos x="8" y="52"/>
                </a:cxn>
                <a:cxn ang="0">
                  <a:pos x="9" y="41"/>
                </a:cxn>
                <a:cxn ang="0">
                  <a:pos x="6" y="25"/>
                </a:cxn>
              </a:cxnLst>
              <a:rect l="0" t="0" r="r" b="b"/>
              <a:pathLst>
                <a:path w="156" h="180">
                  <a:moveTo>
                    <a:pt x="0" y="14"/>
                  </a:moveTo>
                  <a:lnTo>
                    <a:pt x="5" y="15"/>
                  </a:lnTo>
                  <a:lnTo>
                    <a:pt x="12" y="17"/>
                  </a:lnTo>
                  <a:lnTo>
                    <a:pt x="14" y="16"/>
                  </a:lnTo>
                  <a:lnTo>
                    <a:pt x="19" y="12"/>
                  </a:lnTo>
                  <a:lnTo>
                    <a:pt x="21" y="12"/>
                  </a:lnTo>
                  <a:lnTo>
                    <a:pt x="24" y="12"/>
                  </a:lnTo>
                  <a:lnTo>
                    <a:pt x="27" y="10"/>
                  </a:lnTo>
                  <a:lnTo>
                    <a:pt x="35" y="4"/>
                  </a:lnTo>
                  <a:lnTo>
                    <a:pt x="40" y="1"/>
                  </a:lnTo>
                  <a:lnTo>
                    <a:pt x="42" y="0"/>
                  </a:lnTo>
                  <a:lnTo>
                    <a:pt x="48" y="0"/>
                  </a:lnTo>
                  <a:lnTo>
                    <a:pt x="56" y="0"/>
                  </a:lnTo>
                  <a:lnTo>
                    <a:pt x="56" y="4"/>
                  </a:lnTo>
                  <a:lnTo>
                    <a:pt x="55" y="8"/>
                  </a:lnTo>
                  <a:lnTo>
                    <a:pt x="55" y="12"/>
                  </a:lnTo>
                  <a:lnTo>
                    <a:pt x="55" y="16"/>
                  </a:lnTo>
                  <a:lnTo>
                    <a:pt x="56" y="20"/>
                  </a:lnTo>
                  <a:lnTo>
                    <a:pt x="58" y="24"/>
                  </a:lnTo>
                  <a:lnTo>
                    <a:pt x="63" y="29"/>
                  </a:lnTo>
                  <a:lnTo>
                    <a:pt x="69" y="35"/>
                  </a:lnTo>
                  <a:lnTo>
                    <a:pt x="71" y="36"/>
                  </a:lnTo>
                  <a:lnTo>
                    <a:pt x="76" y="36"/>
                  </a:lnTo>
                  <a:lnTo>
                    <a:pt x="78" y="36"/>
                  </a:lnTo>
                  <a:lnTo>
                    <a:pt x="82" y="37"/>
                  </a:lnTo>
                  <a:lnTo>
                    <a:pt x="86" y="39"/>
                  </a:lnTo>
                  <a:lnTo>
                    <a:pt x="90" y="42"/>
                  </a:lnTo>
                  <a:lnTo>
                    <a:pt x="92" y="43"/>
                  </a:lnTo>
                  <a:lnTo>
                    <a:pt x="97" y="43"/>
                  </a:lnTo>
                  <a:lnTo>
                    <a:pt x="98" y="43"/>
                  </a:lnTo>
                  <a:lnTo>
                    <a:pt x="100" y="48"/>
                  </a:lnTo>
                  <a:lnTo>
                    <a:pt x="102" y="50"/>
                  </a:lnTo>
                  <a:lnTo>
                    <a:pt x="104" y="51"/>
                  </a:lnTo>
                  <a:lnTo>
                    <a:pt x="110" y="50"/>
                  </a:lnTo>
                  <a:lnTo>
                    <a:pt x="114" y="51"/>
                  </a:lnTo>
                  <a:lnTo>
                    <a:pt x="117" y="52"/>
                  </a:lnTo>
                  <a:lnTo>
                    <a:pt x="120" y="53"/>
                  </a:lnTo>
                  <a:lnTo>
                    <a:pt x="120" y="54"/>
                  </a:lnTo>
                  <a:lnTo>
                    <a:pt x="120" y="58"/>
                  </a:lnTo>
                  <a:lnTo>
                    <a:pt x="121" y="64"/>
                  </a:lnTo>
                  <a:lnTo>
                    <a:pt x="121" y="68"/>
                  </a:lnTo>
                  <a:lnTo>
                    <a:pt x="122" y="81"/>
                  </a:lnTo>
                  <a:lnTo>
                    <a:pt x="123" y="86"/>
                  </a:lnTo>
                  <a:lnTo>
                    <a:pt x="125" y="87"/>
                  </a:lnTo>
                  <a:lnTo>
                    <a:pt x="130" y="87"/>
                  </a:lnTo>
                  <a:lnTo>
                    <a:pt x="133" y="87"/>
                  </a:lnTo>
                  <a:lnTo>
                    <a:pt x="143" y="87"/>
                  </a:lnTo>
                  <a:lnTo>
                    <a:pt x="147" y="88"/>
                  </a:lnTo>
                  <a:lnTo>
                    <a:pt x="147" y="89"/>
                  </a:lnTo>
                  <a:lnTo>
                    <a:pt x="145" y="94"/>
                  </a:lnTo>
                  <a:lnTo>
                    <a:pt x="146" y="98"/>
                  </a:lnTo>
                  <a:lnTo>
                    <a:pt x="148" y="100"/>
                  </a:lnTo>
                  <a:lnTo>
                    <a:pt x="153" y="103"/>
                  </a:lnTo>
                  <a:lnTo>
                    <a:pt x="155" y="106"/>
                  </a:lnTo>
                  <a:lnTo>
                    <a:pt x="156" y="111"/>
                  </a:lnTo>
                  <a:lnTo>
                    <a:pt x="156" y="114"/>
                  </a:lnTo>
                  <a:lnTo>
                    <a:pt x="155" y="121"/>
                  </a:lnTo>
                  <a:lnTo>
                    <a:pt x="154" y="126"/>
                  </a:lnTo>
                  <a:lnTo>
                    <a:pt x="152" y="131"/>
                  </a:lnTo>
                  <a:lnTo>
                    <a:pt x="149" y="135"/>
                  </a:lnTo>
                  <a:lnTo>
                    <a:pt x="149" y="134"/>
                  </a:lnTo>
                  <a:lnTo>
                    <a:pt x="137" y="128"/>
                  </a:lnTo>
                  <a:lnTo>
                    <a:pt x="135" y="128"/>
                  </a:lnTo>
                  <a:lnTo>
                    <a:pt x="130" y="128"/>
                  </a:lnTo>
                  <a:lnTo>
                    <a:pt x="125" y="128"/>
                  </a:lnTo>
                  <a:lnTo>
                    <a:pt x="124" y="129"/>
                  </a:lnTo>
                  <a:lnTo>
                    <a:pt x="118" y="130"/>
                  </a:lnTo>
                  <a:lnTo>
                    <a:pt x="111" y="131"/>
                  </a:lnTo>
                  <a:lnTo>
                    <a:pt x="107" y="132"/>
                  </a:lnTo>
                  <a:lnTo>
                    <a:pt x="105" y="132"/>
                  </a:lnTo>
                  <a:lnTo>
                    <a:pt x="103" y="135"/>
                  </a:lnTo>
                  <a:lnTo>
                    <a:pt x="99" y="142"/>
                  </a:lnTo>
                  <a:lnTo>
                    <a:pt x="97" y="144"/>
                  </a:lnTo>
                  <a:lnTo>
                    <a:pt x="96" y="147"/>
                  </a:lnTo>
                  <a:lnTo>
                    <a:pt x="96" y="151"/>
                  </a:lnTo>
                  <a:lnTo>
                    <a:pt x="94" y="159"/>
                  </a:lnTo>
                  <a:lnTo>
                    <a:pt x="92" y="166"/>
                  </a:lnTo>
                  <a:lnTo>
                    <a:pt x="91" y="168"/>
                  </a:lnTo>
                  <a:lnTo>
                    <a:pt x="87" y="167"/>
                  </a:lnTo>
                  <a:lnTo>
                    <a:pt x="80" y="166"/>
                  </a:lnTo>
                  <a:lnTo>
                    <a:pt x="75" y="166"/>
                  </a:lnTo>
                  <a:lnTo>
                    <a:pt x="69" y="178"/>
                  </a:lnTo>
                  <a:lnTo>
                    <a:pt x="67" y="171"/>
                  </a:lnTo>
                  <a:lnTo>
                    <a:pt x="65" y="169"/>
                  </a:lnTo>
                  <a:lnTo>
                    <a:pt x="63" y="168"/>
                  </a:lnTo>
                  <a:lnTo>
                    <a:pt x="60" y="167"/>
                  </a:lnTo>
                  <a:lnTo>
                    <a:pt x="56" y="168"/>
                  </a:lnTo>
                  <a:lnTo>
                    <a:pt x="51" y="168"/>
                  </a:lnTo>
                  <a:lnTo>
                    <a:pt x="48" y="166"/>
                  </a:lnTo>
                  <a:lnTo>
                    <a:pt x="47" y="166"/>
                  </a:lnTo>
                  <a:lnTo>
                    <a:pt x="45" y="165"/>
                  </a:lnTo>
                  <a:lnTo>
                    <a:pt x="43" y="166"/>
                  </a:lnTo>
                  <a:lnTo>
                    <a:pt x="31" y="180"/>
                  </a:lnTo>
                  <a:lnTo>
                    <a:pt x="25" y="180"/>
                  </a:lnTo>
                  <a:lnTo>
                    <a:pt x="23" y="178"/>
                  </a:lnTo>
                  <a:lnTo>
                    <a:pt x="21" y="165"/>
                  </a:lnTo>
                  <a:lnTo>
                    <a:pt x="19" y="159"/>
                  </a:lnTo>
                  <a:lnTo>
                    <a:pt x="18" y="155"/>
                  </a:lnTo>
                  <a:lnTo>
                    <a:pt x="14" y="148"/>
                  </a:lnTo>
                  <a:lnTo>
                    <a:pt x="12" y="144"/>
                  </a:lnTo>
                  <a:lnTo>
                    <a:pt x="12" y="141"/>
                  </a:lnTo>
                  <a:lnTo>
                    <a:pt x="15" y="132"/>
                  </a:lnTo>
                  <a:lnTo>
                    <a:pt x="15" y="130"/>
                  </a:lnTo>
                  <a:lnTo>
                    <a:pt x="10" y="125"/>
                  </a:lnTo>
                  <a:lnTo>
                    <a:pt x="9" y="122"/>
                  </a:lnTo>
                  <a:lnTo>
                    <a:pt x="8" y="115"/>
                  </a:lnTo>
                  <a:lnTo>
                    <a:pt x="6" y="111"/>
                  </a:lnTo>
                  <a:lnTo>
                    <a:pt x="3" y="106"/>
                  </a:lnTo>
                  <a:lnTo>
                    <a:pt x="2" y="105"/>
                  </a:lnTo>
                  <a:lnTo>
                    <a:pt x="2" y="103"/>
                  </a:lnTo>
                  <a:lnTo>
                    <a:pt x="1" y="102"/>
                  </a:lnTo>
                  <a:lnTo>
                    <a:pt x="0" y="99"/>
                  </a:lnTo>
                  <a:lnTo>
                    <a:pt x="1" y="97"/>
                  </a:lnTo>
                  <a:lnTo>
                    <a:pt x="5" y="94"/>
                  </a:lnTo>
                  <a:lnTo>
                    <a:pt x="7" y="91"/>
                  </a:lnTo>
                  <a:lnTo>
                    <a:pt x="7" y="88"/>
                  </a:lnTo>
                  <a:lnTo>
                    <a:pt x="3" y="81"/>
                  </a:lnTo>
                  <a:lnTo>
                    <a:pt x="3" y="78"/>
                  </a:lnTo>
                  <a:lnTo>
                    <a:pt x="4" y="76"/>
                  </a:lnTo>
                  <a:lnTo>
                    <a:pt x="6" y="73"/>
                  </a:lnTo>
                  <a:lnTo>
                    <a:pt x="3" y="68"/>
                  </a:lnTo>
                  <a:lnTo>
                    <a:pt x="4" y="66"/>
                  </a:lnTo>
                  <a:lnTo>
                    <a:pt x="7" y="62"/>
                  </a:lnTo>
                  <a:lnTo>
                    <a:pt x="8" y="60"/>
                  </a:lnTo>
                  <a:lnTo>
                    <a:pt x="9" y="58"/>
                  </a:lnTo>
                  <a:lnTo>
                    <a:pt x="8" y="52"/>
                  </a:lnTo>
                  <a:lnTo>
                    <a:pt x="8" y="49"/>
                  </a:lnTo>
                  <a:lnTo>
                    <a:pt x="9" y="44"/>
                  </a:lnTo>
                  <a:lnTo>
                    <a:pt x="9" y="41"/>
                  </a:lnTo>
                  <a:lnTo>
                    <a:pt x="12" y="36"/>
                  </a:lnTo>
                  <a:lnTo>
                    <a:pt x="11" y="35"/>
                  </a:lnTo>
                  <a:lnTo>
                    <a:pt x="6" y="25"/>
                  </a:lnTo>
                  <a:lnTo>
                    <a:pt x="0" y="1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6" name="Freeform 48">
              <a:extLst>
                <a:ext uri="{FF2B5EF4-FFF2-40B4-BE49-F238E27FC236}">
                  <a16:creationId xmlns:a16="http://schemas.microsoft.com/office/drawing/2014/main" id="{2A095A5C-A7B8-2849-1E39-204A30068CB3}"/>
                </a:ext>
              </a:extLst>
            </p:cNvPr>
            <p:cNvSpPr>
              <a:spLocks/>
            </p:cNvSpPr>
            <p:nvPr/>
          </p:nvSpPr>
          <p:spPr bwMode="auto">
            <a:xfrm>
              <a:off x="5716171" y="3181350"/>
              <a:ext cx="219075" cy="498475"/>
            </a:xfrm>
            <a:custGeom>
              <a:avLst/>
              <a:gdLst/>
              <a:ahLst/>
              <a:cxnLst>
                <a:cxn ang="0">
                  <a:pos x="101" y="57"/>
                </a:cxn>
                <a:cxn ang="0">
                  <a:pos x="110" y="71"/>
                </a:cxn>
                <a:cxn ang="0">
                  <a:pos x="117" y="91"/>
                </a:cxn>
                <a:cxn ang="0">
                  <a:pos x="115" y="128"/>
                </a:cxn>
                <a:cxn ang="0">
                  <a:pos x="116" y="157"/>
                </a:cxn>
                <a:cxn ang="0">
                  <a:pos x="117" y="175"/>
                </a:cxn>
                <a:cxn ang="0">
                  <a:pos x="125" y="201"/>
                </a:cxn>
                <a:cxn ang="0">
                  <a:pos x="123" y="214"/>
                </a:cxn>
                <a:cxn ang="0">
                  <a:pos x="137" y="229"/>
                </a:cxn>
                <a:cxn ang="0">
                  <a:pos x="135" y="245"/>
                </a:cxn>
                <a:cxn ang="0">
                  <a:pos x="112" y="276"/>
                </a:cxn>
                <a:cxn ang="0">
                  <a:pos x="94" y="296"/>
                </a:cxn>
                <a:cxn ang="0">
                  <a:pos x="83" y="298"/>
                </a:cxn>
                <a:cxn ang="0">
                  <a:pos x="76" y="300"/>
                </a:cxn>
                <a:cxn ang="0">
                  <a:pos x="73" y="301"/>
                </a:cxn>
                <a:cxn ang="0">
                  <a:pos x="66" y="303"/>
                </a:cxn>
                <a:cxn ang="0">
                  <a:pos x="60" y="306"/>
                </a:cxn>
                <a:cxn ang="0">
                  <a:pos x="54" y="307"/>
                </a:cxn>
                <a:cxn ang="0">
                  <a:pos x="47" y="313"/>
                </a:cxn>
                <a:cxn ang="0">
                  <a:pos x="41" y="311"/>
                </a:cxn>
                <a:cxn ang="0">
                  <a:pos x="31" y="314"/>
                </a:cxn>
                <a:cxn ang="0">
                  <a:pos x="28" y="304"/>
                </a:cxn>
                <a:cxn ang="0">
                  <a:pos x="21" y="302"/>
                </a:cxn>
                <a:cxn ang="0">
                  <a:pos x="12" y="299"/>
                </a:cxn>
                <a:cxn ang="0">
                  <a:pos x="8" y="283"/>
                </a:cxn>
                <a:cxn ang="0">
                  <a:pos x="10" y="270"/>
                </a:cxn>
                <a:cxn ang="0">
                  <a:pos x="7" y="251"/>
                </a:cxn>
                <a:cxn ang="0">
                  <a:pos x="3" y="242"/>
                </a:cxn>
                <a:cxn ang="0">
                  <a:pos x="9" y="231"/>
                </a:cxn>
                <a:cxn ang="0">
                  <a:pos x="11" y="222"/>
                </a:cxn>
                <a:cxn ang="0">
                  <a:pos x="19" y="222"/>
                </a:cxn>
                <a:cxn ang="0">
                  <a:pos x="23" y="206"/>
                </a:cxn>
                <a:cxn ang="0">
                  <a:pos x="36" y="195"/>
                </a:cxn>
                <a:cxn ang="0">
                  <a:pos x="54" y="173"/>
                </a:cxn>
                <a:cxn ang="0">
                  <a:pos x="58" y="168"/>
                </a:cxn>
                <a:cxn ang="0">
                  <a:pos x="58" y="154"/>
                </a:cxn>
                <a:cxn ang="0">
                  <a:pos x="44" y="143"/>
                </a:cxn>
                <a:cxn ang="0">
                  <a:pos x="38" y="135"/>
                </a:cxn>
                <a:cxn ang="0">
                  <a:pos x="40" y="109"/>
                </a:cxn>
                <a:cxn ang="0">
                  <a:pos x="34" y="81"/>
                </a:cxn>
                <a:cxn ang="0">
                  <a:pos x="27" y="63"/>
                </a:cxn>
                <a:cxn ang="0">
                  <a:pos x="4" y="44"/>
                </a:cxn>
                <a:cxn ang="0">
                  <a:pos x="6" y="25"/>
                </a:cxn>
                <a:cxn ang="0">
                  <a:pos x="16" y="35"/>
                </a:cxn>
                <a:cxn ang="0">
                  <a:pos x="33" y="47"/>
                </a:cxn>
                <a:cxn ang="0">
                  <a:pos x="52" y="54"/>
                </a:cxn>
                <a:cxn ang="0">
                  <a:pos x="64" y="32"/>
                </a:cxn>
                <a:cxn ang="0">
                  <a:pos x="69" y="10"/>
                </a:cxn>
                <a:cxn ang="0">
                  <a:pos x="89" y="0"/>
                </a:cxn>
                <a:cxn ang="0">
                  <a:pos x="103" y="10"/>
                </a:cxn>
                <a:cxn ang="0">
                  <a:pos x="103" y="35"/>
                </a:cxn>
              </a:cxnLst>
              <a:rect l="0" t="0" r="r" b="b"/>
              <a:pathLst>
                <a:path w="138" h="314">
                  <a:moveTo>
                    <a:pt x="103" y="45"/>
                  </a:moveTo>
                  <a:lnTo>
                    <a:pt x="103" y="49"/>
                  </a:lnTo>
                  <a:lnTo>
                    <a:pt x="101" y="57"/>
                  </a:lnTo>
                  <a:lnTo>
                    <a:pt x="102" y="65"/>
                  </a:lnTo>
                  <a:lnTo>
                    <a:pt x="105" y="68"/>
                  </a:lnTo>
                  <a:lnTo>
                    <a:pt x="110" y="71"/>
                  </a:lnTo>
                  <a:lnTo>
                    <a:pt x="116" y="79"/>
                  </a:lnTo>
                  <a:lnTo>
                    <a:pt x="119" y="85"/>
                  </a:lnTo>
                  <a:lnTo>
                    <a:pt x="117" y="91"/>
                  </a:lnTo>
                  <a:lnTo>
                    <a:pt x="109" y="103"/>
                  </a:lnTo>
                  <a:lnTo>
                    <a:pt x="107" y="107"/>
                  </a:lnTo>
                  <a:lnTo>
                    <a:pt x="115" y="128"/>
                  </a:lnTo>
                  <a:lnTo>
                    <a:pt x="120" y="145"/>
                  </a:lnTo>
                  <a:lnTo>
                    <a:pt x="119" y="150"/>
                  </a:lnTo>
                  <a:lnTo>
                    <a:pt x="116" y="157"/>
                  </a:lnTo>
                  <a:lnTo>
                    <a:pt x="115" y="163"/>
                  </a:lnTo>
                  <a:lnTo>
                    <a:pt x="115" y="168"/>
                  </a:lnTo>
                  <a:lnTo>
                    <a:pt x="117" y="175"/>
                  </a:lnTo>
                  <a:lnTo>
                    <a:pt x="124" y="195"/>
                  </a:lnTo>
                  <a:lnTo>
                    <a:pt x="126" y="198"/>
                  </a:lnTo>
                  <a:lnTo>
                    <a:pt x="125" y="201"/>
                  </a:lnTo>
                  <a:lnTo>
                    <a:pt x="122" y="207"/>
                  </a:lnTo>
                  <a:lnTo>
                    <a:pt x="120" y="209"/>
                  </a:lnTo>
                  <a:lnTo>
                    <a:pt x="123" y="214"/>
                  </a:lnTo>
                  <a:lnTo>
                    <a:pt x="130" y="220"/>
                  </a:lnTo>
                  <a:lnTo>
                    <a:pt x="135" y="224"/>
                  </a:lnTo>
                  <a:lnTo>
                    <a:pt x="137" y="229"/>
                  </a:lnTo>
                  <a:lnTo>
                    <a:pt x="138" y="233"/>
                  </a:lnTo>
                  <a:lnTo>
                    <a:pt x="138" y="238"/>
                  </a:lnTo>
                  <a:lnTo>
                    <a:pt x="135" y="245"/>
                  </a:lnTo>
                  <a:lnTo>
                    <a:pt x="132" y="252"/>
                  </a:lnTo>
                  <a:lnTo>
                    <a:pt x="123" y="262"/>
                  </a:lnTo>
                  <a:lnTo>
                    <a:pt x="112" y="276"/>
                  </a:lnTo>
                  <a:lnTo>
                    <a:pt x="100" y="290"/>
                  </a:lnTo>
                  <a:lnTo>
                    <a:pt x="99" y="294"/>
                  </a:lnTo>
                  <a:lnTo>
                    <a:pt x="94" y="296"/>
                  </a:lnTo>
                  <a:lnTo>
                    <a:pt x="87" y="298"/>
                  </a:lnTo>
                  <a:lnTo>
                    <a:pt x="86" y="300"/>
                  </a:lnTo>
                  <a:lnTo>
                    <a:pt x="83" y="298"/>
                  </a:lnTo>
                  <a:lnTo>
                    <a:pt x="80" y="300"/>
                  </a:lnTo>
                  <a:lnTo>
                    <a:pt x="79" y="301"/>
                  </a:lnTo>
                  <a:lnTo>
                    <a:pt x="76" y="300"/>
                  </a:lnTo>
                  <a:lnTo>
                    <a:pt x="75" y="299"/>
                  </a:lnTo>
                  <a:lnTo>
                    <a:pt x="75" y="294"/>
                  </a:lnTo>
                  <a:lnTo>
                    <a:pt x="73" y="301"/>
                  </a:lnTo>
                  <a:lnTo>
                    <a:pt x="72" y="303"/>
                  </a:lnTo>
                  <a:lnTo>
                    <a:pt x="68" y="303"/>
                  </a:lnTo>
                  <a:lnTo>
                    <a:pt x="66" y="303"/>
                  </a:lnTo>
                  <a:lnTo>
                    <a:pt x="66" y="306"/>
                  </a:lnTo>
                  <a:lnTo>
                    <a:pt x="62" y="303"/>
                  </a:lnTo>
                  <a:lnTo>
                    <a:pt x="60" y="306"/>
                  </a:lnTo>
                  <a:lnTo>
                    <a:pt x="57" y="307"/>
                  </a:lnTo>
                  <a:lnTo>
                    <a:pt x="54" y="309"/>
                  </a:lnTo>
                  <a:lnTo>
                    <a:pt x="54" y="307"/>
                  </a:lnTo>
                  <a:lnTo>
                    <a:pt x="51" y="309"/>
                  </a:lnTo>
                  <a:lnTo>
                    <a:pt x="48" y="310"/>
                  </a:lnTo>
                  <a:lnTo>
                    <a:pt x="47" y="313"/>
                  </a:lnTo>
                  <a:lnTo>
                    <a:pt x="45" y="311"/>
                  </a:lnTo>
                  <a:lnTo>
                    <a:pt x="41" y="313"/>
                  </a:lnTo>
                  <a:lnTo>
                    <a:pt x="41" y="311"/>
                  </a:lnTo>
                  <a:lnTo>
                    <a:pt x="37" y="314"/>
                  </a:lnTo>
                  <a:lnTo>
                    <a:pt x="34" y="314"/>
                  </a:lnTo>
                  <a:lnTo>
                    <a:pt x="31" y="314"/>
                  </a:lnTo>
                  <a:lnTo>
                    <a:pt x="28" y="311"/>
                  </a:lnTo>
                  <a:lnTo>
                    <a:pt x="27" y="308"/>
                  </a:lnTo>
                  <a:lnTo>
                    <a:pt x="28" y="304"/>
                  </a:lnTo>
                  <a:lnTo>
                    <a:pt x="24" y="304"/>
                  </a:lnTo>
                  <a:lnTo>
                    <a:pt x="21" y="306"/>
                  </a:lnTo>
                  <a:lnTo>
                    <a:pt x="21" y="302"/>
                  </a:lnTo>
                  <a:lnTo>
                    <a:pt x="18" y="303"/>
                  </a:lnTo>
                  <a:lnTo>
                    <a:pt x="15" y="300"/>
                  </a:lnTo>
                  <a:lnTo>
                    <a:pt x="12" y="299"/>
                  </a:lnTo>
                  <a:lnTo>
                    <a:pt x="10" y="296"/>
                  </a:lnTo>
                  <a:lnTo>
                    <a:pt x="8" y="291"/>
                  </a:lnTo>
                  <a:lnTo>
                    <a:pt x="8" y="283"/>
                  </a:lnTo>
                  <a:lnTo>
                    <a:pt x="9" y="278"/>
                  </a:lnTo>
                  <a:lnTo>
                    <a:pt x="9" y="273"/>
                  </a:lnTo>
                  <a:lnTo>
                    <a:pt x="10" y="270"/>
                  </a:lnTo>
                  <a:lnTo>
                    <a:pt x="7" y="264"/>
                  </a:lnTo>
                  <a:lnTo>
                    <a:pt x="5" y="259"/>
                  </a:lnTo>
                  <a:lnTo>
                    <a:pt x="7" y="251"/>
                  </a:lnTo>
                  <a:lnTo>
                    <a:pt x="7" y="246"/>
                  </a:lnTo>
                  <a:lnTo>
                    <a:pt x="5" y="243"/>
                  </a:lnTo>
                  <a:lnTo>
                    <a:pt x="3" y="242"/>
                  </a:lnTo>
                  <a:lnTo>
                    <a:pt x="3" y="238"/>
                  </a:lnTo>
                  <a:lnTo>
                    <a:pt x="5" y="234"/>
                  </a:lnTo>
                  <a:lnTo>
                    <a:pt x="9" y="231"/>
                  </a:lnTo>
                  <a:lnTo>
                    <a:pt x="9" y="228"/>
                  </a:lnTo>
                  <a:lnTo>
                    <a:pt x="9" y="224"/>
                  </a:lnTo>
                  <a:lnTo>
                    <a:pt x="11" y="222"/>
                  </a:lnTo>
                  <a:lnTo>
                    <a:pt x="15" y="223"/>
                  </a:lnTo>
                  <a:lnTo>
                    <a:pt x="16" y="224"/>
                  </a:lnTo>
                  <a:lnTo>
                    <a:pt x="19" y="222"/>
                  </a:lnTo>
                  <a:lnTo>
                    <a:pt x="21" y="216"/>
                  </a:lnTo>
                  <a:lnTo>
                    <a:pt x="22" y="210"/>
                  </a:lnTo>
                  <a:lnTo>
                    <a:pt x="23" y="206"/>
                  </a:lnTo>
                  <a:lnTo>
                    <a:pt x="25" y="210"/>
                  </a:lnTo>
                  <a:lnTo>
                    <a:pt x="26" y="210"/>
                  </a:lnTo>
                  <a:lnTo>
                    <a:pt x="36" y="195"/>
                  </a:lnTo>
                  <a:lnTo>
                    <a:pt x="43" y="187"/>
                  </a:lnTo>
                  <a:lnTo>
                    <a:pt x="48" y="179"/>
                  </a:lnTo>
                  <a:lnTo>
                    <a:pt x="54" y="173"/>
                  </a:lnTo>
                  <a:lnTo>
                    <a:pt x="59" y="174"/>
                  </a:lnTo>
                  <a:lnTo>
                    <a:pt x="59" y="169"/>
                  </a:lnTo>
                  <a:lnTo>
                    <a:pt x="58" y="168"/>
                  </a:lnTo>
                  <a:lnTo>
                    <a:pt x="56" y="165"/>
                  </a:lnTo>
                  <a:lnTo>
                    <a:pt x="57" y="160"/>
                  </a:lnTo>
                  <a:lnTo>
                    <a:pt x="58" y="154"/>
                  </a:lnTo>
                  <a:lnTo>
                    <a:pt x="56" y="151"/>
                  </a:lnTo>
                  <a:lnTo>
                    <a:pt x="49" y="149"/>
                  </a:lnTo>
                  <a:lnTo>
                    <a:pt x="44" y="143"/>
                  </a:lnTo>
                  <a:lnTo>
                    <a:pt x="41" y="142"/>
                  </a:lnTo>
                  <a:lnTo>
                    <a:pt x="40" y="139"/>
                  </a:lnTo>
                  <a:lnTo>
                    <a:pt x="38" y="135"/>
                  </a:lnTo>
                  <a:lnTo>
                    <a:pt x="37" y="127"/>
                  </a:lnTo>
                  <a:lnTo>
                    <a:pt x="40" y="115"/>
                  </a:lnTo>
                  <a:lnTo>
                    <a:pt x="40" y="109"/>
                  </a:lnTo>
                  <a:lnTo>
                    <a:pt x="37" y="99"/>
                  </a:lnTo>
                  <a:lnTo>
                    <a:pt x="34" y="89"/>
                  </a:lnTo>
                  <a:lnTo>
                    <a:pt x="34" y="81"/>
                  </a:lnTo>
                  <a:lnTo>
                    <a:pt x="35" y="75"/>
                  </a:lnTo>
                  <a:lnTo>
                    <a:pt x="30" y="66"/>
                  </a:lnTo>
                  <a:lnTo>
                    <a:pt x="27" y="63"/>
                  </a:lnTo>
                  <a:lnTo>
                    <a:pt x="18" y="59"/>
                  </a:lnTo>
                  <a:lnTo>
                    <a:pt x="12" y="55"/>
                  </a:lnTo>
                  <a:lnTo>
                    <a:pt x="4" y="44"/>
                  </a:lnTo>
                  <a:lnTo>
                    <a:pt x="0" y="36"/>
                  </a:lnTo>
                  <a:lnTo>
                    <a:pt x="0" y="36"/>
                  </a:lnTo>
                  <a:lnTo>
                    <a:pt x="6" y="25"/>
                  </a:lnTo>
                  <a:lnTo>
                    <a:pt x="7" y="23"/>
                  </a:lnTo>
                  <a:lnTo>
                    <a:pt x="10" y="25"/>
                  </a:lnTo>
                  <a:lnTo>
                    <a:pt x="16" y="35"/>
                  </a:lnTo>
                  <a:lnTo>
                    <a:pt x="21" y="45"/>
                  </a:lnTo>
                  <a:lnTo>
                    <a:pt x="24" y="46"/>
                  </a:lnTo>
                  <a:lnTo>
                    <a:pt x="33" y="47"/>
                  </a:lnTo>
                  <a:lnTo>
                    <a:pt x="43" y="44"/>
                  </a:lnTo>
                  <a:lnTo>
                    <a:pt x="50" y="52"/>
                  </a:lnTo>
                  <a:lnTo>
                    <a:pt x="52" y="54"/>
                  </a:lnTo>
                  <a:lnTo>
                    <a:pt x="55" y="48"/>
                  </a:lnTo>
                  <a:lnTo>
                    <a:pt x="63" y="40"/>
                  </a:lnTo>
                  <a:lnTo>
                    <a:pt x="64" y="32"/>
                  </a:lnTo>
                  <a:lnTo>
                    <a:pt x="64" y="24"/>
                  </a:lnTo>
                  <a:lnTo>
                    <a:pt x="66" y="17"/>
                  </a:lnTo>
                  <a:lnTo>
                    <a:pt x="69" y="10"/>
                  </a:lnTo>
                  <a:lnTo>
                    <a:pt x="74" y="3"/>
                  </a:lnTo>
                  <a:lnTo>
                    <a:pt x="86" y="1"/>
                  </a:lnTo>
                  <a:lnTo>
                    <a:pt x="89" y="0"/>
                  </a:lnTo>
                  <a:lnTo>
                    <a:pt x="93" y="0"/>
                  </a:lnTo>
                  <a:lnTo>
                    <a:pt x="99" y="8"/>
                  </a:lnTo>
                  <a:lnTo>
                    <a:pt x="103" y="10"/>
                  </a:lnTo>
                  <a:lnTo>
                    <a:pt x="108" y="15"/>
                  </a:lnTo>
                  <a:lnTo>
                    <a:pt x="109" y="20"/>
                  </a:lnTo>
                  <a:lnTo>
                    <a:pt x="103" y="35"/>
                  </a:lnTo>
                  <a:lnTo>
                    <a:pt x="103" y="41"/>
                  </a:lnTo>
                  <a:lnTo>
                    <a:pt x="103" y="4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7" name="Freeform 49">
              <a:extLst>
                <a:ext uri="{FF2B5EF4-FFF2-40B4-BE49-F238E27FC236}">
                  <a16:creationId xmlns:a16="http://schemas.microsoft.com/office/drawing/2014/main" id="{8B398E8D-A009-77F1-EFD9-6BCEBD894EAA}"/>
                </a:ext>
              </a:extLst>
            </p:cNvPr>
            <p:cNvSpPr>
              <a:spLocks/>
            </p:cNvSpPr>
            <p:nvPr/>
          </p:nvSpPr>
          <p:spPr bwMode="auto">
            <a:xfrm>
              <a:off x="5479634" y="4070350"/>
              <a:ext cx="163513" cy="79375"/>
            </a:xfrm>
            <a:custGeom>
              <a:avLst/>
              <a:gdLst/>
              <a:ahLst/>
              <a:cxnLst>
                <a:cxn ang="0">
                  <a:pos x="3" y="28"/>
                </a:cxn>
                <a:cxn ang="0">
                  <a:pos x="5" y="27"/>
                </a:cxn>
                <a:cxn ang="0">
                  <a:pos x="7" y="28"/>
                </a:cxn>
                <a:cxn ang="0">
                  <a:pos x="8" y="30"/>
                </a:cxn>
                <a:cxn ang="0">
                  <a:pos x="9" y="32"/>
                </a:cxn>
                <a:cxn ang="0">
                  <a:pos x="13" y="29"/>
                </a:cxn>
                <a:cxn ang="0">
                  <a:pos x="14" y="27"/>
                </a:cxn>
                <a:cxn ang="0">
                  <a:pos x="18" y="28"/>
                </a:cxn>
                <a:cxn ang="0">
                  <a:pos x="19" y="30"/>
                </a:cxn>
                <a:cxn ang="0">
                  <a:pos x="25" y="29"/>
                </a:cxn>
                <a:cxn ang="0">
                  <a:pos x="27" y="28"/>
                </a:cxn>
                <a:cxn ang="0">
                  <a:pos x="35" y="26"/>
                </a:cxn>
                <a:cxn ang="0">
                  <a:pos x="38" y="24"/>
                </a:cxn>
                <a:cxn ang="0">
                  <a:pos x="43" y="25"/>
                </a:cxn>
                <a:cxn ang="0">
                  <a:pos x="43" y="27"/>
                </a:cxn>
                <a:cxn ang="0">
                  <a:pos x="47" y="28"/>
                </a:cxn>
                <a:cxn ang="0">
                  <a:pos x="47" y="24"/>
                </a:cxn>
                <a:cxn ang="0">
                  <a:pos x="46" y="21"/>
                </a:cxn>
                <a:cxn ang="0">
                  <a:pos x="45" y="14"/>
                </a:cxn>
                <a:cxn ang="0">
                  <a:pos x="51" y="10"/>
                </a:cxn>
                <a:cxn ang="0">
                  <a:pos x="53" y="7"/>
                </a:cxn>
                <a:cxn ang="0">
                  <a:pos x="59" y="6"/>
                </a:cxn>
                <a:cxn ang="0">
                  <a:pos x="62" y="7"/>
                </a:cxn>
                <a:cxn ang="0">
                  <a:pos x="68" y="7"/>
                </a:cxn>
                <a:cxn ang="0">
                  <a:pos x="81" y="3"/>
                </a:cxn>
                <a:cxn ang="0">
                  <a:pos x="95" y="3"/>
                </a:cxn>
                <a:cxn ang="0">
                  <a:pos x="98" y="6"/>
                </a:cxn>
                <a:cxn ang="0">
                  <a:pos x="98" y="12"/>
                </a:cxn>
                <a:cxn ang="0">
                  <a:pos x="103" y="19"/>
                </a:cxn>
                <a:cxn ang="0">
                  <a:pos x="99" y="25"/>
                </a:cxn>
                <a:cxn ang="0">
                  <a:pos x="94" y="24"/>
                </a:cxn>
                <a:cxn ang="0">
                  <a:pos x="91" y="26"/>
                </a:cxn>
                <a:cxn ang="0">
                  <a:pos x="95" y="28"/>
                </a:cxn>
                <a:cxn ang="0">
                  <a:pos x="91" y="30"/>
                </a:cxn>
                <a:cxn ang="0">
                  <a:pos x="92" y="35"/>
                </a:cxn>
                <a:cxn ang="0">
                  <a:pos x="89" y="40"/>
                </a:cxn>
                <a:cxn ang="0">
                  <a:pos x="86" y="45"/>
                </a:cxn>
                <a:cxn ang="0">
                  <a:pos x="79" y="46"/>
                </a:cxn>
                <a:cxn ang="0">
                  <a:pos x="71" y="46"/>
                </a:cxn>
                <a:cxn ang="0">
                  <a:pos x="65" y="49"/>
                </a:cxn>
                <a:cxn ang="0">
                  <a:pos x="60" y="48"/>
                </a:cxn>
                <a:cxn ang="0">
                  <a:pos x="51" y="47"/>
                </a:cxn>
                <a:cxn ang="0">
                  <a:pos x="38" y="44"/>
                </a:cxn>
                <a:cxn ang="0">
                  <a:pos x="35" y="40"/>
                </a:cxn>
                <a:cxn ang="0">
                  <a:pos x="29" y="38"/>
                </a:cxn>
                <a:cxn ang="0">
                  <a:pos x="25" y="38"/>
                </a:cxn>
                <a:cxn ang="0">
                  <a:pos x="22" y="38"/>
                </a:cxn>
                <a:cxn ang="0">
                  <a:pos x="17" y="42"/>
                </a:cxn>
                <a:cxn ang="0">
                  <a:pos x="13" y="39"/>
                </a:cxn>
                <a:cxn ang="0">
                  <a:pos x="8" y="41"/>
                </a:cxn>
                <a:cxn ang="0">
                  <a:pos x="5" y="37"/>
                </a:cxn>
                <a:cxn ang="0">
                  <a:pos x="2" y="35"/>
                </a:cxn>
                <a:cxn ang="0">
                  <a:pos x="2" y="30"/>
                </a:cxn>
              </a:cxnLst>
              <a:rect l="0" t="0" r="r" b="b"/>
              <a:pathLst>
                <a:path w="103" h="50">
                  <a:moveTo>
                    <a:pt x="1" y="27"/>
                  </a:moveTo>
                  <a:lnTo>
                    <a:pt x="3" y="28"/>
                  </a:lnTo>
                  <a:lnTo>
                    <a:pt x="4" y="26"/>
                  </a:lnTo>
                  <a:lnTo>
                    <a:pt x="5" y="27"/>
                  </a:lnTo>
                  <a:lnTo>
                    <a:pt x="6" y="27"/>
                  </a:lnTo>
                  <a:lnTo>
                    <a:pt x="7" y="28"/>
                  </a:lnTo>
                  <a:lnTo>
                    <a:pt x="8" y="29"/>
                  </a:lnTo>
                  <a:lnTo>
                    <a:pt x="8" y="30"/>
                  </a:lnTo>
                  <a:lnTo>
                    <a:pt x="9" y="31"/>
                  </a:lnTo>
                  <a:lnTo>
                    <a:pt x="9" y="32"/>
                  </a:lnTo>
                  <a:lnTo>
                    <a:pt x="10" y="32"/>
                  </a:lnTo>
                  <a:lnTo>
                    <a:pt x="13" y="29"/>
                  </a:lnTo>
                  <a:lnTo>
                    <a:pt x="12" y="27"/>
                  </a:lnTo>
                  <a:lnTo>
                    <a:pt x="14" y="27"/>
                  </a:lnTo>
                  <a:lnTo>
                    <a:pt x="15" y="27"/>
                  </a:lnTo>
                  <a:lnTo>
                    <a:pt x="18" y="28"/>
                  </a:lnTo>
                  <a:lnTo>
                    <a:pt x="19" y="29"/>
                  </a:lnTo>
                  <a:lnTo>
                    <a:pt x="19" y="30"/>
                  </a:lnTo>
                  <a:lnTo>
                    <a:pt x="23" y="30"/>
                  </a:lnTo>
                  <a:lnTo>
                    <a:pt x="25" y="29"/>
                  </a:lnTo>
                  <a:lnTo>
                    <a:pt x="25" y="28"/>
                  </a:lnTo>
                  <a:lnTo>
                    <a:pt x="27" y="28"/>
                  </a:lnTo>
                  <a:lnTo>
                    <a:pt x="28" y="26"/>
                  </a:lnTo>
                  <a:lnTo>
                    <a:pt x="35" y="26"/>
                  </a:lnTo>
                  <a:lnTo>
                    <a:pt x="36" y="25"/>
                  </a:lnTo>
                  <a:lnTo>
                    <a:pt x="38" y="24"/>
                  </a:lnTo>
                  <a:lnTo>
                    <a:pt x="39" y="25"/>
                  </a:lnTo>
                  <a:lnTo>
                    <a:pt x="43" y="25"/>
                  </a:lnTo>
                  <a:lnTo>
                    <a:pt x="44" y="26"/>
                  </a:lnTo>
                  <a:lnTo>
                    <a:pt x="43" y="27"/>
                  </a:lnTo>
                  <a:lnTo>
                    <a:pt x="46" y="29"/>
                  </a:lnTo>
                  <a:lnTo>
                    <a:pt x="47" y="28"/>
                  </a:lnTo>
                  <a:lnTo>
                    <a:pt x="47" y="25"/>
                  </a:lnTo>
                  <a:lnTo>
                    <a:pt x="47" y="24"/>
                  </a:lnTo>
                  <a:lnTo>
                    <a:pt x="45" y="24"/>
                  </a:lnTo>
                  <a:lnTo>
                    <a:pt x="46" y="21"/>
                  </a:lnTo>
                  <a:lnTo>
                    <a:pt x="43" y="16"/>
                  </a:lnTo>
                  <a:lnTo>
                    <a:pt x="45" y="14"/>
                  </a:lnTo>
                  <a:lnTo>
                    <a:pt x="51" y="11"/>
                  </a:lnTo>
                  <a:lnTo>
                    <a:pt x="51" y="10"/>
                  </a:lnTo>
                  <a:lnTo>
                    <a:pt x="52" y="7"/>
                  </a:lnTo>
                  <a:lnTo>
                    <a:pt x="53" y="7"/>
                  </a:lnTo>
                  <a:lnTo>
                    <a:pt x="55" y="8"/>
                  </a:lnTo>
                  <a:lnTo>
                    <a:pt x="59" y="6"/>
                  </a:lnTo>
                  <a:lnTo>
                    <a:pt x="60" y="6"/>
                  </a:lnTo>
                  <a:lnTo>
                    <a:pt x="62" y="7"/>
                  </a:lnTo>
                  <a:lnTo>
                    <a:pt x="65" y="8"/>
                  </a:lnTo>
                  <a:lnTo>
                    <a:pt x="68" y="7"/>
                  </a:lnTo>
                  <a:lnTo>
                    <a:pt x="73" y="0"/>
                  </a:lnTo>
                  <a:lnTo>
                    <a:pt x="81" y="3"/>
                  </a:lnTo>
                  <a:lnTo>
                    <a:pt x="87" y="5"/>
                  </a:lnTo>
                  <a:lnTo>
                    <a:pt x="95" y="3"/>
                  </a:lnTo>
                  <a:lnTo>
                    <a:pt x="98" y="5"/>
                  </a:lnTo>
                  <a:lnTo>
                    <a:pt x="98" y="6"/>
                  </a:lnTo>
                  <a:lnTo>
                    <a:pt x="98" y="7"/>
                  </a:lnTo>
                  <a:lnTo>
                    <a:pt x="98" y="12"/>
                  </a:lnTo>
                  <a:lnTo>
                    <a:pt x="99" y="14"/>
                  </a:lnTo>
                  <a:lnTo>
                    <a:pt x="103" y="19"/>
                  </a:lnTo>
                  <a:lnTo>
                    <a:pt x="99" y="22"/>
                  </a:lnTo>
                  <a:lnTo>
                    <a:pt x="99" y="25"/>
                  </a:lnTo>
                  <a:lnTo>
                    <a:pt x="95" y="25"/>
                  </a:lnTo>
                  <a:lnTo>
                    <a:pt x="94" y="24"/>
                  </a:lnTo>
                  <a:lnTo>
                    <a:pt x="92" y="24"/>
                  </a:lnTo>
                  <a:lnTo>
                    <a:pt x="91" y="26"/>
                  </a:lnTo>
                  <a:lnTo>
                    <a:pt x="94" y="26"/>
                  </a:lnTo>
                  <a:lnTo>
                    <a:pt x="95" y="28"/>
                  </a:lnTo>
                  <a:lnTo>
                    <a:pt x="94" y="30"/>
                  </a:lnTo>
                  <a:lnTo>
                    <a:pt x="91" y="30"/>
                  </a:lnTo>
                  <a:lnTo>
                    <a:pt x="91" y="34"/>
                  </a:lnTo>
                  <a:lnTo>
                    <a:pt x="92" y="35"/>
                  </a:lnTo>
                  <a:lnTo>
                    <a:pt x="91" y="38"/>
                  </a:lnTo>
                  <a:lnTo>
                    <a:pt x="89" y="40"/>
                  </a:lnTo>
                  <a:lnTo>
                    <a:pt x="85" y="41"/>
                  </a:lnTo>
                  <a:lnTo>
                    <a:pt x="86" y="45"/>
                  </a:lnTo>
                  <a:lnTo>
                    <a:pt x="80" y="44"/>
                  </a:lnTo>
                  <a:lnTo>
                    <a:pt x="79" y="46"/>
                  </a:lnTo>
                  <a:lnTo>
                    <a:pt x="74" y="45"/>
                  </a:lnTo>
                  <a:lnTo>
                    <a:pt x="71" y="46"/>
                  </a:lnTo>
                  <a:lnTo>
                    <a:pt x="66" y="50"/>
                  </a:lnTo>
                  <a:lnTo>
                    <a:pt x="65" y="49"/>
                  </a:lnTo>
                  <a:lnTo>
                    <a:pt x="61" y="49"/>
                  </a:lnTo>
                  <a:lnTo>
                    <a:pt x="60" y="48"/>
                  </a:lnTo>
                  <a:lnTo>
                    <a:pt x="54" y="47"/>
                  </a:lnTo>
                  <a:lnTo>
                    <a:pt x="51" y="47"/>
                  </a:lnTo>
                  <a:lnTo>
                    <a:pt x="46" y="46"/>
                  </a:lnTo>
                  <a:lnTo>
                    <a:pt x="38" y="44"/>
                  </a:lnTo>
                  <a:lnTo>
                    <a:pt x="36" y="40"/>
                  </a:lnTo>
                  <a:lnTo>
                    <a:pt x="35" y="40"/>
                  </a:lnTo>
                  <a:lnTo>
                    <a:pt x="35" y="36"/>
                  </a:lnTo>
                  <a:lnTo>
                    <a:pt x="29" y="38"/>
                  </a:lnTo>
                  <a:lnTo>
                    <a:pt x="28" y="37"/>
                  </a:lnTo>
                  <a:lnTo>
                    <a:pt x="25" y="38"/>
                  </a:lnTo>
                  <a:lnTo>
                    <a:pt x="24" y="38"/>
                  </a:lnTo>
                  <a:lnTo>
                    <a:pt x="22" y="38"/>
                  </a:lnTo>
                  <a:lnTo>
                    <a:pt x="20" y="42"/>
                  </a:lnTo>
                  <a:lnTo>
                    <a:pt x="17" y="42"/>
                  </a:lnTo>
                  <a:lnTo>
                    <a:pt x="13" y="40"/>
                  </a:lnTo>
                  <a:lnTo>
                    <a:pt x="13" y="39"/>
                  </a:lnTo>
                  <a:lnTo>
                    <a:pt x="12" y="38"/>
                  </a:lnTo>
                  <a:lnTo>
                    <a:pt x="8" y="41"/>
                  </a:lnTo>
                  <a:lnTo>
                    <a:pt x="5" y="38"/>
                  </a:lnTo>
                  <a:lnTo>
                    <a:pt x="5" y="37"/>
                  </a:lnTo>
                  <a:lnTo>
                    <a:pt x="1" y="37"/>
                  </a:lnTo>
                  <a:lnTo>
                    <a:pt x="2" y="35"/>
                  </a:lnTo>
                  <a:lnTo>
                    <a:pt x="0" y="33"/>
                  </a:lnTo>
                  <a:lnTo>
                    <a:pt x="2" y="30"/>
                  </a:lnTo>
                  <a:lnTo>
                    <a:pt x="1" y="2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8" name="Freeform 50">
              <a:extLst>
                <a:ext uri="{FF2B5EF4-FFF2-40B4-BE49-F238E27FC236}">
                  <a16:creationId xmlns:a16="http://schemas.microsoft.com/office/drawing/2014/main" id="{BAE63A72-41EB-3258-B6A7-381FB1AFDB06}"/>
                </a:ext>
              </a:extLst>
            </p:cNvPr>
            <p:cNvSpPr>
              <a:spLocks/>
            </p:cNvSpPr>
            <p:nvPr/>
          </p:nvSpPr>
          <p:spPr bwMode="auto">
            <a:xfrm>
              <a:off x="5538371" y="4002088"/>
              <a:ext cx="136525" cy="80963"/>
            </a:xfrm>
            <a:custGeom>
              <a:avLst/>
              <a:gdLst/>
              <a:ahLst/>
              <a:cxnLst>
                <a:cxn ang="0">
                  <a:pos x="18" y="43"/>
                </a:cxn>
                <a:cxn ang="0">
                  <a:pos x="15" y="40"/>
                </a:cxn>
                <a:cxn ang="0">
                  <a:pos x="8" y="35"/>
                </a:cxn>
                <a:cxn ang="0">
                  <a:pos x="4" y="29"/>
                </a:cxn>
                <a:cxn ang="0">
                  <a:pos x="4" y="22"/>
                </a:cxn>
                <a:cxn ang="0">
                  <a:pos x="0" y="17"/>
                </a:cxn>
                <a:cxn ang="0">
                  <a:pos x="4" y="14"/>
                </a:cxn>
                <a:cxn ang="0">
                  <a:pos x="10" y="11"/>
                </a:cxn>
                <a:cxn ang="0">
                  <a:pos x="15" y="8"/>
                </a:cxn>
                <a:cxn ang="0">
                  <a:pos x="21" y="6"/>
                </a:cxn>
                <a:cxn ang="0">
                  <a:pos x="26" y="3"/>
                </a:cxn>
                <a:cxn ang="0">
                  <a:pos x="29" y="0"/>
                </a:cxn>
                <a:cxn ang="0">
                  <a:pos x="33" y="4"/>
                </a:cxn>
                <a:cxn ang="0">
                  <a:pos x="36" y="2"/>
                </a:cxn>
                <a:cxn ang="0">
                  <a:pos x="38" y="0"/>
                </a:cxn>
                <a:cxn ang="0">
                  <a:pos x="42" y="5"/>
                </a:cxn>
                <a:cxn ang="0">
                  <a:pos x="47" y="7"/>
                </a:cxn>
                <a:cxn ang="0">
                  <a:pos x="52" y="8"/>
                </a:cxn>
                <a:cxn ang="0">
                  <a:pos x="55" y="9"/>
                </a:cxn>
                <a:cxn ang="0">
                  <a:pos x="52" y="12"/>
                </a:cxn>
                <a:cxn ang="0">
                  <a:pos x="58" y="19"/>
                </a:cxn>
                <a:cxn ang="0">
                  <a:pos x="61" y="13"/>
                </a:cxn>
                <a:cxn ang="0">
                  <a:pos x="65" y="14"/>
                </a:cxn>
                <a:cxn ang="0">
                  <a:pos x="70" y="18"/>
                </a:cxn>
                <a:cxn ang="0">
                  <a:pos x="72" y="21"/>
                </a:cxn>
                <a:cxn ang="0">
                  <a:pos x="77" y="21"/>
                </a:cxn>
                <a:cxn ang="0">
                  <a:pos x="83" y="27"/>
                </a:cxn>
                <a:cxn ang="0">
                  <a:pos x="86" y="30"/>
                </a:cxn>
                <a:cxn ang="0">
                  <a:pos x="84" y="31"/>
                </a:cxn>
                <a:cxn ang="0">
                  <a:pos x="82" y="32"/>
                </a:cxn>
                <a:cxn ang="0">
                  <a:pos x="80" y="34"/>
                </a:cxn>
                <a:cxn ang="0">
                  <a:pos x="79" y="35"/>
                </a:cxn>
                <a:cxn ang="0">
                  <a:pos x="77" y="37"/>
                </a:cxn>
                <a:cxn ang="0">
                  <a:pos x="77" y="40"/>
                </a:cxn>
                <a:cxn ang="0">
                  <a:pos x="74" y="41"/>
                </a:cxn>
                <a:cxn ang="0">
                  <a:pos x="73" y="43"/>
                </a:cxn>
                <a:cxn ang="0">
                  <a:pos x="72" y="43"/>
                </a:cxn>
                <a:cxn ang="0">
                  <a:pos x="70" y="44"/>
                </a:cxn>
                <a:cxn ang="0">
                  <a:pos x="68" y="45"/>
                </a:cxn>
                <a:cxn ang="0">
                  <a:pos x="67" y="45"/>
                </a:cxn>
                <a:cxn ang="0">
                  <a:pos x="65" y="44"/>
                </a:cxn>
                <a:cxn ang="0">
                  <a:pos x="63" y="45"/>
                </a:cxn>
                <a:cxn ang="0">
                  <a:pos x="62" y="47"/>
                </a:cxn>
                <a:cxn ang="0">
                  <a:pos x="61" y="48"/>
                </a:cxn>
                <a:cxn ang="0">
                  <a:pos x="44" y="46"/>
                </a:cxn>
                <a:cxn ang="0">
                  <a:pos x="28" y="51"/>
                </a:cxn>
                <a:cxn ang="0">
                  <a:pos x="22" y="49"/>
                </a:cxn>
              </a:cxnLst>
              <a:rect l="0" t="0" r="r" b="b"/>
              <a:pathLst>
                <a:path w="86" h="51">
                  <a:moveTo>
                    <a:pt x="22" y="49"/>
                  </a:moveTo>
                  <a:lnTo>
                    <a:pt x="19" y="43"/>
                  </a:lnTo>
                  <a:lnTo>
                    <a:pt x="18" y="43"/>
                  </a:lnTo>
                  <a:lnTo>
                    <a:pt x="17" y="41"/>
                  </a:lnTo>
                  <a:lnTo>
                    <a:pt x="16" y="42"/>
                  </a:lnTo>
                  <a:lnTo>
                    <a:pt x="15" y="40"/>
                  </a:lnTo>
                  <a:lnTo>
                    <a:pt x="12" y="39"/>
                  </a:lnTo>
                  <a:lnTo>
                    <a:pt x="9" y="34"/>
                  </a:lnTo>
                  <a:lnTo>
                    <a:pt x="8" y="35"/>
                  </a:lnTo>
                  <a:lnTo>
                    <a:pt x="5" y="32"/>
                  </a:lnTo>
                  <a:lnTo>
                    <a:pt x="4" y="31"/>
                  </a:lnTo>
                  <a:lnTo>
                    <a:pt x="4" y="29"/>
                  </a:lnTo>
                  <a:lnTo>
                    <a:pt x="2" y="28"/>
                  </a:lnTo>
                  <a:lnTo>
                    <a:pt x="3" y="24"/>
                  </a:lnTo>
                  <a:lnTo>
                    <a:pt x="4" y="22"/>
                  </a:lnTo>
                  <a:lnTo>
                    <a:pt x="1" y="21"/>
                  </a:lnTo>
                  <a:lnTo>
                    <a:pt x="0" y="18"/>
                  </a:lnTo>
                  <a:lnTo>
                    <a:pt x="0" y="17"/>
                  </a:lnTo>
                  <a:lnTo>
                    <a:pt x="1" y="15"/>
                  </a:lnTo>
                  <a:lnTo>
                    <a:pt x="3" y="14"/>
                  </a:lnTo>
                  <a:lnTo>
                    <a:pt x="4" y="14"/>
                  </a:lnTo>
                  <a:lnTo>
                    <a:pt x="7" y="12"/>
                  </a:lnTo>
                  <a:lnTo>
                    <a:pt x="10" y="12"/>
                  </a:lnTo>
                  <a:lnTo>
                    <a:pt x="10" y="11"/>
                  </a:lnTo>
                  <a:lnTo>
                    <a:pt x="12" y="11"/>
                  </a:lnTo>
                  <a:lnTo>
                    <a:pt x="13" y="8"/>
                  </a:lnTo>
                  <a:lnTo>
                    <a:pt x="15" y="8"/>
                  </a:lnTo>
                  <a:lnTo>
                    <a:pt x="16" y="8"/>
                  </a:lnTo>
                  <a:lnTo>
                    <a:pt x="17" y="6"/>
                  </a:lnTo>
                  <a:lnTo>
                    <a:pt x="21" y="6"/>
                  </a:lnTo>
                  <a:lnTo>
                    <a:pt x="22" y="5"/>
                  </a:lnTo>
                  <a:lnTo>
                    <a:pt x="25" y="4"/>
                  </a:lnTo>
                  <a:lnTo>
                    <a:pt x="26" y="3"/>
                  </a:lnTo>
                  <a:lnTo>
                    <a:pt x="28" y="2"/>
                  </a:lnTo>
                  <a:lnTo>
                    <a:pt x="26" y="0"/>
                  </a:lnTo>
                  <a:lnTo>
                    <a:pt x="29" y="0"/>
                  </a:lnTo>
                  <a:lnTo>
                    <a:pt x="31" y="1"/>
                  </a:lnTo>
                  <a:lnTo>
                    <a:pt x="31" y="3"/>
                  </a:lnTo>
                  <a:lnTo>
                    <a:pt x="33" y="4"/>
                  </a:lnTo>
                  <a:lnTo>
                    <a:pt x="34" y="3"/>
                  </a:lnTo>
                  <a:lnTo>
                    <a:pt x="36" y="3"/>
                  </a:lnTo>
                  <a:lnTo>
                    <a:pt x="36" y="2"/>
                  </a:lnTo>
                  <a:lnTo>
                    <a:pt x="35" y="1"/>
                  </a:lnTo>
                  <a:lnTo>
                    <a:pt x="36" y="0"/>
                  </a:lnTo>
                  <a:lnTo>
                    <a:pt x="38" y="0"/>
                  </a:lnTo>
                  <a:lnTo>
                    <a:pt x="39" y="1"/>
                  </a:lnTo>
                  <a:lnTo>
                    <a:pt x="40" y="3"/>
                  </a:lnTo>
                  <a:lnTo>
                    <a:pt x="42" y="5"/>
                  </a:lnTo>
                  <a:lnTo>
                    <a:pt x="43" y="5"/>
                  </a:lnTo>
                  <a:lnTo>
                    <a:pt x="47" y="6"/>
                  </a:lnTo>
                  <a:lnTo>
                    <a:pt x="47" y="7"/>
                  </a:lnTo>
                  <a:lnTo>
                    <a:pt x="49" y="7"/>
                  </a:lnTo>
                  <a:lnTo>
                    <a:pt x="49" y="8"/>
                  </a:lnTo>
                  <a:lnTo>
                    <a:pt x="52" y="8"/>
                  </a:lnTo>
                  <a:lnTo>
                    <a:pt x="52" y="7"/>
                  </a:lnTo>
                  <a:lnTo>
                    <a:pt x="53" y="8"/>
                  </a:lnTo>
                  <a:lnTo>
                    <a:pt x="55" y="9"/>
                  </a:lnTo>
                  <a:lnTo>
                    <a:pt x="54" y="10"/>
                  </a:lnTo>
                  <a:lnTo>
                    <a:pt x="53" y="11"/>
                  </a:lnTo>
                  <a:lnTo>
                    <a:pt x="52" y="12"/>
                  </a:lnTo>
                  <a:lnTo>
                    <a:pt x="55" y="15"/>
                  </a:lnTo>
                  <a:lnTo>
                    <a:pt x="56" y="18"/>
                  </a:lnTo>
                  <a:lnTo>
                    <a:pt x="58" y="19"/>
                  </a:lnTo>
                  <a:lnTo>
                    <a:pt x="60" y="17"/>
                  </a:lnTo>
                  <a:lnTo>
                    <a:pt x="62" y="16"/>
                  </a:lnTo>
                  <a:lnTo>
                    <a:pt x="61" y="13"/>
                  </a:lnTo>
                  <a:lnTo>
                    <a:pt x="61" y="12"/>
                  </a:lnTo>
                  <a:lnTo>
                    <a:pt x="62" y="12"/>
                  </a:lnTo>
                  <a:lnTo>
                    <a:pt x="65" y="14"/>
                  </a:lnTo>
                  <a:lnTo>
                    <a:pt x="67" y="15"/>
                  </a:lnTo>
                  <a:lnTo>
                    <a:pt x="71" y="15"/>
                  </a:lnTo>
                  <a:lnTo>
                    <a:pt x="70" y="18"/>
                  </a:lnTo>
                  <a:lnTo>
                    <a:pt x="72" y="17"/>
                  </a:lnTo>
                  <a:lnTo>
                    <a:pt x="72" y="19"/>
                  </a:lnTo>
                  <a:lnTo>
                    <a:pt x="72" y="21"/>
                  </a:lnTo>
                  <a:lnTo>
                    <a:pt x="74" y="21"/>
                  </a:lnTo>
                  <a:lnTo>
                    <a:pt x="76" y="20"/>
                  </a:lnTo>
                  <a:lnTo>
                    <a:pt x="77" y="21"/>
                  </a:lnTo>
                  <a:lnTo>
                    <a:pt x="82" y="23"/>
                  </a:lnTo>
                  <a:lnTo>
                    <a:pt x="82" y="25"/>
                  </a:lnTo>
                  <a:lnTo>
                    <a:pt x="83" y="27"/>
                  </a:lnTo>
                  <a:lnTo>
                    <a:pt x="85" y="28"/>
                  </a:lnTo>
                  <a:lnTo>
                    <a:pt x="86" y="31"/>
                  </a:lnTo>
                  <a:lnTo>
                    <a:pt x="86" y="30"/>
                  </a:lnTo>
                  <a:lnTo>
                    <a:pt x="85" y="31"/>
                  </a:lnTo>
                  <a:lnTo>
                    <a:pt x="85" y="32"/>
                  </a:lnTo>
                  <a:lnTo>
                    <a:pt x="84" y="31"/>
                  </a:lnTo>
                  <a:lnTo>
                    <a:pt x="83" y="31"/>
                  </a:lnTo>
                  <a:lnTo>
                    <a:pt x="83" y="31"/>
                  </a:lnTo>
                  <a:lnTo>
                    <a:pt x="82" y="32"/>
                  </a:lnTo>
                  <a:lnTo>
                    <a:pt x="82" y="32"/>
                  </a:lnTo>
                  <a:lnTo>
                    <a:pt x="81" y="33"/>
                  </a:lnTo>
                  <a:lnTo>
                    <a:pt x="80" y="34"/>
                  </a:lnTo>
                  <a:lnTo>
                    <a:pt x="80" y="34"/>
                  </a:lnTo>
                  <a:lnTo>
                    <a:pt x="79" y="35"/>
                  </a:lnTo>
                  <a:lnTo>
                    <a:pt x="79" y="35"/>
                  </a:lnTo>
                  <a:lnTo>
                    <a:pt x="78" y="35"/>
                  </a:lnTo>
                  <a:lnTo>
                    <a:pt x="77" y="36"/>
                  </a:lnTo>
                  <a:lnTo>
                    <a:pt x="77" y="37"/>
                  </a:lnTo>
                  <a:lnTo>
                    <a:pt x="77" y="38"/>
                  </a:lnTo>
                  <a:lnTo>
                    <a:pt x="77" y="39"/>
                  </a:lnTo>
                  <a:lnTo>
                    <a:pt x="77" y="40"/>
                  </a:lnTo>
                  <a:lnTo>
                    <a:pt x="76" y="40"/>
                  </a:lnTo>
                  <a:lnTo>
                    <a:pt x="75" y="41"/>
                  </a:lnTo>
                  <a:lnTo>
                    <a:pt x="74" y="41"/>
                  </a:lnTo>
                  <a:lnTo>
                    <a:pt x="74" y="41"/>
                  </a:lnTo>
                  <a:lnTo>
                    <a:pt x="74" y="42"/>
                  </a:lnTo>
                  <a:lnTo>
                    <a:pt x="73" y="43"/>
                  </a:lnTo>
                  <a:lnTo>
                    <a:pt x="73" y="43"/>
                  </a:lnTo>
                  <a:lnTo>
                    <a:pt x="73" y="43"/>
                  </a:lnTo>
                  <a:lnTo>
                    <a:pt x="72" y="43"/>
                  </a:lnTo>
                  <a:lnTo>
                    <a:pt x="72" y="44"/>
                  </a:lnTo>
                  <a:lnTo>
                    <a:pt x="71" y="44"/>
                  </a:lnTo>
                  <a:lnTo>
                    <a:pt x="70" y="44"/>
                  </a:lnTo>
                  <a:lnTo>
                    <a:pt x="70" y="45"/>
                  </a:lnTo>
                  <a:lnTo>
                    <a:pt x="69" y="45"/>
                  </a:lnTo>
                  <a:lnTo>
                    <a:pt x="68" y="45"/>
                  </a:lnTo>
                  <a:lnTo>
                    <a:pt x="68" y="44"/>
                  </a:lnTo>
                  <a:lnTo>
                    <a:pt x="68" y="44"/>
                  </a:lnTo>
                  <a:lnTo>
                    <a:pt x="67" y="45"/>
                  </a:lnTo>
                  <a:lnTo>
                    <a:pt x="66" y="45"/>
                  </a:lnTo>
                  <a:lnTo>
                    <a:pt x="65" y="44"/>
                  </a:lnTo>
                  <a:lnTo>
                    <a:pt x="65" y="44"/>
                  </a:lnTo>
                  <a:lnTo>
                    <a:pt x="64" y="44"/>
                  </a:lnTo>
                  <a:lnTo>
                    <a:pt x="64" y="44"/>
                  </a:lnTo>
                  <a:lnTo>
                    <a:pt x="63" y="45"/>
                  </a:lnTo>
                  <a:lnTo>
                    <a:pt x="62" y="46"/>
                  </a:lnTo>
                  <a:lnTo>
                    <a:pt x="62" y="46"/>
                  </a:lnTo>
                  <a:lnTo>
                    <a:pt x="62" y="47"/>
                  </a:lnTo>
                  <a:lnTo>
                    <a:pt x="61" y="48"/>
                  </a:lnTo>
                  <a:lnTo>
                    <a:pt x="61" y="49"/>
                  </a:lnTo>
                  <a:lnTo>
                    <a:pt x="61" y="48"/>
                  </a:lnTo>
                  <a:lnTo>
                    <a:pt x="58" y="46"/>
                  </a:lnTo>
                  <a:lnTo>
                    <a:pt x="50" y="48"/>
                  </a:lnTo>
                  <a:lnTo>
                    <a:pt x="44" y="46"/>
                  </a:lnTo>
                  <a:lnTo>
                    <a:pt x="36" y="43"/>
                  </a:lnTo>
                  <a:lnTo>
                    <a:pt x="31" y="50"/>
                  </a:lnTo>
                  <a:lnTo>
                    <a:pt x="28" y="51"/>
                  </a:lnTo>
                  <a:lnTo>
                    <a:pt x="25" y="50"/>
                  </a:lnTo>
                  <a:lnTo>
                    <a:pt x="23" y="49"/>
                  </a:lnTo>
                  <a:lnTo>
                    <a:pt x="22" y="4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79" name="Freeform 51">
              <a:extLst>
                <a:ext uri="{FF2B5EF4-FFF2-40B4-BE49-F238E27FC236}">
                  <a16:creationId xmlns:a16="http://schemas.microsoft.com/office/drawing/2014/main" id="{C83FB8EC-2DDB-DD7E-83F2-B8B64D081E94}"/>
                </a:ext>
              </a:extLst>
            </p:cNvPr>
            <p:cNvSpPr>
              <a:spLocks/>
            </p:cNvSpPr>
            <p:nvPr/>
          </p:nvSpPr>
          <p:spPr bwMode="auto">
            <a:xfrm>
              <a:off x="4930359" y="4652963"/>
              <a:ext cx="252413" cy="274638"/>
            </a:xfrm>
            <a:custGeom>
              <a:avLst/>
              <a:gdLst/>
              <a:ahLst/>
              <a:cxnLst>
                <a:cxn ang="0">
                  <a:pos x="59" y="167"/>
                </a:cxn>
                <a:cxn ang="0">
                  <a:pos x="52" y="159"/>
                </a:cxn>
                <a:cxn ang="0">
                  <a:pos x="49" y="154"/>
                </a:cxn>
                <a:cxn ang="0">
                  <a:pos x="44" y="152"/>
                </a:cxn>
                <a:cxn ang="0">
                  <a:pos x="36" y="147"/>
                </a:cxn>
                <a:cxn ang="0">
                  <a:pos x="30" y="146"/>
                </a:cxn>
                <a:cxn ang="0">
                  <a:pos x="12" y="148"/>
                </a:cxn>
                <a:cxn ang="0">
                  <a:pos x="9" y="147"/>
                </a:cxn>
                <a:cxn ang="0">
                  <a:pos x="13" y="134"/>
                </a:cxn>
                <a:cxn ang="0">
                  <a:pos x="13" y="120"/>
                </a:cxn>
                <a:cxn ang="0">
                  <a:pos x="7" y="111"/>
                </a:cxn>
                <a:cxn ang="0">
                  <a:pos x="10" y="106"/>
                </a:cxn>
                <a:cxn ang="0">
                  <a:pos x="10" y="97"/>
                </a:cxn>
                <a:cxn ang="0">
                  <a:pos x="4" y="90"/>
                </a:cxn>
                <a:cxn ang="0">
                  <a:pos x="0" y="91"/>
                </a:cxn>
                <a:cxn ang="0">
                  <a:pos x="0" y="88"/>
                </a:cxn>
                <a:cxn ang="0">
                  <a:pos x="3" y="84"/>
                </a:cxn>
                <a:cxn ang="0">
                  <a:pos x="47" y="84"/>
                </a:cxn>
                <a:cxn ang="0">
                  <a:pos x="53" y="84"/>
                </a:cxn>
                <a:cxn ang="0">
                  <a:pos x="51" y="67"/>
                </a:cxn>
                <a:cxn ang="0">
                  <a:pos x="53" y="60"/>
                </a:cxn>
                <a:cxn ang="0">
                  <a:pos x="61" y="55"/>
                </a:cxn>
                <a:cxn ang="0">
                  <a:pos x="66" y="53"/>
                </a:cxn>
                <a:cxn ang="0">
                  <a:pos x="67" y="21"/>
                </a:cxn>
                <a:cxn ang="0">
                  <a:pos x="71" y="18"/>
                </a:cxn>
                <a:cxn ang="0">
                  <a:pos x="109" y="18"/>
                </a:cxn>
                <a:cxn ang="0">
                  <a:pos x="110" y="11"/>
                </a:cxn>
                <a:cxn ang="0">
                  <a:pos x="127" y="9"/>
                </a:cxn>
                <a:cxn ang="0">
                  <a:pos x="159" y="31"/>
                </a:cxn>
                <a:cxn ang="0">
                  <a:pos x="137" y="33"/>
                </a:cxn>
                <a:cxn ang="0">
                  <a:pos x="143" y="88"/>
                </a:cxn>
                <a:cxn ang="0">
                  <a:pos x="145" y="109"/>
                </a:cxn>
                <a:cxn ang="0">
                  <a:pos x="148" y="140"/>
                </a:cxn>
                <a:cxn ang="0">
                  <a:pos x="153" y="154"/>
                </a:cxn>
                <a:cxn ang="0">
                  <a:pos x="113" y="164"/>
                </a:cxn>
                <a:cxn ang="0">
                  <a:pos x="96" y="166"/>
                </a:cxn>
                <a:cxn ang="0">
                  <a:pos x="91" y="166"/>
                </a:cxn>
                <a:cxn ang="0">
                  <a:pos x="84" y="165"/>
                </a:cxn>
                <a:cxn ang="0">
                  <a:pos x="84" y="168"/>
                </a:cxn>
                <a:cxn ang="0">
                  <a:pos x="81" y="169"/>
                </a:cxn>
                <a:cxn ang="0">
                  <a:pos x="76" y="163"/>
                </a:cxn>
                <a:cxn ang="0">
                  <a:pos x="72" y="163"/>
                </a:cxn>
                <a:cxn ang="0">
                  <a:pos x="69" y="168"/>
                </a:cxn>
                <a:cxn ang="0">
                  <a:pos x="67" y="173"/>
                </a:cxn>
              </a:cxnLst>
              <a:rect l="0" t="0" r="r" b="b"/>
              <a:pathLst>
                <a:path w="159" h="173">
                  <a:moveTo>
                    <a:pt x="67" y="173"/>
                  </a:moveTo>
                  <a:lnTo>
                    <a:pt x="59" y="167"/>
                  </a:lnTo>
                  <a:lnTo>
                    <a:pt x="55" y="163"/>
                  </a:lnTo>
                  <a:lnTo>
                    <a:pt x="52" y="159"/>
                  </a:lnTo>
                  <a:lnTo>
                    <a:pt x="50" y="155"/>
                  </a:lnTo>
                  <a:lnTo>
                    <a:pt x="49" y="154"/>
                  </a:lnTo>
                  <a:lnTo>
                    <a:pt x="48" y="153"/>
                  </a:lnTo>
                  <a:lnTo>
                    <a:pt x="44" y="152"/>
                  </a:lnTo>
                  <a:lnTo>
                    <a:pt x="40" y="150"/>
                  </a:lnTo>
                  <a:lnTo>
                    <a:pt x="36" y="147"/>
                  </a:lnTo>
                  <a:lnTo>
                    <a:pt x="33" y="146"/>
                  </a:lnTo>
                  <a:lnTo>
                    <a:pt x="30" y="146"/>
                  </a:lnTo>
                  <a:lnTo>
                    <a:pt x="22" y="147"/>
                  </a:lnTo>
                  <a:lnTo>
                    <a:pt x="12" y="148"/>
                  </a:lnTo>
                  <a:lnTo>
                    <a:pt x="9" y="150"/>
                  </a:lnTo>
                  <a:lnTo>
                    <a:pt x="9" y="147"/>
                  </a:lnTo>
                  <a:lnTo>
                    <a:pt x="12" y="139"/>
                  </a:lnTo>
                  <a:lnTo>
                    <a:pt x="13" y="134"/>
                  </a:lnTo>
                  <a:lnTo>
                    <a:pt x="14" y="127"/>
                  </a:lnTo>
                  <a:lnTo>
                    <a:pt x="13" y="120"/>
                  </a:lnTo>
                  <a:lnTo>
                    <a:pt x="11" y="115"/>
                  </a:lnTo>
                  <a:lnTo>
                    <a:pt x="7" y="111"/>
                  </a:lnTo>
                  <a:lnTo>
                    <a:pt x="9" y="109"/>
                  </a:lnTo>
                  <a:lnTo>
                    <a:pt x="10" y="106"/>
                  </a:lnTo>
                  <a:lnTo>
                    <a:pt x="11" y="100"/>
                  </a:lnTo>
                  <a:lnTo>
                    <a:pt x="10" y="97"/>
                  </a:lnTo>
                  <a:lnTo>
                    <a:pt x="9" y="94"/>
                  </a:lnTo>
                  <a:lnTo>
                    <a:pt x="4" y="90"/>
                  </a:lnTo>
                  <a:lnTo>
                    <a:pt x="3" y="89"/>
                  </a:lnTo>
                  <a:lnTo>
                    <a:pt x="0" y="91"/>
                  </a:lnTo>
                  <a:lnTo>
                    <a:pt x="0" y="90"/>
                  </a:lnTo>
                  <a:lnTo>
                    <a:pt x="0" y="88"/>
                  </a:lnTo>
                  <a:lnTo>
                    <a:pt x="1" y="84"/>
                  </a:lnTo>
                  <a:lnTo>
                    <a:pt x="3" y="84"/>
                  </a:lnTo>
                  <a:lnTo>
                    <a:pt x="33" y="84"/>
                  </a:lnTo>
                  <a:lnTo>
                    <a:pt x="47" y="84"/>
                  </a:lnTo>
                  <a:lnTo>
                    <a:pt x="51" y="84"/>
                  </a:lnTo>
                  <a:lnTo>
                    <a:pt x="53" y="84"/>
                  </a:lnTo>
                  <a:lnTo>
                    <a:pt x="52" y="77"/>
                  </a:lnTo>
                  <a:lnTo>
                    <a:pt x="51" y="67"/>
                  </a:lnTo>
                  <a:lnTo>
                    <a:pt x="51" y="63"/>
                  </a:lnTo>
                  <a:lnTo>
                    <a:pt x="53" y="60"/>
                  </a:lnTo>
                  <a:lnTo>
                    <a:pt x="56" y="58"/>
                  </a:lnTo>
                  <a:lnTo>
                    <a:pt x="61" y="55"/>
                  </a:lnTo>
                  <a:lnTo>
                    <a:pt x="65" y="54"/>
                  </a:lnTo>
                  <a:lnTo>
                    <a:pt x="66" y="53"/>
                  </a:lnTo>
                  <a:lnTo>
                    <a:pt x="67" y="36"/>
                  </a:lnTo>
                  <a:lnTo>
                    <a:pt x="67" y="21"/>
                  </a:lnTo>
                  <a:lnTo>
                    <a:pt x="67" y="18"/>
                  </a:lnTo>
                  <a:lnTo>
                    <a:pt x="71" y="18"/>
                  </a:lnTo>
                  <a:lnTo>
                    <a:pt x="106" y="18"/>
                  </a:lnTo>
                  <a:lnTo>
                    <a:pt x="109" y="18"/>
                  </a:lnTo>
                  <a:lnTo>
                    <a:pt x="110" y="15"/>
                  </a:lnTo>
                  <a:lnTo>
                    <a:pt x="110" y="11"/>
                  </a:lnTo>
                  <a:lnTo>
                    <a:pt x="110" y="0"/>
                  </a:lnTo>
                  <a:lnTo>
                    <a:pt x="127" y="9"/>
                  </a:lnTo>
                  <a:lnTo>
                    <a:pt x="151" y="25"/>
                  </a:lnTo>
                  <a:lnTo>
                    <a:pt x="159" y="31"/>
                  </a:lnTo>
                  <a:lnTo>
                    <a:pt x="156" y="32"/>
                  </a:lnTo>
                  <a:lnTo>
                    <a:pt x="137" y="33"/>
                  </a:lnTo>
                  <a:lnTo>
                    <a:pt x="138" y="38"/>
                  </a:lnTo>
                  <a:lnTo>
                    <a:pt x="143" y="88"/>
                  </a:lnTo>
                  <a:lnTo>
                    <a:pt x="144" y="98"/>
                  </a:lnTo>
                  <a:lnTo>
                    <a:pt x="145" y="109"/>
                  </a:lnTo>
                  <a:lnTo>
                    <a:pt x="147" y="126"/>
                  </a:lnTo>
                  <a:lnTo>
                    <a:pt x="148" y="140"/>
                  </a:lnTo>
                  <a:lnTo>
                    <a:pt x="149" y="150"/>
                  </a:lnTo>
                  <a:lnTo>
                    <a:pt x="153" y="154"/>
                  </a:lnTo>
                  <a:lnTo>
                    <a:pt x="151" y="164"/>
                  </a:lnTo>
                  <a:lnTo>
                    <a:pt x="113" y="164"/>
                  </a:lnTo>
                  <a:lnTo>
                    <a:pt x="102" y="164"/>
                  </a:lnTo>
                  <a:lnTo>
                    <a:pt x="96" y="166"/>
                  </a:lnTo>
                  <a:lnTo>
                    <a:pt x="94" y="166"/>
                  </a:lnTo>
                  <a:lnTo>
                    <a:pt x="91" y="166"/>
                  </a:lnTo>
                  <a:lnTo>
                    <a:pt x="87" y="165"/>
                  </a:lnTo>
                  <a:lnTo>
                    <a:pt x="84" y="165"/>
                  </a:lnTo>
                  <a:lnTo>
                    <a:pt x="83" y="166"/>
                  </a:lnTo>
                  <a:lnTo>
                    <a:pt x="84" y="168"/>
                  </a:lnTo>
                  <a:lnTo>
                    <a:pt x="83" y="169"/>
                  </a:lnTo>
                  <a:lnTo>
                    <a:pt x="81" y="169"/>
                  </a:lnTo>
                  <a:lnTo>
                    <a:pt x="79" y="168"/>
                  </a:lnTo>
                  <a:lnTo>
                    <a:pt x="76" y="163"/>
                  </a:lnTo>
                  <a:lnTo>
                    <a:pt x="74" y="162"/>
                  </a:lnTo>
                  <a:lnTo>
                    <a:pt x="72" y="163"/>
                  </a:lnTo>
                  <a:lnTo>
                    <a:pt x="70" y="164"/>
                  </a:lnTo>
                  <a:lnTo>
                    <a:pt x="69" y="168"/>
                  </a:lnTo>
                  <a:lnTo>
                    <a:pt x="69" y="171"/>
                  </a:lnTo>
                  <a:lnTo>
                    <a:pt x="67" y="17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0" name="Freeform 52">
              <a:extLst>
                <a:ext uri="{FF2B5EF4-FFF2-40B4-BE49-F238E27FC236}">
                  <a16:creationId xmlns:a16="http://schemas.microsoft.com/office/drawing/2014/main" id="{4A92F31C-4B47-51CE-B2ED-FC28FA86DEA3}"/>
                </a:ext>
              </a:extLst>
            </p:cNvPr>
            <p:cNvSpPr>
              <a:spLocks noEditPoints="1"/>
            </p:cNvSpPr>
            <p:nvPr/>
          </p:nvSpPr>
          <p:spPr bwMode="auto">
            <a:xfrm>
              <a:off x="5576471" y="3876675"/>
              <a:ext cx="207963" cy="190500"/>
            </a:xfrm>
            <a:custGeom>
              <a:avLst/>
              <a:gdLst/>
              <a:ahLst/>
              <a:cxnLst>
                <a:cxn ang="0">
                  <a:pos x="103" y="116"/>
                </a:cxn>
                <a:cxn ang="0">
                  <a:pos x="98" y="111"/>
                </a:cxn>
                <a:cxn ang="0">
                  <a:pos x="91" y="112"/>
                </a:cxn>
                <a:cxn ang="0">
                  <a:pos x="83" y="112"/>
                </a:cxn>
                <a:cxn ang="0">
                  <a:pos x="79" y="115"/>
                </a:cxn>
                <a:cxn ang="0">
                  <a:pos x="74" y="116"/>
                </a:cxn>
                <a:cxn ang="0">
                  <a:pos x="74" y="112"/>
                </a:cxn>
                <a:cxn ang="0">
                  <a:pos x="71" y="108"/>
                </a:cxn>
                <a:cxn ang="0">
                  <a:pos x="68" y="109"/>
                </a:cxn>
                <a:cxn ang="0">
                  <a:pos x="64" y="110"/>
                </a:cxn>
                <a:cxn ang="0">
                  <a:pos x="59" y="106"/>
                </a:cxn>
                <a:cxn ang="0">
                  <a:pos x="53" y="100"/>
                </a:cxn>
                <a:cxn ang="0">
                  <a:pos x="48" y="100"/>
                </a:cxn>
                <a:cxn ang="0">
                  <a:pos x="46" y="97"/>
                </a:cxn>
                <a:cxn ang="0">
                  <a:pos x="41" y="93"/>
                </a:cxn>
                <a:cxn ang="0">
                  <a:pos x="37" y="92"/>
                </a:cxn>
                <a:cxn ang="0">
                  <a:pos x="34" y="98"/>
                </a:cxn>
                <a:cxn ang="0">
                  <a:pos x="28" y="91"/>
                </a:cxn>
                <a:cxn ang="0">
                  <a:pos x="31" y="88"/>
                </a:cxn>
                <a:cxn ang="0">
                  <a:pos x="28" y="87"/>
                </a:cxn>
                <a:cxn ang="0">
                  <a:pos x="23" y="86"/>
                </a:cxn>
                <a:cxn ang="0">
                  <a:pos x="18" y="84"/>
                </a:cxn>
                <a:cxn ang="0">
                  <a:pos x="14" y="79"/>
                </a:cxn>
                <a:cxn ang="0">
                  <a:pos x="12" y="81"/>
                </a:cxn>
                <a:cxn ang="0">
                  <a:pos x="12" y="76"/>
                </a:cxn>
                <a:cxn ang="0">
                  <a:pos x="8" y="67"/>
                </a:cxn>
                <a:cxn ang="0">
                  <a:pos x="8" y="61"/>
                </a:cxn>
                <a:cxn ang="0">
                  <a:pos x="8" y="55"/>
                </a:cxn>
                <a:cxn ang="0">
                  <a:pos x="7" y="48"/>
                </a:cxn>
                <a:cxn ang="0">
                  <a:pos x="1" y="39"/>
                </a:cxn>
                <a:cxn ang="0">
                  <a:pos x="2" y="24"/>
                </a:cxn>
                <a:cxn ang="0">
                  <a:pos x="5" y="24"/>
                </a:cxn>
                <a:cxn ang="0">
                  <a:pos x="5" y="20"/>
                </a:cxn>
                <a:cxn ang="0">
                  <a:pos x="10" y="16"/>
                </a:cxn>
                <a:cxn ang="0">
                  <a:pos x="23" y="13"/>
                </a:cxn>
                <a:cxn ang="0">
                  <a:pos x="38" y="4"/>
                </a:cxn>
                <a:cxn ang="0">
                  <a:pos x="61" y="4"/>
                </a:cxn>
                <a:cxn ang="0">
                  <a:pos x="57" y="4"/>
                </a:cxn>
                <a:cxn ang="0">
                  <a:pos x="64" y="11"/>
                </a:cxn>
                <a:cxn ang="0">
                  <a:pos x="74" y="6"/>
                </a:cxn>
                <a:cxn ang="0">
                  <a:pos x="67" y="12"/>
                </a:cxn>
                <a:cxn ang="0">
                  <a:pos x="74" y="9"/>
                </a:cxn>
                <a:cxn ang="0">
                  <a:pos x="95" y="8"/>
                </a:cxn>
                <a:cxn ang="0">
                  <a:pos x="116" y="7"/>
                </a:cxn>
                <a:cxn ang="0">
                  <a:pos x="123" y="16"/>
                </a:cxn>
                <a:cxn ang="0">
                  <a:pos x="124" y="21"/>
                </a:cxn>
                <a:cxn ang="0">
                  <a:pos x="129" y="43"/>
                </a:cxn>
                <a:cxn ang="0">
                  <a:pos x="121" y="48"/>
                </a:cxn>
                <a:cxn ang="0">
                  <a:pos x="121" y="54"/>
                </a:cxn>
                <a:cxn ang="0">
                  <a:pos x="125" y="58"/>
                </a:cxn>
                <a:cxn ang="0">
                  <a:pos x="124" y="69"/>
                </a:cxn>
                <a:cxn ang="0">
                  <a:pos x="130" y="81"/>
                </a:cxn>
                <a:cxn ang="0">
                  <a:pos x="129" y="84"/>
                </a:cxn>
                <a:cxn ang="0">
                  <a:pos x="129" y="92"/>
                </a:cxn>
                <a:cxn ang="0">
                  <a:pos x="122" y="97"/>
                </a:cxn>
                <a:cxn ang="0">
                  <a:pos x="113" y="117"/>
                </a:cxn>
                <a:cxn ang="0">
                  <a:pos x="5" y="19"/>
                </a:cxn>
                <a:cxn ang="0">
                  <a:pos x="2" y="20"/>
                </a:cxn>
                <a:cxn ang="0">
                  <a:pos x="4" y="18"/>
                </a:cxn>
                <a:cxn ang="0">
                  <a:pos x="1" y="18"/>
                </a:cxn>
                <a:cxn ang="0">
                  <a:pos x="0" y="18"/>
                </a:cxn>
              </a:cxnLst>
              <a:rect l="0" t="0" r="r" b="b"/>
              <a:pathLst>
                <a:path w="131" h="120">
                  <a:moveTo>
                    <a:pt x="111" y="120"/>
                  </a:moveTo>
                  <a:lnTo>
                    <a:pt x="106" y="117"/>
                  </a:lnTo>
                  <a:lnTo>
                    <a:pt x="103" y="116"/>
                  </a:lnTo>
                  <a:lnTo>
                    <a:pt x="103" y="114"/>
                  </a:lnTo>
                  <a:lnTo>
                    <a:pt x="99" y="112"/>
                  </a:lnTo>
                  <a:lnTo>
                    <a:pt x="98" y="111"/>
                  </a:lnTo>
                  <a:lnTo>
                    <a:pt x="95" y="112"/>
                  </a:lnTo>
                  <a:lnTo>
                    <a:pt x="92" y="111"/>
                  </a:lnTo>
                  <a:lnTo>
                    <a:pt x="91" y="112"/>
                  </a:lnTo>
                  <a:lnTo>
                    <a:pt x="89" y="114"/>
                  </a:lnTo>
                  <a:lnTo>
                    <a:pt x="86" y="112"/>
                  </a:lnTo>
                  <a:lnTo>
                    <a:pt x="83" y="112"/>
                  </a:lnTo>
                  <a:lnTo>
                    <a:pt x="82" y="112"/>
                  </a:lnTo>
                  <a:lnTo>
                    <a:pt x="79" y="114"/>
                  </a:lnTo>
                  <a:lnTo>
                    <a:pt x="79" y="115"/>
                  </a:lnTo>
                  <a:lnTo>
                    <a:pt x="78" y="117"/>
                  </a:lnTo>
                  <a:lnTo>
                    <a:pt x="77" y="115"/>
                  </a:lnTo>
                  <a:lnTo>
                    <a:pt x="74" y="116"/>
                  </a:lnTo>
                  <a:lnTo>
                    <a:pt x="74" y="114"/>
                  </a:lnTo>
                  <a:lnTo>
                    <a:pt x="74" y="114"/>
                  </a:lnTo>
                  <a:lnTo>
                    <a:pt x="74" y="112"/>
                  </a:lnTo>
                  <a:lnTo>
                    <a:pt x="72" y="112"/>
                  </a:lnTo>
                  <a:lnTo>
                    <a:pt x="72" y="111"/>
                  </a:lnTo>
                  <a:lnTo>
                    <a:pt x="71" y="108"/>
                  </a:lnTo>
                  <a:lnTo>
                    <a:pt x="69" y="109"/>
                  </a:lnTo>
                  <a:lnTo>
                    <a:pt x="69" y="110"/>
                  </a:lnTo>
                  <a:lnTo>
                    <a:pt x="68" y="109"/>
                  </a:lnTo>
                  <a:lnTo>
                    <a:pt x="67" y="112"/>
                  </a:lnTo>
                  <a:lnTo>
                    <a:pt x="64" y="112"/>
                  </a:lnTo>
                  <a:lnTo>
                    <a:pt x="64" y="110"/>
                  </a:lnTo>
                  <a:lnTo>
                    <a:pt x="62" y="110"/>
                  </a:lnTo>
                  <a:lnTo>
                    <a:pt x="61" y="107"/>
                  </a:lnTo>
                  <a:lnTo>
                    <a:pt x="59" y="106"/>
                  </a:lnTo>
                  <a:lnTo>
                    <a:pt x="58" y="104"/>
                  </a:lnTo>
                  <a:lnTo>
                    <a:pt x="58" y="102"/>
                  </a:lnTo>
                  <a:lnTo>
                    <a:pt x="53" y="100"/>
                  </a:lnTo>
                  <a:lnTo>
                    <a:pt x="52" y="99"/>
                  </a:lnTo>
                  <a:lnTo>
                    <a:pt x="50" y="100"/>
                  </a:lnTo>
                  <a:lnTo>
                    <a:pt x="48" y="100"/>
                  </a:lnTo>
                  <a:lnTo>
                    <a:pt x="48" y="98"/>
                  </a:lnTo>
                  <a:lnTo>
                    <a:pt x="48" y="96"/>
                  </a:lnTo>
                  <a:lnTo>
                    <a:pt x="46" y="97"/>
                  </a:lnTo>
                  <a:lnTo>
                    <a:pt x="47" y="94"/>
                  </a:lnTo>
                  <a:lnTo>
                    <a:pt x="43" y="94"/>
                  </a:lnTo>
                  <a:lnTo>
                    <a:pt x="41" y="93"/>
                  </a:lnTo>
                  <a:lnTo>
                    <a:pt x="38" y="91"/>
                  </a:lnTo>
                  <a:lnTo>
                    <a:pt x="37" y="91"/>
                  </a:lnTo>
                  <a:lnTo>
                    <a:pt x="37" y="92"/>
                  </a:lnTo>
                  <a:lnTo>
                    <a:pt x="38" y="95"/>
                  </a:lnTo>
                  <a:lnTo>
                    <a:pt x="36" y="96"/>
                  </a:lnTo>
                  <a:lnTo>
                    <a:pt x="34" y="98"/>
                  </a:lnTo>
                  <a:lnTo>
                    <a:pt x="32" y="97"/>
                  </a:lnTo>
                  <a:lnTo>
                    <a:pt x="31" y="94"/>
                  </a:lnTo>
                  <a:lnTo>
                    <a:pt x="28" y="91"/>
                  </a:lnTo>
                  <a:lnTo>
                    <a:pt x="29" y="90"/>
                  </a:lnTo>
                  <a:lnTo>
                    <a:pt x="30" y="89"/>
                  </a:lnTo>
                  <a:lnTo>
                    <a:pt x="31" y="88"/>
                  </a:lnTo>
                  <a:lnTo>
                    <a:pt x="29" y="87"/>
                  </a:lnTo>
                  <a:lnTo>
                    <a:pt x="28" y="86"/>
                  </a:lnTo>
                  <a:lnTo>
                    <a:pt x="28" y="87"/>
                  </a:lnTo>
                  <a:lnTo>
                    <a:pt x="25" y="87"/>
                  </a:lnTo>
                  <a:lnTo>
                    <a:pt x="25" y="86"/>
                  </a:lnTo>
                  <a:lnTo>
                    <a:pt x="23" y="86"/>
                  </a:lnTo>
                  <a:lnTo>
                    <a:pt x="23" y="85"/>
                  </a:lnTo>
                  <a:lnTo>
                    <a:pt x="19" y="84"/>
                  </a:lnTo>
                  <a:lnTo>
                    <a:pt x="18" y="84"/>
                  </a:lnTo>
                  <a:lnTo>
                    <a:pt x="16" y="82"/>
                  </a:lnTo>
                  <a:lnTo>
                    <a:pt x="15" y="80"/>
                  </a:lnTo>
                  <a:lnTo>
                    <a:pt x="14" y="79"/>
                  </a:lnTo>
                  <a:lnTo>
                    <a:pt x="12" y="79"/>
                  </a:lnTo>
                  <a:lnTo>
                    <a:pt x="11" y="80"/>
                  </a:lnTo>
                  <a:lnTo>
                    <a:pt x="12" y="81"/>
                  </a:lnTo>
                  <a:lnTo>
                    <a:pt x="12" y="82"/>
                  </a:lnTo>
                  <a:lnTo>
                    <a:pt x="10" y="82"/>
                  </a:lnTo>
                  <a:lnTo>
                    <a:pt x="12" y="76"/>
                  </a:lnTo>
                  <a:lnTo>
                    <a:pt x="10" y="71"/>
                  </a:lnTo>
                  <a:lnTo>
                    <a:pt x="8" y="69"/>
                  </a:lnTo>
                  <a:lnTo>
                    <a:pt x="8" y="67"/>
                  </a:lnTo>
                  <a:lnTo>
                    <a:pt x="7" y="64"/>
                  </a:lnTo>
                  <a:lnTo>
                    <a:pt x="7" y="63"/>
                  </a:lnTo>
                  <a:lnTo>
                    <a:pt x="8" y="61"/>
                  </a:lnTo>
                  <a:lnTo>
                    <a:pt x="8" y="58"/>
                  </a:lnTo>
                  <a:lnTo>
                    <a:pt x="8" y="57"/>
                  </a:lnTo>
                  <a:lnTo>
                    <a:pt x="8" y="55"/>
                  </a:lnTo>
                  <a:lnTo>
                    <a:pt x="6" y="53"/>
                  </a:lnTo>
                  <a:lnTo>
                    <a:pt x="5" y="51"/>
                  </a:lnTo>
                  <a:lnTo>
                    <a:pt x="7" y="48"/>
                  </a:lnTo>
                  <a:lnTo>
                    <a:pt x="3" y="43"/>
                  </a:lnTo>
                  <a:lnTo>
                    <a:pt x="1" y="42"/>
                  </a:lnTo>
                  <a:lnTo>
                    <a:pt x="1" y="39"/>
                  </a:lnTo>
                  <a:lnTo>
                    <a:pt x="3" y="38"/>
                  </a:lnTo>
                  <a:lnTo>
                    <a:pt x="4" y="33"/>
                  </a:lnTo>
                  <a:lnTo>
                    <a:pt x="2" y="24"/>
                  </a:lnTo>
                  <a:lnTo>
                    <a:pt x="4" y="25"/>
                  </a:lnTo>
                  <a:lnTo>
                    <a:pt x="6" y="26"/>
                  </a:lnTo>
                  <a:lnTo>
                    <a:pt x="5" y="24"/>
                  </a:lnTo>
                  <a:lnTo>
                    <a:pt x="6" y="23"/>
                  </a:lnTo>
                  <a:lnTo>
                    <a:pt x="6" y="21"/>
                  </a:lnTo>
                  <a:lnTo>
                    <a:pt x="5" y="20"/>
                  </a:lnTo>
                  <a:lnTo>
                    <a:pt x="5" y="19"/>
                  </a:lnTo>
                  <a:lnTo>
                    <a:pt x="5" y="18"/>
                  </a:lnTo>
                  <a:lnTo>
                    <a:pt x="10" y="16"/>
                  </a:lnTo>
                  <a:lnTo>
                    <a:pt x="13" y="16"/>
                  </a:lnTo>
                  <a:lnTo>
                    <a:pt x="16" y="14"/>
                  </a:lnTo>
                  <a:lnTo>
                    <a:pt x="23" y="13"/>
                  </a:lnTo>
                  <a:lnTo>
                    <a:pt x="26" y="12"/>
                  </a:lnTo>
                  <a:lnTo>
                    <a:pt x="31" y="7"/>
                  </a:lnTo>
                  <a:lnTo>
                    <a:pt x="38" y="4"/>
                  </a:lnTo>
                  <a:lnTo>
                    <a:pt x="47" y="1"/>
                  </a:lnTo>
                  <a:lnTo>
                    <a:pt x="55" y="0"/>
                  </a:lnTo>
                  <a:lnTo>
                    <a:pt x="61" y="4"/>
                  </a:lnTo>
                  <a:lnTo>
                    <a:pt x="56" y="1"/>
                  </a:lnTo>
                  <a:lnTo>
                    <a:pt x="55" y="3"/>
                  </a:lnTo>
                  <a:lnTo>
                    <a:pt x="57" y="4"/>
                  </a:lnTo>
                  <a:lnTo>
                    <a:pt x="58" y="9"/>
                  </a:lnTo>
                  <a:lnTo>
                    <a:pt x="60" y="10"/>
                  </a:lnTo>
                  <a:lnTo>
                    <a:pt x="64" y="11"/>
                  </a:lnTo>
                  <a:lnTo>
                    <a:pt x="67" y="10"/>
                  </a:lnTo>
                  <a:lnTo>
                    <a:pt x="74" y="6"/>
                  </a:lnTo>
                  <a:lnTo>
                    <a:pt x="74" y="6"/>
                  </a:lnTo>
                  <a:lnTo>
                    <a:pt x="68" y="10"/>
                  </a:lnTo>
                  <a:lnTo>
                    <a:pt x="67" y="11"/>
                  </a:lnTo>
                  <a:lnTo>
                    <a:pt x="67" y="12"/>
                  </a:lnTo>
                  <a:lnTo>
                    <a:pt x="68" y="12"/>
                  </a:lnTo>
                  <a:lnTo>
                    <a:pt x="70" y="11"/>
                  </a:lnTo>
                  <a:lnTo>
                    <a:pt x="74" y="9"/>
                  </a:lnTo>
                  <a:lnTo>
                    <a:pt x="77" y="6"/>
                  </a:lnTo>
                  <a:lnTo>
                    <a:pt x="82" y="6"/>
                  </a:lnTo>
                  <a:lnTo>
                    <a:pt x="95" y="8"/>
                  </a:lnTo>
                  <a:lnTo>
                    <a:pt x="112" y="7"/>
                  </a:lnTo>
                  <a:lnTo>
                    <a:pt x="116" y="6"/>
                  </a:lnTo>
                  <a:lnTo>
                    <a:pt x="116" y="7"/>
                  </a:lnTo>
                  <a:lnTo>
                    <a:pt x="121" y="9"/>
                  </a:lnTo>
                  <a:lnTo>
                    <a:pt x="122" y="14"/>
                  </a:lnTo>
                  <a:lnTo>
                    <a:pt x="123" y="16"/>
                  </a:lnTo>
                  <a:lnTo>
                    <a:pt x="123" y="16"/>
                  </a:lnTo>
                  <a:lnTo>
                    <a:pt x="123" y="18"/>
                  </a:lnTo>
                  <a:lnTo>
                    <a:pt x="124" y="21"/>
                  </a:lnTo>
                  <a:lnTo>
                    <a:pt x="128" y="36"/>
                  </a:lnTo>
                  <a:lnTo>
                    <a:pt x="129" y="40"/>
                  </a:lnTo>
                  <a:lnTo>
                    <a:pt x="129" y="43"/>
                  </a:lnTo>
                  <a:lnTo>
                    <a:pt x="127" y="45"/>
                  </a:lnTo>
                  <a:lnTo>
                    <a:pt x="125" y="45"/>
                  </a:lnTo>
                  <a:lnTo>
                    <a:pt x="121" y="48"/>
                  </a:lnTo>
                  <a:lnTo>
                    <a:pt x="119" y="51"/>
                  </a:lnTo>
                  <a:lnTo>
                    <a:pt x="119" y="54"/>
                  </a:lnTo>
                  <a:lnTo>
                    <a:pt x="121" y="54"/>
                  </a:lnTo>
                  <a:lnTo>
                    <a:pt x="123" y="55"/>
                  </a:lnTo>
                  <a:lnTo>
                    <a:pt x="124" y="57"/>
                  </a:lnTo>
                  <a:lnTo>
                    <a:pt x="125" y="58"/>
                  </a:lnTo>
                  <a:lnTo>
                    <a:pt x="125" y="60"/>
                  </a:lnTo>
                  <a:lnTo>
                    <a:pt x="123" y="67"/>
                  </a:lnTo>
                  <a:lnTo>
                    <a:pt x="124" y="69"/>
                  </a:lnTo>
                  <a:lnTo>
                    <a:pt x="125" y="70"/>
                  </a:lnTo>
                  <a:lnTo>
                    <a:pt x="125" y="73"/>
                  </a:lnTo>
                  <a:lnTo>
                    <a:pt x="130" y="81"/>
                  </a:lnTo>
                  <a:lnTo>
                    <a:pt x="131" y="82"/>
                  </a:lnTo>
                  <a:lnTo>
                    <a:pt x="130" y="83"/>
                  </a:lnTo>
                  <a:lnTo>
                    <a:pt x="129" y="84"/>
                  </a:lnTo>
                  <a:lnTo>
                    <a:pt x="131" y="87"/>
                  </a:lnTo>
                  <a:lnTo>
                    <a:pt x="131" y="90"/>
                  </a:lnTo>
                  <a:lnTo>
                    <a:pt x="129" y="92"/>
                  </a:lnTo>
                  <a:lnTo>
                    <a:pt x="127" y="92"/>
                  </a:lnTo>
                  <a:lnTo>
                    <a:pt x="125" y="94"/>
                  </a:lnTo>
                  <a:lnTo>
                    <a:pt x="122" y="97"/>
                  </a:lnTo>
                  <a:lnTo>
                    <a:pt x="113" y="109"/>
                  </a:lnTo>
                  <a:lnTo>
                    <a:pt x="112" y="111"/>
                  </a:lnTo>
                  <a:lnTo>
                    <a:pt x="113" y="117"/>
                  </a:lnTo>
                  <a:lnTo>
                    <a:pt x="115" y="120"/>
                  </a:lnTo>
                  <a:lnTo>
                    <a:pt x="111" y="120"/>
                  </a:lnTo>
                  <a:close/>
                  <a:moveTo>
                    <a:pt x="5" y="19"/>
                  </a:moveTo>
                  <a:lnTo>
                    <a:pt x="5" y="20"/>
                  </a:lnTo>
                  <a:lnTo>
                    <a:pt x="3" y="20"/>
                  </a:lnTo>
                  <a:lnTo>
                    <a:pt x="2" y="20"/>
                  </a:lnTo>
                  <a:lnTo>
                    <a:pt x="2" y="18"/>
                  </a:lnTo>
                  <a:lnTo>
                    <a:pt x="3" y="18"/>
                  </a:lnTo>
                  <a:lnTo>
                    <a:pt x="4" y="18"/>
                  </a:lnTo>
                  <a:lnTo>
                    <a:pt x="5" y="19"/>
                  </a:lnTo>
                  <a:close/>
                  <a:moveTo>
                    <a:pt x="0" y="18"/>
                  </a:moveTo>
                  <a:lnTo>
                    <a:pt x="1" y="18"/>
                  </a:lnTo>
                  <a:lnTo>
                    <a:pt x="1" y="20"/>
                  </a:lnTo>
                  <a:lnTo>
                    <a:pt x="1" y="20"/>
                  </a:lnTo>
                  <a:lnTo>
                    <a:pt x="0" y="1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1" name="Freeform 53">
              <a:extLst>
                <a:ext uri="{FF2B5EF4-FFF2-40B4-BE49-F238E27FC236}">
                  <a16:creationId xmlns:a16="http://schemas.microsoft.com/office/drawing/2014/main" id="{20E34008-B850-8392-0A8E-795558B27C16}"/>
                </a:ext>
              </a:extLst>
            </p:cNvPr>
            <p:cNvSpPr>
              <a:spLocks/>
            </p:cNvSpPr>
            <p:nvPr/>
          </p:nvSpPr>
          <p:spPr bwMode="auto">
            <a:xfrm>
              <a:off x="4936709" y="4948238"/>
              <a:ext cx="57150" cy="14288"/>
            </a:xfrm>
            <a:custGeom>
              <a:avLst/>
              <a:gdLst/>
              <a:ahLst/>
              <a:cxnLst>
                <a:cxn ang="0">
                  <a:pos x="4" y="4"/>
                </a:cxn>
                <a:cxn ang="0">
                  <a:pos x="14" y="4"/>
                </a:cxn>
                <a:cxn ang="0">
                  <a:pos x="14" y="2"/>
                </a:cxn>
                <a:cxn ang="0">
                  <a:pos x="15" y="1"/>
                </a:cxn>
                <a:cxn ang="0">
                  <a:pos x="16" y="1"/>
                </a:cxn>
                <a:cxn ang="0">
                  <a:pos x="17" y="1"/>
                </a:cxn>
                <a:cxn ang="0">
                  <a:pos x="19" y="0"/>
                </a:cxn>
                <a:cxn ang="0">
                  <a:pos x="20" y="1"/>
                </a:cxn>
                <a:cxn ang="0">
                  <a:pos x="21" y="1"/>
                </a:cxn>
                <a:cxn ang="0">
                  <a:pos x="22" y="1"/>
                </a:cxn>
                <a:cxn ang="0">
                  <a:pos x="23" y="3"/>
                </a:cxn>
                <a:cxn ang="0">
                  <a:pos x="24" y="3"/>
                </a:cxn>
                <a:cxn ang="0">
                  <a:pos x="25" y="3"/>
                </a:cxn>
                <a:cxn ang="0">
                  <a:pos x="26" y="3"/>
                </a:cxn>
                <a:cxn ang="0">
                  <a:pos x="27" y="3"/>
                </a:cxn>
                <a:cxn ang="0">
                  <a:pos x="27" y="4"/>
                </a:cxn>
                <a:cxn ang="0">
                  <a:pos x="29" y="6"/>
                </a:cxn>
                <a:cxn ang="0">
                  <a:pos x="30" y="5"/>
                </a:cxn>
                <a:cxn ang="0">
                  <a:pos x="31" y="4"/>
                </a:cxn>
                <a:cxn ang="0">
                  <a:pos x="33" y="4"/>
                </a:cxn>
                <a:cxn ang="0">
                  <a:pos x="34" y="4"/>
                </a:cxn>
                <a:cxn ang="0">
                  <a:pos x="35" y="4"/>
                </a:cxn>
                <a:cxn ang="0">
                  <a:pos x="36" y="6"/>
                </a:cxn>
                <a:cxn ang="0">
                  <a:pos x="36" y="6"/>
                </a:cxn>
                <a:cxn ang="0">
                  <a:pos x="35" y="7"/>
                </a:cxn>
                <a:cxn ang="0">
                  <a:pos x="33" y="7"/>
                </a:cxn>
                <a:cxn ang="0">
                  <a:pos x="32" y="8"/>
                </a:cxn>
                <a:cxn ang="0">
                  <a:pos x="31" y="9"/>
                </a:cxn>
                <a:cxn ang="0">
                  <a:pos x="28" y="9"/>
                </a:cxn>
                <a:cxn ang="0">
                  <a:pos x="27" y="7"/>
                </a:cxn>
                <a:cxn ang="0">
                  <a:pos x="26" y="7"/>
                </a:cxn>
                <a:cxn ang="0">
                  <a:pos x="24" y="7"/>
                </a:cxn>
                <a:cxn ang="0">
                  <a:pos x="24" y="7"/>
                </a:cxn>
                <a:cxn ang="0">
                  <a:pos x="23" y="6"/>
                </a:cxn>
                <a:cxn ang="0">
                  <a:pos x="21" y="5"/>
                </a:cxn>
                <a:cxn ang="0">
                  <a:pos x="20" y="4"/>
                </a:cxn>
                <a:cxn ang="0">
                  <a:pos x="19" y="4"/>
                </a:cxn>
                <a:cxn ang="0">
                  <a:pos x="18" y="4"/>
                </a:cxn>
                <a:cxn ang="0">
                  <a:pos x="18" y="4"/>
                </a:cxn>
                <a:cxn ang="0">
                  <a:pos x="18" y="6"/>
                </a:cxn>
                <a:cxn ang="0">
                  <a:pos x="17" y="6"/>
                </a:cxn>
                <a:cxn ang="0">
                  <a:pos x="15" y="7"/>
                </a:cxn>
                <a:cxn ang="0">
                  <a:pos x="14" y="6"/>
                </a:cxn>
                <a:cxn ang="0">
                  <a:pos x="12" y="7"/>
                </a:cxn>
                <a:cxn ang="0">
                  <a:pos x="11" y="7"/>
                </a:cxn>
                <a:cxn ang="0">
                  <a:pos x="9" y="7"/>
                </a:cxn>
                <a:cxn ang="0">
                  <a:pos x="9" y="9"/>
                </a:cxn>
                <a:cxn ang="0">
                  <a:pos x="0" y="9"/>
                </a:cxn>
                <a:cxn ang="0">
                  <a:pos x="0" y="7"/>
                </a:cxn>
                <a:cxn ang="0">
                  <a:pos x="1" y="5"/>
                </a:cxn>
                <a:cxn ang="0">
                  <a:pos x="3" y="5"/>
                </a:cxn>
                <a:cxn ang="0">
                  <a:pos x="4" y="4"/>
                </a:cxn>
                <a:cxn ang="0">
                  <a:pos x="4" y="4"/>
                </a:cxn>
              </a:cxnLst>
              <a:rect l="0" t="0" r="r" b="b"/>
              <a:pathLst>
                <a:path w="36" h="9">
                  <a:moveTo>
                    <a:pt x="4" y="4"/>
                  </a:moveTo>
                  <a:lnTo>
                    <a:pt x="14" y="4"/>
                  </a:lnTo>
                  <a:lnTo>
                    <a:pt x="14" y="2"/>
                  </a:lnTo>
                  <a:lnTo>
                    <a:pt x="15" y="1"/>
                  </a:lnTo>
                  <a:lnTo>
                    <a:pt x="16" y="1"/>
                  </a:lnTo>
                  <a:lnTo>
                    <a:pt x="17" y="1"/>
                  </a:lnTo>
                  <a:lnTo>
                    <a:pt x="19" y="0"/>
                  </a:lnTo>
                  <a:lnTo>
                    <a:pt x="20" y="1"/>
                  </a:lnTo>
                  <a:lnTo>
                    <a:pt x="21" y="1"/>
                  </a:lnTo>
                  <a:lnTo>
                    <a:pt x="22" y="1"/>
                  </a:lnTo>
                  <a:lnTo>
                    <a:pt x="23" y="3"/>
                  </a:lnTo>
                  <a:lnTo>
                    <a:pt x="24" y="3"/>
                  </a:lnTo>
                  <a:lnTo>
                    <a:pt x="25" y="3"/>
                  </a:lnTo>
                  <a:lnTo>
                    <a:pt x="26" y="3"/>
                  </a:lnTo>
                  <a:lnTo>
                    <a:pt x="27" y="3"/>
                  </a:lnTo>
                  <a:lnTo>
                    <a:pt x="27" y="4"/>
                  </a:lnTo>
                  <a:lnTo>
                    <a:pt x="29" y="6"/>
                  </a:lnTo>
                  <a:lnTo>
                    <a:pt x="30" y="5"/>
                  </a:lnTo>
                  <a:lnTo>
                    <a:pt x="31" y="4"/>
                  </a:lnTo>
                  <a:lnTo>
                    <a:pt x="33" y="4"/>
                  </a:lnTo>
                  <a:lnTo>
                    <a:pt x="34" y="4"/>
                  </a:lnTo>
                  <a:lnTo>
                    <a:pt x="35" y="4"/>
                  </a:lnTo>
                  <a:lnTo>
                    <a:pt x="36" y="6"/>
                  </a:lnTo>
                  <a:lnTo>
                    <a:pt x="36" y="6"/>
                  </a:lnTo>
                  <a:lnTo>
                    <a:pt x="35" y="7"/>
                  </a:lnTo>
                  <a:lnTo>
                    <a:pt x="33" y="7"/>
                  </a:lnTo>
                  <a:lnTo>
                    <a:pt x="32" y="8"/>
                  </a:lnTo>
                  <a:lnTo>
                    <a:pt x="31" y="9"/>
                  </a:lnTo>
                  <a:lnTo>
                    <a:pt x="28" y="9"/>
                  </a:lnTo>
                  <a:lnTo>
                    <a:pt x="27" y="7"/>
                  </a:lnTo>
                  <a:lnTo>
                    <a:pt x="26" y="7"/>
                  </a:lnTo>
                  <a:lnTo>
                    <a:pt x="24" y="7"/>
                  </a:lnTo>
                  <a:lnTo>
                    <a:pt x="24" y="7"/>
                  </a:lnTo>
                  <a:lnTo>
                    <a:pt x="23" y="6"/>
                  </a:lnTo>
                  <a:lnTo>
                    <a:pt x="21" y="5"/>
                  </a:lnTo>
                  <a:lnTo>
                    <a:pt x="20" y="4"/>
                  </a:lnTo>
                  <a:lnTo>
                    <a:pt x="19" y="4"/>
                  </a:lnTo>
                  <a:lnTo>
                    <a:pt x="18" y="4"/>
                  </a:lnTo>
                  <a:lnTo>
                    <a:pt x="18" y="4"/>
                  </a:lnTo>
                  <a:lnTo>
                    <a:pt x="18" y="6"/>
                  </a:lnTo>
                  <a:lnTo>
                    <a:pt x="17" y="6"/>
                  </a:lnTo>
                  <a:lnTo>
                    <a:pt x="15" y="7"/>
                  </a:lnTo>
                  <a:lnTo>
                    <a:pt x="14" y="6"/>
                  </a:lnTo>
                  <a:lnTo>
                    <a:pt x="12" y="7"/>
                  </a:lnTo>
                  <a:lnTo>
                    <a:pt x="11" y="7"/>
                  </a:lnTo>
                  <a:lnTo>
                    <a:pt x="9" y="7"/>
                  </a:lnTo>
                  <a:lnTo>
                    <a:pt x="9" y="9"/>
                  </a:lnTo>
                  <a:lnTo>
                    <a:pt x="0" y="9"/>
                  </a:lnTo>
                  <a:lnTo>
                    <a:pt x="0" y="7"/>
                  </a:lnTo>
                  <a:lnTo>
                    <a:pt x="1" y="5"/>
                  </a:lnTo>
                  <a:lnTo>
                    <a:pt x="3" y="5"/>
                  </a:lnTo>
                  <a:lnTo>
                    <a:pt x="4" y="4"/>
                  </a:lnTo>
                  <a:lnTo>
                    <a:pt x="4"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2" name="Freeform 54">
              <a:extLst>
                <a:ext uri="{FF2B5EF4-FFF2-40B4-BE49-F238E27FC236}">
                  <a16:creationId xmlns:a16="http://schemas.microsoft.com/office/drawing/2014/main" id="{E1514BBD-A6E8-D04E-AA9A-186A954C792F}"/>
                </a:ext>
              </a:extLst>
            </p:cNvPr>
            <p:cNvSpPr>
              <a:spLocks/>
            </p:cNvSpPr>
            <p:nvPr/>
          </p:nvSpPr>
          <p:spPr bwMode="auto">
            <a:xfrm>
              <a:off x="4922421" y="4884738"/>
              <a:ext cx="125413" cy="96838"/>
            </a:xfrm>
            <a:custGeom>
              <a:avLst/>
              <a:gdLst/>
              <a:ahLst/>
              <a:cxnLst>
                <a:cxn ang="0">
                  <a:pos x="35" y="56"/>
                </a:cxn>
                <a:cxn ang="0">
                  <a:pos x="26" y="58"/>
                </a:cxn>
                <a:cxn ang="0">
                  <a:pos x="19" y="59"/>
                </a:cxn>
                <a:cxn ang="0">
                  <a:pos x="11" y="61"/>
                </a:cxn>
                <a:cxn ang="0">
                  <a:pos x="10" y="59"/>
                </a:cxn>
                <a:cxn ang="0">
                  <a:pos x="9" y="54"/>
                </a:cxn>
                <a:cxn ang="0">
                  <a:pos x="9" y="50"/>
                </a:cxn>
                <a:cxn ang="0">
                  <a:pos x="18" y="49"/>
                </a:cxn>
                <a:cxn ang="0">
                  <a:pos x="20" y="47"/>
                </a:cxn>
                <a:cxn ang="0">
                  <a:pos x="23" y="46"/>
                </a:cxn>
                <a:cxn ang="0">
                  <a:pos x="26" y="46"/>
                </a:cxn>
                <a:cxn ang="0">
                  <a:pos x="27" y="44"/>
                </a:cxn>
                <a:cxn ang="0">
                  <a:pos x="28" y="44"/>
                </a:cxn>
                <a:cxn ang="0">
                  <a:pos x="30" y="45"/>
                </a:cxn>
                <a:cxn ang="0">
                  <a:pos x="33" y="47"/>
                </a:cxn>
                <a:cxn ang="0">
                  <a:pos x="35" y="47"/>
                </a:cxn>
                <a:cxn ang="0">
                  <a:pos x="37" y="49"/>
                </a:cxn>
                <a:cxn ang="0">
                  <a:pos x="41" y="48"/>
                </a:cxn>
                <a:cxn ang="0">
                  <a:pos x="44" y="47"/>
                </a:cxn>
                <a:cxn ang="0">
                  <a:pos x="45" y="46"/>
                </a:cxn>
                <a:cxn ang="0">
                  <a:pos x="43" y="44"/>
                </a:cxn>
                <a:cxn ang="0">
                  <a:pos x="40" y="44"/>
                </a:cxn>
                <a:cxn ang="0">
                  <a:pos x="38" y="46"/>
                </a:cxn>
                <a:cxn ang="0">
                  <a:pos x="36" y="43"/>
                </a:cxn>
                <a:cxn ang="0">
                  <a:pos x="34" y="43"/>
                </a:cxn>
                <a:cxn ang="0">
                  <a:pos x="32" y="43"/>
                </a:cxn>
                <a:cxn ang="0">
                  <a:pos x="30" y="41"/>
                </a:cxn>
                <a:cxn ang="0">
                  <a:pos x="28" y="40"/>
                </a:cxn>
                <a:cxn ang="0">
                  <a:pos x="25" y="41"/>
                </a:cxn>
                <a:cxn ang="0">
                  <a:pos x="23" y="42"/>
                </a:cxn>
                <a:cxn ang="0">
                  <a:pos x="13" y="44"/>
                </a:cxn>
                <a:cxn ang="0">
                  <a:pos x="13" y="42"/>
                </a:cxn>
                <a:cxn ang="0">
                  <a:pos x="10" y="39"/>
                </a:cxn>
                <a:cxn ang="0">
                  <a:pos x="8" y="33"/>
                </a:cxn>
                <a:cxn ang="0">
                  <a:pos x="3" y="28"/>
                </a:cxn>
                <a:cxn ang="0">
                  <a:pos x="3" y="25"/>
                </a:cxn>
                <a:cxn ang="0">
                  <a:pos x="11" y="14"/>
                </a:cxn>
                <a:cxn ang="0">
                  <a:pos x="14" y="4"/>
                </a:cxn>
                <a:cxn ang="0">
                  <a:pos x="27" y="1"/>
                </a:cxn>
                <a:cxn ang="0">
                  <a:pos x="38" y="0"/>
                </a:cxn>
                <a:cxn ang="0">
                  <a:pos x="45" y="4"/>
                </a:cxn>
                <a:cxn ang="0">
                  <a:pos x="53" y="7"/>
                </a:cxn>
                <a:cxn ang="0">
                  <a:pos x="55" y="9"/>
                </a:cxn>
                <a:cxn ang="0">
                  <a:pos x="60" y="17"/>
                </a:cxn>
                <a:cxn ang="0">
                  <a:pos x="72" y="27"/>
                </a:cxn>
                <a:cxn ang="0">
                  <a:pos x="69" y="31"/>
                </a:cxn>
                <a:cxn ang="0">
                  <a:pos x="71" y="42"/>
                </a:cxn>
                <a:cxn ang="0">
                  <a:pos x="74" y="46"/>
                </a:cxn>
                <a:cxn ang="0">
                  <a:pos x="78" y="50"/>
                </a:cxn>
                <a:cxn ang="0">
                  <a:pos x="79" y="59"/>
                </a:cxn>
                <a:cxn ang="0">
                  <a:pos x="78" y="59"/>
                </a:cxn>
                <a:cxn ang="0">
                  <a:pos x="68" y="60"/>
                </a:cxn>
                <a:cxn ang="0">
                  <a:pos x="61" y="58"/>
                </a:cxn>
                <a:cxn ang="0">
                  <a:pos x="49" y="56"/>
                </a:cxn>
              </a:cxnLst>
              <a:rect l="0" t="0" r="r" b="b"/>
              <a:pathLst>
                <a:path w="79" h="61">
                  <a:moveTo>
                    <a:pt x="49" y="56"/>
                  </a:moveTo>
                  <a:lnTo>
                    <a:pt x="35" y="56"/>
                  </a:lnTo>
                  <a:lnTo>
                    <a:pt x="29" y="56"/>
                  </a:lnTo>
                  <a:lnTo>
                    <a:pt x="26" y="58"/>
                  </a:lnTo>
                  <a:lnTo>
                    <a:pt x="23" y="59"/>
                  </a:lnTo>
                  <a:lnTo>
                    <a:pt x="19" y="59"/>
                  </a:lnTo>
                  <a:lnTo>
                    <a:pt x="14" y="60"/>
                  </a:lnTo>
                  <a:lnTo>
                    <a:pt x="11" y="61"/>
                  </a:lnTo>
                  <a:lnTo>
                    <a:pt x="11" y="61"/>
                  </a:lnTo>
                  <a:lnTo>
                    <a:pt x="10" y="59"/>
                  </a:lnTo>
                  <a:lnTo>
                    <a:pt x="9" y="57"/>
                  </a:lnTo>
                  <a:lnTo>
                    <a:pt x="9" y="54"/>
                  </a:lnTo>
                  <a:lnTo>
                    <a:pt x="9" y="51"/>
                  </a:lnTo>
                  <a:lnTo>
                    <a:pt x="9" y="50"/>
                  </a:lnTo>
                  <a:lnTo>
                    <a:pt x="9" y="49"/>
                  </a:lnTo>
                  <a:lnTo>
                    <a:pt x="18" y="49"/>
                  </a:lnTo>
                  <a:lnTo>
                    <a:pt x="18" y="47"/>
                  </a:lnTo>
                  <a:lnTo>
                    <a:pt x="20" y="47"/>
                  </a:lnTo>
                  <a:lnTo>
                    <a:pt x="21" y="47"/>
                  </a:lnTo>
                  <a:lnTo>
                    <a:pt x="23" y="46"/>
                  </a:lnTo>
                  <a:lnTo>
                    <a:pt x="24" y="47"/>
                  </a:lnTo>
                  <a:lnTo>
                    <a:pt x="26" y="46"/>
                  </a:lnTo>
                  <a:lnTo>
                    <a:pt x="27" y="46"/>
                  </a:lnTo>
                  <a:lnTo>
                    <a:pt x="27" y="44"/>
                  </a:lnTo>
                  <a:lnTo>
                    <a:pt x="27" y="44"/>
                  </a:lnTo>
                  <a:lnTo>
                    <a:pt x="28" y="44"/>
                  </a:lnTo>
                  <a:lnTo>
                    <a:pt x="29" y="44"/>
                  </a:lnTo>
                  <a:lnTo>
                    <a:pt x="30" y="45"/>
                  </a:lnTo>
                  <a:lnTo>
                    <a:pt x="32" y="46"/>
                  </a:lnTo>
                  <a:lnTo>
                    <a:pt x="33" y="47"/>
                  </a:lnTo>
                  <a:lnTo>
                    <a:pt x="33" y="47"/>
                  </a:lnTo>
                  <a:lnTo>
                    <a:pt x="35" y="47"/>
                  </a:lnTo>
                  <a:lnTo>
                    <a:pt x="36" y="47"/>
                  </a:lnTo>
                  <a:lnTo>
                    <a:pt x="37" y="49"/>
                  </a:lnTo>
                  <a:lnTo>
                    <a:pt x="40" y="49"/>
                  </a:lnTo>
                  <a:lnTo>
                    <a:pt x="41" y="48"/>
                  </a:lnTo>
                  <a:lnTo>
                    <a:pt x="42" y="47"/>
                  </a:lnTo>
                  <a:lnTo>
                    <a:pt x="44" y="47"/>
                  </a:lnTo>
                  <a:lnTo>
                    <a:pt x="45" y="46"/>
                  </a:lnTo>
                  <a:lnTo>
                    <a:pt x="45" y="46"/>
                  </a:lnTo>
                  <a:lnTo>
                    <a:pt x="44" y="44"/>
                  </a:lnTo>
                  <a:lnTo>
                    <a:pt x="43" y="44"/>
                  </a:lnTo>
                  <a:lnTo>
                    <a:pt x="42" y="44"/>
                  </a:lnTo>
                  <a:lnTo>
                    <a:pt x="40" y="44"/>
                  </a:lnTo>
                  <a:lnTo>
                    <a:pt x="39" y="45"/>
                  </a:lnTo>
                  <a:lnTo>
                    <a:pt x="38" y="46"/>
                  </a:lnTo>
                  <a:lnTo>
                    <a:pt x="36" y="44"/>
                  </a:lnTo>
                  <a:lnTo>
                    <a:pt x="36" y="43"/>
                  </a:lnTo>
                  <a:lnTo>
                    <a:pt x="35" y="43"/>
                  </a:lnTo>
                  <a:lnTo>
                    <a:pt x="34" y="43"/>
                  </a:lnTo>
                  <a:lnTo>
                    <a:pt x="33" y="43"/>
                  </a:lnTo>
                  <a:lnTo>
                    <a:pt x="32" y="43"/>
                  </a:lnTo>
                  <a:lnTo>
                    <a:pt x="31" y="41"/>
                  </a:lnTo>
                  <a:lnTo>
                    <a:pt x="30" y="41"/>
                  </a:lnTo>
                  <a:lnTo>
                    <a:pt x="29" y="41"/>
                  </a:lnTo>
                  <a:lnTo>
                    <a:pt x="28" y="40"/>
                  </a:lnTo>
                  <a:lnTo>
                    <a:pt x="26" y="41"/>
                  </a:lnTo>
                  <a:lnTo>
                    <a:pt x="25" y="41"/>
                  </a:lnTo>
                  <a:lnTo>
                    <a:pt x="24" y="41"/>
                  </a:lnTo>
                  <a:lnTo>
                    <a:pt x="23" y="42"/>
                  </a:lnTo>
                  <a:lnTo>
                    <a:pt x="23" y="44"/>
                  </a:lnTo>
                  <a:lnTo>
                    <a:pt x="13" y="44"/>
                  </a:lnTo>
                  <a:lnTo>
                    <a:pt x="13" y="43"/>
                  </a:lnTo>
                  <a:lnTo>
                    <a:pt x="13" y="42"/>
                  </a:lnTo>
                  <a:lnTo>
                    <a:pt x="11" y="40"/>
                  </a:lnTo>
                  <a:lnTo>
                    <a:pt x="10" y="39"/>
                  </a:lnTo>
                  <a:lnTo>
                    <a:pt x="10" y="37"/>
                  </a:lnTo>
                  <a:lnTo>
                    <a:pt x="8" y="33"/>
                  </a:lnTo>
                  <a:lnTo>
                    <a:pt x="5" y="30"/>
                  </a:lnTo>
                  <a:lnTo>
                    <a:pt x="3" y="28"/>
                  </a:lnTo>
                  <a:lnTo>
                    <a:pt x="0" y="27"/>
                  </a:lnTo>
                  <a:lnTo>
                    <a:pt x="3" y="25"/>
                  </a:lnTo>
                  <a:lnTo>
                    <a:pt x="8" y="20"/>
                  </a:lnTo>
                  <a:lnTo>
                    <a:pt x="11" y="14"/>
                  </a:lnTo>
                  <a:lnTo>
                    <a:pt x="13" y="9"/>
                  </a:lnTo>
                  <a:lnTo>
                    <a:pt x="14" y="4"/>
                  </a:lnTo>
                  <a:lnTo>
                    <a:pt x="17" y="2"/>
                  </a:lnTo>
                  <a:lnTo>
                    <a:pt x="27" y="1"/>
                  </a:lnTo>
                  <a:lnTo>
                    <a:pt x="35" y="0"/>
                  </a:lnTo>
                  <a:lnTo>
                    <a:pt x="38" y="0"/>
                  </a:lnTo>
                  <a:lnTo>
                    <a:pt x="41" y="1"/>
                  </a:lnTo>
                  <a:lnTo>
                    <a:pt x="45" y="4"/>
                  </a:lnTo>
                  <a:lnTo>
                    <a:pt x="49" y="6"/>
                  </a:lnTo>
                  <a:lnTo>
                    <a:pt x="53" y="7"/>
                  </a:lnTo>
                  <a:lnTo>
                    <a:pt x="54" y="8"/>
                  </a:lnTo>
                  <a:lnTo>
                    <a:pt x="55" y="9"/>
                  </a:lnTo>
                  <a:lnTo>
                    <a:pt x="57" y="13"/>
                  </a:lnTo>
                  <a:lnTo>
                    <a:pt x="60" y="17"/>
                  </a:lnTo>
                  <a:lnTo>
                    <a:pt x="64" y="21"/>
                  </a:lnTo>
                  <a:lnTo>
                    <a:pt x="72" y="27"/>
                  </a:lnTo>
                  <a:lnTo>
                    <a:pt x="69" y="29"/>
                  </a:lnTo>
                  <a:lnTo>
                    <a:pt x="69" y="31"/>
                  </a:lnTo>
                  <a:lnTo>
                    <a:pt x="71" y="38"/>
                  </a:lnTo>
                  <a:lnTo>
                    <a:pt x="71" y="42"/>
                  </a:lnTo>
                  <a:lnTo>
                    <a:pt x="72" y="45"/>
                  </a:lnTo>
                  <a:lnTo>
                    <a:pt x="74" y="46"/>
                  </a:lnTo>
                  <a:lnTo>
                    <a:pt x="77" y="48"/>
                  </a:lnTo>
                  <a:lnTo>
                    <a:pt x="78" y="50"/>
                  </a:lnTo>
                  <a:lnTo>
                    <a:pt x="79" y="55"/>
                  </a:lnTo>
                  <a:lnTo>
                    <a:pt x="79" y="59"/>
                  </a:lnTo>
                  <a:lnTo>
                    <a:pt x="78" y="59"/>
                  </a:lnTo>
                  <a:lnTo>
                    <a:pt x="78" y="59"/>
                  </a:lnTo>
                  <a:lnTo>
                    <a:pt x="72" y="60"/>
                  </a:lnTo>
                  <a:lnTo>
                    <a:pt x="68" y="60"/>
                  </a:lnTo>
                  <a:lnTo>
                    <a:pt x="64" y="60"/>
                  </a:lnTo>
                  <a:lnTo>
                    <a:pt x="61" y="58"/>
                  </a:lnTo>
                  <a:lnTo>
                    <a:pt x="56" y="56"/>
                  </a:lnTo>
                  <a:lnTo>
                    <a:pt x="49" y="5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3" name="Freeform 55">
              <a:extLst>
                <a:ext uri="{FF2B5EF4-FFF2-40B4-BE49-F238E27FC236}">
                  <a16:creationId xmlns:a16="http://schemas.microsoft.com/office/drawing/2014/main" id="{CD58647B-387F-0947-E8FC-099D288B7719}"/>
                </a:ext>
              </a:extLst>
            </p:cNvPr>
            <p:cNvSpPr>
              <a:spLocks/>
            </p:cNvSpPr>
            <p:nvPr/>
          </p:nvSpPr>
          <p:spPr bwMode="auto">
            <a:xfrm>
              <a:off x="5717759" y="3751263"/>
              <a:ext cx="150813" cy="90488"/>
            </a:xfrm>
            <a:custGeom>
              <a:avLst/>
              <a:gdLst/>
              <a:ahLst/>
              <a:cxnLst>
                <a:cxn ang="0">
                  <a:pos x="86" y="14"/>
                </a:cxn>
                <a:cxn ang="0">
                  <a:pos x="89" y="17"/>
                </a:cxn>
                <a:cxn ang="0">
                  <a:pos x="90" y="20"/>
                </a:cxn>
                <a:cxn ang="0">
                  <a:pos x="90" y="23"/>
                </a:cxn>
                <a:cxn ang="0">
                  <a:pos x="89" y="24"/>
                </a:cxn>
                <a:cxn ang="0">
                  <a:pos x="89" y="28"/>
                </a:cxn>
                <a:cxn ang="0">
                  <a:pos x="89" y="29"/>
                </a:cxn>
                <a:cxn ang="0">
                  <a:pos x="91" y="29"/>
                </a:cxn>
                <a:cxn ang="0">
                  <a:pos x="91" y="32"/>
                </a:cxn>
                <a:cxn ang="0">
                  <a:pos x="93" y="35"/>
                </a:cxn>
                <a:cxn ang="0">
                  <a:pos x="94" y="38"/>
                </a:cxn>
                <a:cxn ang="0">
                  <a:pos x="95" y="43"/>
                </a:cxn>
                <a:cxn ang="0">
                  <a:pos x="95" y="46"/>
                </a:cxn>
                <a:cxn ang="0">
                  <a:pos x="91" y="48"/>
                </a:cxn>
                <a:cxn ang="0">
                  <a:pos x="88" y="51"/>
                </a:cxn>
                <a:cxn ang="0">
                  <a:pos x="86" y="55"/>
                </a:cxn>
                <a:cxn ang="0">
                  <a:pos x="81" y="54"/>
                </a:cxn>
                <a:cxn ang="0">
                  <a:pos x="78" y="56"/>
                </a:cxn>
                <a:cxn ang="0">
                  <a:pos x="75" y="56"/>
                </a:cxn>
                <a:cxn ang="0">
                  <a:pos x="71" y="56"/>
                </a:cxn>
                <a:cxn ang="0">
                  <a:pos x="67" y="51"/>
                </a:cxn>
                <a:cxn ang="0">
                  <a:pos x="60" y="46"/>
                </a:cxn>
                <a:cxn ang="0">
                  <a:pos x="53" y="42"/>
                </a:cxn>
                <a:cxn ang="0">
                  <a:pos x="50" y="41"/>
                </a:cxn>
                <a:cxn ang="0">
                  <a:pos x="44" y="43"/>
                </a:cxn>
                <a:cxn ang="0">
                  <a:pos x="39" y="41"/>
                </a:cxn>
                <a:cxn ang="0">
                  <a:pos x="32" y="41"/>
                </a:cxn>
                <a:cxn ang="0">
                  <a:pos x="28" y="42"/>
                </a:cxn>
                <a:cxn ang="0">
                  <a:pos x="26" y="40"/>
                </a:cxn>
                <a:cxn ang="0">
                  <a:pos x="18" y="40"/>
                </a:cxn>
                <a:cxn ang="0">
                  <a:pos x="8" y="43"/>
                </a:cxn>
                <a:cxn ang="0">
                  <a:pos x="3" y="47"/>
                </a:cxn>
                <a:cxn ang="0">
                  <a:pos x="0" y="38"/>
                </a:cxn>
                <a:cxn ang="0">
                  <a:pos x="5" y="29"/>
                </a:cxn>
                <a:cxn ang="0">
                  <a:pos x="9" y="17"/>
                </a:cxn>
                <a:cxn ang="0">
                  <a:pos x="18" y="12"/>
                </a:cxn>
                <a:cxn ang="0">
                  <a:pos x="22" y="11"/>
                </a:cxn>
                <a:cxn ang="0">
                  <a:pos x="28" y="19"/>
                </a:cxn>
                <a:cxn ang="0">
                  <a:pos x="33" y="28"/>
                </a:cxn>
                <a:cxn ang="0">
                  <a:pos x="44" y="25"/>
                </a:cxn>
                <a:cxn ang="0">
                  <a:pos x="44" y="8"/>
                </a:cxn>
                <a:cxn ang="0">
                  <a:pos x="45" y="5"/>
                </a:cxn>
                <a:cxn ang="0">
                  <a:pos x="49" y="2"/>
                </a:cxn>
                <a:cxn ang="0">
                  <a:pos x="52" y="1"/>
                </a:cxn>
                <a:cxn ang="0">
                  <a:pos x="55" y="0"/>
                </a:cxn>
                <a:cxn ang="0">
                  <a:pos x="56" y="2"/>
                </a:cxn>
                <a:cxn ang="0">
                  <a:pos x="58" y="1"/>
                </a:cxn>
                <a:cxn ang="0">
                  <a:pos x="61" y="4"/>
                </a:cxn>
                <a:cxn ang="0">
                  <a:pos x="64" y="5"/>
                </a:cxn>
                <a:cxn ang="0">
                  <a:pos x="67" y="7"/>
                </a:cxn>
                <a:cxn ang="0">
                  <a:pos x="70" y="10"/>
                </a:cxn>
                <a:cxn ang="0">
                  <a:pos x="72" y="12"/>
                </a:cxn>
                <a:cxn ang="0">
                  <a:pos x="75" y="12"/>
                </a:cxn>
                <a:cxn ang="0">
                  <a:pos x="78" y="11"/>
                </a:cxn>
                <a:cxn ang="0">
                  <a:pos x="81" y="13"/>
                </a:cxn>
                <a:cxn ang="0">
                  <a:pos x="84" y="13"/>
                </a:cxn>
              </a:cxnLst>
              <a:rect l="0" t="0" r="r" b="b"/>
              <a:pathLst>
                <a:path w="95" h="57">
                  <a:moveTo>
                    <a:pt x="84" y="13"/>
                  </a:moveTo>
                  <a:lnTo>
                    <a:pt x="86" y="13"/>
                  </a:lnTo>
                  <a:lnTo>
                    <a:pt x="86" y="14"/>
                  </a:lnTo>
                  <a:lnTo>
                    <a:pt x="86" y="16"/>
                  </a:lnTo>
                  <a:lnTo>
                    <a:pt x="88" y="16"/>
                  </a:lnTo>
                  <a:lnTo>
                    <a:pt x="89" y="17"/>
                  </a:lnTo>
                  <a:lnTo>
                    <a:pt x="89" y="18"/>
                  </a:lnTo>
                  <a:lnTo>
                    <a:pt x="90" y="19"/>
                  </a:lnTo>
                  <a:lnTo>
                    <a:pt x="90" y="20"/>
                  </a:lnTo>
                  <a:lnTo>
                    <a:pt x="90" y="21"/>
                  </a:lnTo>
                  <a:lnTo>
                    <a:pt x="90" y="22"/>
                  </a:lnTo>
                  <a:lnTo>
                    <a:pt x="90" y="23"/>
                  </a:lnTo>
                  <a:lnTo>
                    <a:pt x="89" y="23"/>
                  </a:lnTo>
                  <a:lnTo>
                    <a:pt x="89" y="23"/>
                  </a:lnTo>
                  <a:lnTo>
                    <a:pt x="89" y="24"/>
                  </a:lnTo>
                  <a:lnTo>
                    <a:pt x="89" y="25"/>
                  </a:lnTo>
                  <a:lnTo>
                    <a:pt x="89" y="27"/>
                  </a:lnTo>
                  <a:lnTo>
                    <a:pt x="89" y="28"/>
                  </a:lnTo>
                  <a:lnTo>
                    <a:pt x="88" y="28"/>
                  </a:lnTo>
                  <a:lnTo>
                    <a:pt x="88" y="29"/>
                  </a:lnTo>
                  <a:lnTo>
                    <a:pt x="89" y="29"/>
                  </a:lnTo>
                  <a:lnTo>
                    <a:pt x="90" y="29"/>
                  </a:lnTo>
                  <a:lnTo>
                    <a:pt x="90" y="29"/>
                  </a:lnTo>
                  <a:lnTo>
                    <a:pt x="91" y="29"/>
                  </a:lnTo>
                  <a:lnTo>
                    <a:pt x="92" y="30"/>
                  </a:lnTo>
                  <a:lnTo>
                    <a:pt x="91" y="31"/>
                  </a:lnTo>
                  <a:lnTo>
                    <a:pt x="91" y="32"/>
                  </a:lnTo>
                  <a:lnTo>
                    <a:pt x="92" y="33"/>
                  </a:lnTo>
                  <a:lnTo>
                    <a:pt x="92" y="34"/>
                  </a:lnTo>
                  <a:lnTo>
                    <a:pt x="93" y="35"/>
                  </a:lnTo>
                  <a:lnTo>
                    <a:pt x="93" y="36"/>
                  </a:lnTo>
                  <a:lnTo>
                    <a:pt x="94" y="37"/>
                  </a:lnTo>
                  <a:lnTo>
                    <a:pt x="94" y="38"/>
                  </a:lnTo>
                  <a:lnTo>
                    <a:pt x="95" y="39"/>
                  </a:lnTo>
                  <a:lnTo>
                    <a:pt x="95" y="41"/>
                  </a:lnTo>
                  <a:lnTo>
                    <a:pt x="95" y="43"/>
                  </a:lnTo>
                  <a:lnTo>
                    <a:pt x="95" y="44"/>
                  </a:lnTo>
                  <a:lnTo>
                    <a:pt x="95" y="46"/>
                  </a:lnTo>
                  <a:lnTo>
                    <a:pt x="95" y="46"/>
                  </a:lnTo>
                  <a:lnTo>
                    <a:pt x="93" y="47"/>
                  </a:lnTo>
                  <a:lnTo>
                    <a:pt x="92" y="47"/>
                  </a:lnTo>
                  <a:lnTo>
                    <a:pt x="91" y="48"/>
                  </a:lnTo>
                  <a:lnTo>
                    <a:pt x="90" y="49"/>
                  </a:lnTo>
                  <a:lnTo>
                    <a:pt x="89" y="50"/>
                  </a:lnTo>
                  <a:lnTo>
                    <a:pt x="88" y="51"/>
                  </a:lnTo>
                  <a:lnTo>
                    <a:pt x="87" y="52"/>
                  </a:lnTo>
                  <a:lnTo>
                    <a:pt x="87" y="55"/>
                  </a:lnTo>
                  <a:lnTo>
                    <a:pt x="86" y="55"/>
                  </a:lnTo>
                  <a:lnTo>
                    <a:pt x="85" y="55"/>
                  </a:lnTo>
                  <a:lnTo>
                    <a:pt x="83" y="54"/>
                  </a:lnTo>
                  <a:lnTo>
                    <a:pt x="81" y="54"/>
                  </a:lnTo>
                  <a:lnTo>
                    <a:pt x="79" y="54"/>
                  </a:lnTo>
                  <a:lnTo>
                    <a:pt x="78" y="55"/>
                  </a:lnTo>
                  <a:lnTo>
                    <a:pt x="78" y="56"/>
                  </a:lnTo>
                  <a:lnTo>
                    <a:pt x="76" y="57"/>
                  </a:lnTo>
                  <a:lnTo>
                    <a:pt x="75" y="57"/>
                  </a:lnTo>
                  <a:lnTo>
                    <a:pt x="75" y="56"/>
                  </a:lnTo>
                  <a:lnTo>
                    <a:pt x="74" y="57"/>
                  </a:lnTo>
                  <a:lnTo>
                    <a:pt x="72" y="57"/>
                  </a:lnTo>
                  <a:lnTo>
                    <a:pt x="71" y="56"/>
                  </a:lnTo>
                  <a:lnTo>
                    <a:pt x="69" y="54"/>
                  </a:lnTo>
                  <a:lnTo>
                    <a:pt x="69" y="53"/>
                  </a:lnTo>
                  <a:lnTo>
                    <a:pt x="67" y="51"/>
                  </a:lnTo>
                  <a:lnTo>
                    <a:pt x="64" y="49"/>
                  </a:lnTo>
                  <a:lnTo>
                    <a:pt x="62" y="46"/>
                  </a:lnTo>
                  <a:lnTo>
                    <a:pt x="60" y="46"/>
                  </a:lnTo>
                  <a:lnTo>
                    <a:pt x="56" y="46"/>
                  </a:lnTo>
                  <a:lnTo>
                    <a:pt x="54" y="44"/>
                  </a:lnTo>
                  <a:lnTo>
                    <a:pt x="53" y="42"/>
                  </a:lnTo>
                  <a:lnTo>
                    <a:pt x="52" y="40"/>
                  </a:lnTo>
                  <a:lnTo>
                    <a:pt x="51" y="40"/>
                  </a:lnTo>
                  <a:lnTo>
                    <a:pt x="50" y="41"/>
                  </a:lnTo>
                  <a:lnTo>
                    <a:pt x="48" y="42"/>
                  </a:lnTo>
                  <a:lnTo>
                    <a:pt x="45" y="43"/>
                  </a:lnTo>
                  <a:lnTo>
                    <a:pt x="44" y="43"/>
                  </a:lnTo>
                  <a:lnTo>
                    <a:pt x="42" y="43"/>
                  </a:lnTo>
                  <a:lnTo>
                    <a:pt x="41" y="43"/>
                  </a:lnTo>
                  <a:lnTo>
                    <a:pt x="39" y="41"/>
                  </a:lnTo>
                  <a:lnTo>
                    <a:pt x="36" y="41"/>
                  </a:lnTo>
                  <a:lnTo>
                    <a:pt x="34" y="42"/>
                  </a:lnTo>
                  <a:lnTo>
                    <a:pt x="32" y="41"/>
                  </a:lnTo>
                  <a:lnTo>
                    <a:pt x="30" y="41"/>
                  </a:lnTo>
                  <a:lnTo>
                    <a:pt x="29" y="41"/>
                  </a:lnTo>
                  <a:lnTo>
                    <a:pt x="28" y="42"/>
                  </a:lnTo>
                  <a:lnTo>
                    <a:pt x="27" y="41"/>
                  </a:lnTo>
                  <a:lnTo>
                    <a:pt x="26" y="40"/>
                  </a:lnTo>
                  <a:lnTo>
                    <a:pt x="26" y="40"/>
                  </a:lnTo>
                  <a:lnTo>
                    <a:pt x="24" y="41"/>
                  </a:lnTo>
                  <a:lnTo>
                    <a:pt x="23" y="41"/>
                  </a:lnTo>
                  <a:lnTo>
                    <a:pt x="18" y="40"/>
                  </a:lnTo>
                  <a:lnTo>
                    <a:pt x="16" y="40"/>
                  </a:lnTo>
                  <a:lnTo>
                    <a:pt x="11" y="41"/>
                  </a:lnTo>
                  <a:lnTo>
                    <a:pt x="8" y="43"/>
                  </a:lnTo>
                  <a:lnTo>
                    <a:pt x="5" y="44"/>
                  </a:lnTo>
                  <a:lnTo>
                    <a:pt x="4" y="46"/>
                  </a:lnTo>
                  <a:lnTo>
                    <a:pt x="3" y="47"/>
                  </a:lnTo>
                  <a:lnTo>
                    <a:pt x="0" y="48"/>
                  </a:lnTo>
                  <a:lnTo>
                    <a:pt x="0" y="47"/>
                  </a:lnTo>
                  <a:lnTo>
                    <a:pt x="0" y="38"/>
                  </a:lnTo>
                  <a:lnTo>
                    <a:pt x="1" y="35"/>
                  </a:lnTo>
                  <a:lnTo>
                    <a:pt x="2" y="33"/>
                  </a:lnTo>
                  <a:lnTo>
                    <a:pt x="5" y="29"/>
                  </a:lnTo>
                  <a:lnTo>
                    <a:pt x="6" y="22"/>
                  </a:lnTo>
                  <a:lnTo>
                    <a:pt x="7" y="20"/>
                  </a:lnTo>
                  <a:lnTo>
                    <a:pt x="9" y="17"/>
                  </a:lnTo>
                  <a:lnTo>
                    <a:pt x="10" y="14"/>
                  </a:lnTo>
                  <a:lnTo>
                    <a:pt x="12" y="14"/>
                  </a:lnTo>
                  <a:lnTo>
                    <a:pt x="18" y="12"/>
                  </a:lnTo>
                  <a:lnTo>
                    <a:pt x="19" y="11"/>
                  </a:lnTo>
                  <a:lnTo>
                    <a:pt x="20" y="11"/>
                  </a:lnTo>
                  <a:lnTo>
                    <a:pt x="22" y="11"/>
                  </a:lnTo>
                  <a:lnTo>
                    <a:pt x="22" y="13"/>
                  </a:lnTo>
                  <a:lnTo>
                    <a:pt x="26" y="17"/>
                  </a:lnTo>
                  <a:lnTo>
                    <a:pt x="28" y="19"/>
                  </a:lnTo>
                  <a:lnTo>
                    <a:pt x="30" y="25"/>
                  </a:lnTo>
                  <a:lnTo>
                    <a:pt x="30" y="26"/>
                  </a:lnTo>
                  <a:lnTo>
                    <a:pt x="33" y="28"/>
                  </a:lnTo>
                  <a:lnTo>
                    <a:pt x="38" y="29"/>
                  </a:lnTo>
                  <a:lnTo>
                    <a:pt x="42" y="26"/>
                  </a:lnTo>
                  <a:lnTo>
                    <a:pt x="44" y="25"/>
                  </a:lnTo>
                  <a:lnTo>
                    <a:pt x="45" y="22"/>
                  </a:lnTo>
                  <a:lnTo>
                    <a:pt x="45" y="17"/>
                  </a:lnTo>
                  <a:lnTo>
                    <a:pt x="44" y="8"/>
                  </a:lnTo>
                  <a:lnTo>
                    <a:pt x="45" y="5"/>
                  </a:lnTo>
                  <a:lnTo>
                    <a:pt x="45" y="5"/>
                  </a:lnTo>
                  <a:lnTo>
                    <a:pt x="45" y="5"/>
                  </a:lnTo>
                  <a:lnTo>
                    <a:pt x="46" y="4"/>
                  </a:lnTo>
                  <a:lnTo>
                    <a:pt x="48" y="2"/>
                  </a:lnTo>
                  <a:lnTo>
                    <a:pt x="49" y="2"/>
                  </a:lnTo>
                  <a:lnTo>
                    <a:pt x="50" y="2"/>
                  </a:lnTo>
                  <a:lnTo>
                    <a:pt x="51" y="2"/>
                  </a:lnTo>
                  <a:lnTo>
                    <a:pt x="52" y="1"/>
                  </a:lnTo>
                  <a:lnTo>
                    <a:pt x="53" y="1"/>
                  </a:lnTo>
                  <a:lnTo>
                    <a:pt x="54" y="0"/>
                  </a:lnTo>
                  <a:lnTo>
                    <a:pt x="55" y="0"/>
                  </a:lnTo>
                  <a:lnTo>
                    <a:pt x="56" y="0"/>
                  </a:lnTo>
                  <a:lnTo>
                    <a:pt x="56" y="1"/>
                  </a:lnTo>
                  <a:lnTo>
                    <a:pt x="56" y="2"/>
                  </a:lnTo>
                  <a:lnTo>
                    <a:pt x="57" y="1"/>
                  </a:lnTo>
                  <a:lnTo>
                    <a:pt x="57" y="0"/>
                  </a:lnTo>
                  <a:lnTo>
                    <a:pt x="58" y="1"/>
                  </a:lnTo>
                  <a:lnTo>
                    <a:pt x="59" y="2"/>
                  </a:lnTo>
                  <a:lnTo>
                    <a:pt x="60" y="2"/>
                  </a:lnTo>
                  <a:lnTo>
                    <a:pt x="61" y="4"/>
                  </a:lnTo>
                  <a:lnTo>
                    <a:pt x="63" y="4"/>
                  </a:lnTo>
                  <a:lnTo>
                    <a:pt x="63" y="4"/>
                  </a:lnTo>
                  <a:lnTo>
                    <a:pt x="64" y="5"/>
                  </a:lnTo>
                  <a:lnTo>
                    <a:pt x="65" y="5"/>
                  </a:lnTo>
                  <a:lnTo>
                    <a:pt x="66" y="5"/>
                  </a:lnTo>
                  <a:lnTo>
                    <a:pt x="67" y="7"/>
                  </a:lnTo>
                  <a:lnTo>
                    <a:pt x="68" y="7"/>
                  </a:lnTo>
                  <a:lnTo>
                    <a:pt x="69" y="8"/>
                  </a:lnTo>
                  <a:lnTo>
                    <a:pt x="70" y="10"/>
                  </a:lnTo>
                  <a:lnTo>
                    <a:pt x="71" y="12"/>
                  </a:lnTo>
                  <a:lnTo>
                    <a:pt x="72" y="12"/>
                  </a:lnTo>
                  <a:lnTo>
                    <a:pt x="72" y="12"/>
                  </a:lnTo>
                  <a:lnTo>
                    <a:pt x="74" y="13"/>
                  </a:lnTo>
                  <a:lnTo>
                    <a:pt x="74" y="13"/>
                  </a:lnTo>
                  <a:lnTo>
                    <a:pt x="75" y="12"/>
                  </a:lnTo>
                  <a:lnTo>
                    <a:pt x="76" y="11"/>
                  </a:lnTo>
                  <a:lnTo>
                    <a:pt x="77" y="12"/>
                  </a:lnTo>
                  <a:lnTo>
                    <a:pt x="78" y="11"/>
                  </a:lnTo>
                  <a:lnTo>
                    <a:pt x="79" y="11"/>
                  </a:lnTo>
                  <a:lnTo>
                    <a:pt x="80" y="12"/>
                  </a:lnTo>
                  <a:lnTo>
                    <a:pt x="81" y="13"/>
                  </a:lnTo>
                  <a:lnTo>
                    <a:pt x="83" y="13"/>
                  </a:lnTo>
                  <a:lnTo>
                    <a:pt x="83" y="13"/>
                  </a:lnTo>
                  <a:lnTo>
                    <a:pt x="84" y="1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4" name="Freeform 56">
              <a:extLst>
                <a:ext uri="{FF2B5EF4-FFF2-40B4-BE49-F238E27FC236}">
                  <a16:creationId xmlns:a16="http://schemas.microsoft.com/office/drawing/2014/main" id="{CF8D4EE2-C026-C58F-57E5-F002D733DD5A}"/>
                </a:ext>
              </a:extLst>
            </p:cNvPr>
            <p:cNvSpPr>
              <a:spLocks/>
            </p:cNvSpPr>
            <p:nvPr/>
          </p:nvSpPr>
          <p:spPr bwMode="auto">
            <a:xfrm>
              <a:off x="5768559" y="3694113"/>
              <a:ext cx="100013" cy="77788"/>
            </a:xfrm>
            <a:custGeom>
              <a:avLst/>
              <a:gdLst/>
              <a:ahLst/>
              <a:cxnLst>
                <a:cxn ang="0">
                  <a:pos x="62" y="1"/>
                </a:cxn>
                <a:cxn ang="0">
                  <a:pos x="63" y="5"/>
                </a:cxn>
                <a:cxn ang="0">
                  <a:pos x="60" y="5"/>
                </a:cxn>
                <a:cxn ang="0">
                  <a:pos x="59" y="6"/>
                </a:cxn>
                <a:cxn ang="0">
                  <a:pos x="58" y="10"/>
                </a:cxn>
                <a:cxn ang="0">
                  <a:pos x="55" y="14"/>
                </a:cxn>
                <a:cxn ang="0">
                  <a:pos x="53" y="17"/>
                </a:cxn>
                <a:cxn ang="0">
                  <a:pos x="54" y="24"/>
                </a:cxn>
                <a:cxn ang="0">
                  <a:pos x="54" y="28"/>
                </a:cxn>
                <a:cxn ang="0">
                  <a:pos x="53" y="32"/>
                </a:cxn>
                <a:cxn ang="0">
                  <a:pos x="55" y="35"/>
                </a:cxn>
                <a:cxn ang="0">
                  <a:pos x="56" y="37"/>
                </a:cxn>
                <a:cxn ang="0">
                  <a:pos x="57" y="40"/>
                </a:cxn>
                <a:cxn ang="0">
                  <a:pos x="58" y="41"/>
                </a:cxn>
                <a:cxn ang="0">
                  <a:pos x="55" y="42"/>
                </a:cxn>
                <a:cxn ang="0">
                  <a:pos x="54" y="44"/>
                </a:cxn>
                <a:cxn ang="0">
                  <a:pos x="53" y="45"/>
                </a:cxn>
                <a:cxn ang="0">
                  <a:pos x="52" y="47"/>
                </a:cxn>
                <a:cxn ang="0">
                  <a:pos x="52" y="49"/>
                </a:cxn>
                <a:cxn ang="0">
                  <a:pos x="51" y="49"/>
                </a:cxn>
                <a:cxn ang="0">
                  <a:pos x="48" y="48"/>
                </a:cxn>
                <a:cxn ang="0">
                  <a:pos x="46" y="47"/>
                </a:cxn>
                <a:cxn ang="0">
                  <a:pos x="44" y="47"/>
                </a:cxn>
                <a:cxn ang="0">
                  <a:pos x="42" y="49"/>
                </a:cxn>
                <a:cxn ang="0">
                  <a:pos x="40" y="48"/>
                </a:cxn>
                <a:cxn ang="0">
                  <a:pos x="39" y="48"/>
                </a:cxn>
                <a:cxn ang="0">
                  <a:pos x="37" y="44"/>
                </a:cxn>
                <a:cxn ang="0">
                  <a:pos x="35" y="43"/>
                </a:cxn>
                <a:cxn ang="0">
                  <a:pos x="33" y="41"/>
                </a:cxn>
                <a:cxn ang="0">
                  <a:pos x="31" y="40"/>
                </a:cxn>
                <a:cxn ang="0">
                  <a:pos x="29" y="40"/>
                </a:cxn>
                <a:cxn ang="0">
                  <a:pos x="27" y="38"/>
                </a:cxn>
                <a:cxn ang="0">
                  <a:pos x="25" y="36"/>
                </a:cxn>
                <a:cxn ang="0">
                  <a:pos x="24" y="38"/>
                </a:cxn>
                <a:cxn ang="0">
                  <a:pos x="24" y="36"/>
                </a:cxn>
                <a:cxn ang="0">
                  <a:pos x="22" y="36"/>
                </a:cxn>
                <a:cxn ang="0">
                  <a:pos x="20" y="37"/>
                </a:cxn>
                <a:cxn ang="0">
                  <a:pos x="18" y="38"/>
                </a:cxn>
                <a:cxn ang="0">
                  <a:pos x="16" y="38"/>
                </a:cxn>
                <a:cxn ang="0">
                  <a:pos x="13" y="41"/>
                </a:cxn>
                <a:cxn ang="0">
                  <a:pos x="14" y="38"/>
                </a:cxn>
                <a:cxn ang="0">
                  <a:pos x="15" y="32"/>
                </a:cxn>
                <a:cxn ang="0">
                  <a:pos x="9" y="35"/>
                </a:cxn>
                <a:cxn ang="0">
                  <a:pos x="4" y="31"/>
                </a:cxn>
                <a:cxn ang="0">
                  <a:pos x="2" y="23"/>
                </a:cxn>
                <a:cxn ang="0">
                  <a:pos x="1" y="16"/>
                </a:cxn>
                <a:cxn ang="0">
                  <a:pos x="1" y="12"/>
                </a:cxn>
                <a:cxn ang="0">
                  <a:pos x="3" y="9"/>
                </a:cxn>
                <a:cxn ang="0">
                  <a:pos x="9" y="6"/>
                </a:cxn>
                <a:cxn ang="0">
                  <a:pos x="13" y="3"/>
                </a:cxn>
                <a:cxn ang="0">
                  <a:pos x="16" y="3"/>
                </a:cxn>
                <a:cxn ang="0">
                  <a:pos x="18" y="1"/>
                </a:cxn>
                <a:cxn ang="0">
                  <a:pos x="27" y="0"/>
                </a:cxn>
                <a:cxn ang="0">
                  <a:pos x="31" y="1"/>
                </a:cxn>
                <a:cxn ang="0">
                  <a:pos x="46" y="3"/>
                </a:cxn>
                <a:cxn ang="0">
                  <a:pos x="51" y="4"/>
                </a:cxn>
                <a:cxn ang="0">
                  <a:pos x="59" y="4"/>
                </a:cxn>
                <a:cxn ang="0">
                  <a:pos x="61" y="1"/>
                </a:cxn>
              </a:cxnLst>
              <a:rect l="0" t="0" r="r" b="b"/>
              <a:pathLst>
                <a:path w="63" h="49">
                  <a:moveTo>
                    <a:pt x="61" y="1"/>
                  </a:moveTo>
                  <a:lnTo>
                    <a:pt x="62" y="1"/>
                  </a:lnTo>
                  <a:lnTo>
                    <a:pt x="63" y="3"/>
                  </a:lnTo>
                  <a:lnTo>
                    <a:pt x="63" y="5"/>
                  </a:lnTo>
                  <a:lnTo>
                    <a:pt x="61" y="5"/>
                  </a:lnTo>
                  <a:lnTo>
                    <a:pt x="60" y="5"/>
                  </a:lnTo>
                  <a:lnTo>
                    <a:pt x="60" y="5"/>
                  </a:lnTo>
                  <a:lnTo>
                    <a:pt x="59" y="6"/>
                  </a:lnTo>
                  <a:lnTo>
                    <a:pt x="59" y="7"/>
                  </a:lnTo>
                  <a:lnTo>
                    <a:pt x="58" y="10"/>
                  </a:lnTo>
                  <a:lnTo>
                    <a:pt x="57" y="13"/>
                  </a:lnTo>
                  <a:lnTo>
                    <a:pt x="55" y="14"/>
                  </a:lnTo>
                  <a:lnTo>
                    <a:pt x="53" y="16"/>
                  </a:lnTo>
                  <a:lnTo>
                    <a:pt x="53" y="17"/>
                  </a:lnTo>
                  <a:lnTo>
                    <a:pt x="53" y="19"/>
                  </a:lnTo>
                  <a:lnTo>
                    <a:pt x="54" y="24"/>
                  </a:lnTo>
                  <a:lnTo>
                    <a:pt x="54" y="26"/>
                  </a:lnTo>
                  <a:lnTo>
                    <a:pt x="54" y="28"/>
                  </a:lnTo>
                  <a:lnTo>
                    <a:pt x="53" y="30"/>
                  </a:lnTo>
                  <a:lnTo>
                    <a:pt x="53" y="32"/>
                  </a:lnTo>
                  <a:lnTo>
                    <a:pt x="54" y="34"/>
                  </a:lnTo>
                  <a:lnTo>
                    <a:pt x="55" y="35"/>
                  </a:lnTo>
                  <a:lnTo>
                    <a:pt x="56" y="36"/>
                  </a:lnTo>
                  <a:lnTo>
                    <a:pt x="56" y="37"/>
                  </a:lnTo>
                  <a:lnTo>
                    <a:pt x="56" y="38"/>
                  </a:lnTo>
                  <a:lnTo>
                    <a:pt x="57" y="40"/>
                  </a:lnTo>
                  <a:lnTo>
                    <a:pt x="57" y="40"/>
                  </a:lnTo>
                  <a:lnTo>
                    <a:pt x="58" y="41"/>
                  </a:lnTo>
                  <a:lnTo>
                    <a:pt x="57" y="41"/>
                  </a:lnTo>
                  <a:lnTo>
                    <a:pt x="55" y="42"/>
                  </a:lnTo>
                  <a:lnTo>
                    <a:pt x="54" y="43"/>
                  </a:lnTo>
                  <a:lnTo>
                    <a:pt x="54" y="44"/>
                  </a:lnTo>
                  <a:lnTo>
                    <a:pt x="54" y="45"/>
                  </a:lnTo>
                  <a:lnTo>
                    <a:pt x="53" y="45"/>
                  </a:lnTo>
                  <a:lnTo>
                    <a:pt x="52" y="46"/>
                  </a:lnTo>
                  <a:lnTo>
                    <a:pt x="52" y="47"/>
                  </a:lnTo>
                  <a:lnTo>
                    <a:pt x="52" y="48"/>
                  </a:lnTo>
                  <a:lnTo>
                    <a:pt x="52" y="49"/>
                  </a:lnTo>
                  <a:lnTo>
                    <a:pt x="51" y="49"/>
                  </a:lnTo>
                  <a:lnTo>
                    <a:pt x="51" y="49"/>
                  </a:lnTo>
                  <a:lnTo>
                    <a:pt x="49" y="49"/>
                  </a:lnTo>
                  <a:lnTo>
                    <a:pt x="48" y="48"/>
                  </a:lnTo>
                  <a:lnTo>
                    <a:pt x="47" y="47"/>
                  </a:lnTo>
                  <a:lnTo>
                    <a:pt x="46" y="47"/>
                  </a:lnTo>
                  <a:lnTo>
                    <a:pt x="45" y="48"/>
                  </a:lnTo>
                  <a:lnTo>
                    <a:pt x="44" y="47"/>
                  </a:lnTo>
                  <a:lnTo>
                    <a:pt x="43" y="48"/>
                  </a:lnTo>
                  <a:lnTo>
                    <a:pt x="42" y="49"/>
                  </a:lnTo>
                  <a:lnTo>
                    <a:pt x="42" y="49"/>
                  </a:lnTo>
                  <a:lnTo>
                    <a:pt x="40" y="48"/>
                  </a:lnTo>
                  <a:lnTo>
                    <a:pt x="40" y="48"/>
                  </a:lnTo>
                  <a:lnTo>
                    <a:pt x="39" y="48"/>
                  </a:lnTo>
                  <a:lnTo>
                    <a:pt x="38" y="46"/>
                  </a:lnTo>
                  <a:lnTo>
                    <a:pt x="37" y="44"/>
                  </a:lnTo>
                  <a:lnTo>
                    <a:pt x="36" y="43"/>
                  </a:lnTo>
                  <a:lnTo>
                    <a:pt x="35" y="43"/>
                  </a:lnTo>
                  <a:lnTo>
                    <a:pt x="34" y="41"/>
                  </a:lnTo>
                  <a:lnTo>
                    <a:pt x="33" y="41"/>
                  </a:lnTo>
                  <a:lnTo>
                    <a:pt x="32" y="41"/>
                  </a:lnTo>
                  <a:lnTo>
                    <a:pt x="31" y="40"/>
                  </a:lnTo>
                  <a:lnTo>
                    <a:pt x="31" y="40"/>
                  </a:lnTo>
                  <a:lnTo>
                    <a:pt x="29" y="40"/>
                  </a:lnTo>
                  <a:lnTo>
                    <a:pt x="28" y="38"/>
                  </a:lnTo>
                  <a:lnTo>
                    <a:pt x="27" y="38"/>
                  </a:lnTo>
                  <a:lnTo>
                    <a:pt x="26" y="37"/>
                  </a:lnTo>
                  <a:lnTo>
                    <a:pt x="25" y="36"/>
                  </a:lnTo>
                  <a:lnTo>
                    <a:pt x="25" y="37"/>
                  </a:lnTo>
                  <a:lnTo>
                    <a:pt x="24" y="38"/>
                  </a:lnTo>
                  <a:lnTo>
                    <a:pt x="24" y="37"/>
                  </a:lnTo>
                  <a:lnTo>
                    <a:pt x="24" y="36"/>
                  </a:lnTo>
                  <a:lnTo>
                    <a:pt x="23" y="36"/>
                  </a:lnTo>
                  <a:lnTo>
                    <a:pt x="22" y="36"/>
                  </a:lnTo>
                  <a:lnTo>
                    <a:pt x="21" y="37"/>
                  </a:lnTo>
                  <a:lnTo>
                    <a:pt x="20" y="37"/>
                  </a:lnTo>
                  <a:lnTo>
                    <a:pt x="19" y="38"/>
                  </a:lnTo>
                  <a:lnTo>
                    <a:pt x="18" y="38"/>
                  </a:lnTo>
                  <a:lnTo>
                    <a:pt x="17" y="38"/>
                  </a:lnTo>
                  <a:lnTo>
                    <a:pt x="16" y="38"/>
                  </a:lnTo>
                  <a:lnTo>
                    <a:pt x="14" y="40"/>
                  </a:lnTo>
                  <a:lnTo>
                    <a:pt x="13" y="41"/>
                  </a:lnTo>
                  <a:lnTo>
                    <a:pt x="13" y="41"/>
                  </a:lnTo>
                  <a:lnTo>
                    <a:pt x="14" y="38"/>
                  </a:lnTo>
                  <a:lnTo>
                    <a:pt x="14" y="35"/>
                  </a:lnTo>
                  <a:lnTo>
                    <a:pt x="15" y="32"/>
                  </a:lnTo>
                  <a:lnTo>
                    <a:pt x="13" y="30"/>
                  </a:lnTo>
                  <a:lnTo>
                    <a:pt x="9" y="35"/>
                  </a:lnTo>
                  <a:lnTo>
                    <a:pt x="7" y="32"/>
                  </a:lnTo>
                  <a:lnTo>
                    <a:pt x="4" y="31"/>
                  </a:lnTo>
                  <a:lnTo>
                    <a:pt x="4" y="21"/>
                  </a:lnTo>
                  <a:lnTo>
                    <a:pt x="2" y="23"/>
                  </a:lnTo>
                  <a:lnTo>
                    <a:pt x="0" y="18"/>
                  </a:lnTo>
                  <a:lnTo>
                    <a:pt x="1" y="16"/>
                  </a:lnTo>
                  <a:lnTo>
                    <a:pt x="0" y="13"/>
                  </a:lnTo>
                  <a:lnTo>
                    <a:pt x="1" y="12"/>
                  </a:lnTo>
                  <a:lnTo>
                    <a:pt x="1" y="9"/>
                  </a:lnTo>
                  <a:lnTo>
                    <a:pt x="3" y="9"/>
                  </a:lnTo>
                  <a:lnTo>
                    <a:pt x="9" y="8"/>
                  </a:lnTo>
                  <a:lnTo>
                    <a:pt x="9" y="6"/>
                  </a:lnTo>
                  <a:lnTo>
                    <a:pt x="12" y="5"/>
                  </a:lnTo>
                  <a:lnTo>
                    <a:pt x="13" y="3"/>
                  </a:lnTo>
                  <a:lnTo>
                    <a:pt x="15" y="4"/>
                  </a:lnTo>
                  <a:lnTo>
                    <a:pt x="16" y="3"/>
                  </a:lnTo>
                  <a:lnTo>
                    <a:pt x="18" y="3"/>
                  </a:lnTo>
                  <a:lnTo>
                    <a:pt x="18" y="1"/>
                  </a:lnTo>
                  <a:lnTo>
                    <a:pt x="25" y="3"/>
                  </a:lnTo>
                  <a:lnTo>
                    <a:pt x="27" y="0"/>
                  </a:lnTo>
                  <a:lnTo>
                    <a:pt x="28" y="2"/>
                  </a:lnTo>
                  <a:lnTo>
                    <a:pt x="31" y="1"/>
                  </a:lnTo>
                  <a:lnTo>
                    <a:pt x="39" y="1"/>
                  </a:lnTo>
                  <a:lnTo>
                    <a:pt x="46" y="3"/>
                  </a:lnTo>
                  <a:lnTo>
                    <a:pt x="48" y="4"/>
                  </a:lnTo>
                  <a:lnTo>
                    <a:pt x="51" y="4"/>
                  </a:lnTo>
                  <a:lnTo>
                    <a:pt x="57" y="5"/>
                  </a:lnTo>
                  <a:lnTo>
                    <a:pt x="59" y="4"/>
                  </a:lnTo>
                  <a:lnTo>
                    <a:pt x="61" y="1"/>
                  </a:lnTo>
                  <a:lnTo>
                    <a:pt x="61" y="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5" name="Freeform 57">
              <a:extLst>
                <a:ext uri="{FF2B5EF4-FFF2-40B4-BE49-F238E27FC236}">
                  <a16:creationId xmlns:a16="http://schemas.microsoft.com/office/drawing/2014/main" id="{FA25BEDD-838A-0C55-0403-81548643AA70}"/>
                </a:ext>
              </a:extLst>
            </p:cNvPr>
            <p:cNvSpPr>
              <a:spLocks/>
            </p:cNvSpPr>
            <p:nvPr/>
          </p:nvSpPr>
          <p:spPr bwMode="auto">
            <a:xfrm>
              <a:off x="5560596" y="4133850"/>
              <a:ext cx="66675" cy="44450"/>
            </a:xfrm>
            <a:custGeom>
              <a:avLst/>
              <a:gdLst/>
              <a:ahLst/>
              <a:cxnLst>
                <a:cxn ang="0">
                  <a:pos x="10" y="9"/>
                </a:cxn>
                <a:cxn ang="0">
                  <a:pos x="20" y="6"/>
                </a:cxn>
                <a:cxn ang="0">
                  <a:pos x="29" y="4"/>
                </a:cxn>
                <a:cxn ang="0">
                  <a:pos x="38" y="0"/>
                </a:cxn>
                <a:cxn ang="0">
                  <a:pos x="42" y="8"/>
                </a:cxn>
                <a:cxn ang="0">
                  <a:pos x="39" y="7"/>
                </a:cxn>
                <a:cxn ang="0">
                  <a:pos x="38" y="9"/>
                </a:cxn>
                <a:cxn ang="0">
                  <a:pos x="38" y="10"/>
                </a:cxn>
                <a:cxn ang="0">
                  <a:pos x="36" y="10"/>
                </a:cxn>
                <a:cxn ang="0">
                  <a:pos x="35" y="12"/>
                </a:cxn>
                <a:cxn ang="0">
                  <a:pos x="33" y="12"/>
                </a:cxn>
                <a:cxn ang="0">
                  <a:pos x="31" y="13"/>
                </a:cxn>
                <a:cxn ang="0">
                  <a:pos x="30" y="15"/>
                </a:cxn>
                <a:cxn ang="0">
                  <a:pos x="31" y="16"/>
                </a:cxn>
                <a:cxn ang="0">
                  <a:pos x="31" y="18"/>
                </a:cxn>
                <a:cxn ang="0">
                  <a:pos x="31" y="20"/>
                </a:cxn>
                <a:cxn ang="0">
                  <a:pos x="29" y="21"/>
                </a:cxn>
                <a:cxn ang="0">
                  <a:pos x="27" y="21"/>
                </a:cxn>
                <a:cxn ang="0">
                  <a:pos x="26" y="22"/>
                </a:cxn>
                <a:cxn ang="0">
                  <a:pos x="26" y="23"/>
                </a:cxn>
                <a:cxn ang="0">
                  <a:pos x="26" y="24"/>
                </a:cxn>
                <a:cxn ang="0">
                  <a:pos x="26" y="25"/>
                </a:cxn>
                <a:cxn ang="0">
                  <a:pos x="26" y="27"/>
                </a:cxn>
                <a:cxn ang="0">
                  <a:pos x="25" y="28"/>
                </a:cxn>
                <a:cxn ang="0">
                  <a:pos x="23" y="27"/>
                </a:cxn>
                <a:cxn ang="0">
                  <a:pos x="22" y="27"/>
                </a:cxn>
                <a:cxn ang="0">
                  <a:pos x="21" y="27"/>
                </a:cxn>
                <a:cxn ang="0">
                  <a:pos x="19" y="27"/>
                </a:cxn>
                <a:cxn ang="0">
                  <a:pos x="18" y="25"/>
                </a:cxn>
                <a:cxn ang="0">
                  <a:pos x="17" y="25"/>
                </a:cxn>
                <a:cxn ang="0">
                  <a:pos x="17" y="24"/>
                </a:cxn>
                <a:cxn ang="0">
                  <a:pos x="16" y="24"/>
                </a:cxn>
                <a:cxn ang="0">
                  <a:pos x="15" y="26"/>
                </a:cxn>
                <a:cxn ang="0">
                  <a:pos x="14" y="27"/>
                </a:cxn>
                <a:cxn ang="0">
                  <a:pos x="12" y="27"/>
                </a:cxn>
                <a:cxn ang="0">
                  <a:pos x="10" y="27"/>
                </a:cxn>
                <a:cxn ang="0">
                  <a:pos x="9" y="27"/>
                </a:cxn>
                <a:cxn ang="0">
                  <a:pos x="8" y="27"/>
                </a:cxn>
                <a:cxn ang="0">
                  <a:pos x="7" y="27"/>
                </a:cxn>
                <a:cxn ang="0">
                  <a:pos x="6" y="27"/>
                </a:cxn>
                <a:cxn ang="0">
                  <a:pos x="3" y="27"/>
                </a:cxn>
                <a:cxn ang="0">
                  <a:pos x="6" y="24"/>
                </a:cxn>
                <a:cxn ang="0">
                  <a:pos x="3" y="18"/>
                </a:cxn>
                <a:cxn ang="0">
                  <a:pos x="3" y="13"/>
                </a:cxn>
                <a:cxn ang="0">
                  <a:pos x="4" y="9"/>
                </a:cxn>
              </a:cxnLst>
              <a:rect l="0" t="0" r="r" b="b"/>
              <a:pathLst>
                <a:path w="42" h="28">
                  <a:moveTo>
                    <a:pt x="3" y="7"/>
                  </a:moveTo>
                  <a:lnTo>
                    <a:pt x="9" y="8"/>
                  </a:lnTo>
                  <a:lnTo>
                    <a:pt x="10" y="9"/>
                  </a:lnTo>
                  <a:lnTo>
                    <a:pt x="14" y="9"/>
                  </a:lnTo>
                  <a:lnTo>
                    <a:pt x="15" y="10"/>
                  </a:lnTo>
                  <a:lnTo>
                    <a:pt x="20" y="6"/>
                  </a:lnTo>
                  <a:lnTo>
                    <a:pt x="23" y="5"/>
                  </a:lnTo>
                  <a:lnTo>
                    <a:pt x="28" y="6"/>
                  </a:lnTo>
                  <a:lnTo>
                    <a:pt x="29" y="4"/>
                  </a:lnTo>
                  <a:lnTo>
                    <a:pt x="35" y="5"/>
                  </a:lnTo>
                  <a:lnTo>
                    <a:pt x="34" y="1"/>
                  </a:lnTo>
                  <a:lnTo>
                    <a:pt x="38" y="0"/>
                  </a:lnTo>
                  <a:lnTo>
                    <a:pt x="40" y="5"/>
                  </a:lnTo>
                  <a:lnTo>
                    <a:pt x="42" y="8"/>
                  </a:lnTo>
                  <a:lnTo>
                    <a:pt x="42" y="8"/>
                  </a:lnTo>
                  <a:lnTo>
                    <a:pt x="41" y="7"/>
                  </a:lnTo>
                  <a:lnTo>
                    <a:pt x="41" y="7"/>
                  </a:lnTo>
                  <a:lnTo>
                    <a:pt x="39" y="7"/>
                  </a:lnTo>
                  <a:lnTo>
                    <a:pt x="39" y="7"/>
                  </a:lnTo>
                  <a:lnTo>
                    <a:pt x="38" y="8"/>
                  </a:lnTo>
                  <a:lnTo>
                    <a:pt x="38" y="9"/>
                  </a:lnTo>
                  <a:lnTo>
                    <a:pt x="39" y="9"/>
                  </a:lnTo>
                  <a:lnTo>
                    <a:pt x="39" y="10"/>
                  </a:lnTo>
                  <a:lnTo>
                    <a:pt x="38" y="10"/>
                  </a:lnTo>
                  <a:lnTo>
                    <a:pt x="38" y="10"/>
                  </a:lnTo>
                  <a:lnTo>
                    <a:pt x="37" y="10"/>
                  </a:lnTo>
                  <a:lnTo>
                    <a:pt x="36" y="10"/>
                  </a:lnTo>
                  <a:lnTo>
                    <a:pt x="36" y="11"/>
                  </a:lnTo>
                  <a:lnTo>
                    <a:pt x="35" y="11"/>
                  </a:lnTo>
                  <a:lnTo>
                    <a:pt x="35" y="12"/>
                  </a:lnTo>
                  <a:lnTo>
                    <a:pt x="35" y="12"/>
                  </a:lnTo>
                  <a:lnTo>
                    <a:pt x="33" y="12"/>
                  </a:lnTo>
                  <a:lnTo>
                    <a:pt x="33" y="12"/>
                  </a:lnTo>
                  <a:lnTo>
                    <a:pt x="32" y="13"/>
                  </a:lnTo>
                  <a:lnTo>
                    <a:pt x="32" y="13"/>
                  </a:lnTo>
                  <a:lnTo>
                    <a:pt x="31" y="13"/>
                  </a:lnTo>
                  <a:lnTo>
                    <a:pt x="30" y="14"/>
                  </a:lnTo>
                  <a:lnTo>
                    <a:pt x="30" y="14"/>
                  </a:lnTo>
                  <a:lnTo>
                    <a:pt x="30" y="15"/>
                  </a:lnTo>
                  <a:lnTo>
                    <a:pt x="30" y="15"/>
                  </a:lnTo>
                  <a:lnTo>
                    <a:pt x="30" y="16"/>
                  </a:lnTo>
                  <a:lnTo>
                    <a:pt x="31" y="16"/>
                  </a:lnTo>
                  <a:lnTo>
                    <a:pt x="31" y="17"/>
                  </a:lnTo>
                  <a:lnTo>
                    <a:pt x="31" y="17"/>
                  </a:lnTo>
                  <a:lnTo>
                    <a:pt x="31" y="18"/>
                  </a:lnTo>
                  <a:lnTo>
                    <a:pt x="31" y="19"/>
                  </a:lnTo>
                  <a:lnTo>
                    <a:pt x="31" y="19"/>
                  </a:lnTo>
                  <a:lnTo>
                    <a:pt x="31" y="20"/>
                  </a:lnTo>
                  <a:lnTo>
                    <a:pt x="30" y="20"/>
                  </a:lnTo>
                  <a:lnTo>
                    <a:pt x="30" y="20"/>
                  </a:lnTo>
                  <a:lnTo>
                    <a:pt x="29" y="21"/>
                  </a:lnTo>
                  <a:lnTo>
                    <a:pt x="29" y="21"/>
                  </a:lnTo>
                  <a:lnTo>
                    <a:pt x="28" y="21"/>
                  </a:lnTo>
                  <a:lnTo>
                    <a:pt x="27" y="21"/>
                  </a:lnTo>
                  <a:lnTo>
                    <a:pt x="27" y="21"/>
                  </a:lnTo>
                  <a:lnTo>
                    <a:pt x="26" y="22"/>
                  </a:lnTo>
                  <a:lnTo>
                    <a:pt x="26" y="22"/>
                  </a:lnTo>
                  <a:lnTo>
                    <a:pt x="26" y="22"/>
                  </a:lnTo>
                  <a:lnTo>
                    <a:pt x="26" y="23"/>
                  </a:lnTo>
                  <a:lnTo>
                    <a:pt x="26" y="23"/>
                  </a:lnTo>
                  <a:lnTo>
                    <a:pt x="26" y="23"/>
                  </a:lnTo>
                  <a:lnTo>
                    <a:pt x="27" y="24"/>
                  </a:lnTo>
                  <a:lnTo>
                    <a:pt x="26" y="24"/>
                  </a:lnTo>
                  <a:lnTo>
                    <a:pt x="26" y="24"/>
                  </a:lnTo>
                  <a:lnTo>
                    <a:pt x="26" y="24"/>
                  </a:lnTo>
                  <a:lnTo>
                    <a:pt x="26" y="25"/>
                  </a:lnTo>
                  <a:lnTo>
                    <a:pt x="26" y="25"/>
                  </a:lnTo>
                  <a:lnTo>
                    <a:pt x="26" y="26"/>
                  </a:lnTo>
                  <a:lnTo>
                    <a:pt x="26" y="27"/>
                  </a:lnTo>
                  <a:lnTo>
                    <a:pt x="26" y="28"/>
                  </a:lnTo>
                  <a:lnTo>
                    <a:pt x="26" y="27"/>
                  </a:lnTo>
                  <a:lnTo>
                    <a:pt x="25" y="28"/>
                  </a:lnTo>
                  <a:lnTo>
                    <a:pt x="24" y="28"/>
                  </a:lnTo>
                  <a:lnTo>
                    <a:pt x="24" y="28"/>
                  </a:lnTo>
                  <a:lnTo>
                    <a:pt x="23" y="27"/>
                  </a:lnTo>
                  <a:lnTo>
                    <a:pt x="23" y="27"/>
                  </a:lnTo>
                  <a:lnTo>
                    <a:pt x="22" y="27"/>
                  </a:lnTo>
                  <a:lnTo>
                    <a:pt x="22" y="27"/>
                  </a:lnTo>
                  <a:lnTo>
                    <a:pt x="21" y="26"/>
                  </a:lnTo>
                  <a:lnTo>
                    <a:pt x="21" y="27"/>
                  </a:lnTo>
                  <a:lnTo>
                    <a:pt x="21" y="27"/>
                  </a:lnTo>
                  <a:lnTo>
                    <a:pt x="20" y="27"/>
                  </a:lnTo>
                  <a:lnTo>
                    <a:pt x="19" y="27"/>
                  </a:lnTo>
                  <a:lnTo>
                    <a:pt x="19" y="27"/>
                  </a:lnTo>
                  <a:lnTo>
                    <a:pt x="18" y="26"/>
                  </a:lnTo>
                  <a:lnTo>
                    <a:pt x="18" y="26"/>
                  </a:lnTo>
                  <a:lnTo>
                    <a:pt x="18" y="25"/>
                  </a:lnTo>
                  <a:lnTo>
                    <a:pt x="18" y="25"/>
                  </a:lnTo>
                  <a:lnTo>
                    <a:pt x="17" y="25"/>
                  </a:lnTo>
                  <a:lnTo>
                    <a:pt x="17" y="25"/>
                  </a:lnTo>
                  <a:lnTo>
                    <a:pt x="17" y="24"/>
                  </a:lnTo>
                  <a:lnTo>
                    <a:pt x="17" y="24"/>
                  </a:lnTo>
                  <a:lnTo>
                    <a:pt x="17" y="24"/>
                  </a:lnTo>
                  <a:lnTo>
                    <a:pt x="16" y="24"/>
                  </a:lnTo>
                  <a:lnTo>
                    <a:pt x="16" y="24"/>
                  </a:lnTo>
                  <a:lnTo>
                    <a:pt x="16" y="24"/>
                  </a:lnTo>
                  <a:lnTo>
                    <a:pt x="15" y="25"/>
                  </a:lnTo>
                  <a:lnTo>
                    <a:pt x="15" y="25"/>
                  </a:lnTo>
                  <a:lnTo>
                    <a:pt x="15" y="26"/>
                  </a:lnTo>
                  <a:lnTo>
                    <a:pt x="15" y="26"/>
                  </a:lnTo>
                  <a:lnTo>
                    <a:pt x="15" y="26"/>
                  </a:lnTo>
                  <a:lnTo>
                    <a:pt x="14" y="27"/>
                  </a:lnTo>
                  <a:lnTo>
                    <a:pt x="14" y="27"/>
                  </a:lnTo>
                  <a:lnTo>
                    <a:pt x="12" y="27"/>
                  </a:lnTo>
                  <a:lnTo>
                    <a:pt x="12" y="27"/>
                  </a:lnTo>
                  <a:lnTo>
                    <a:pt x="11" y="27"/>
                  </a:lnTo>
                  <a:lnTo>
                    <a:pt x="11" y="27"/>
                  </a:lnTo>
                  <a:lnTo>
                    <a:pt x="10" y="27"/>
                  </a:lnTo>
                  <a:lnTo>
                    <a:pt x="9" y="27"/>
                  </a:lnTo>
                  <a:lnTo>
                    <a:pt x="9" y="27"/>
                  </a:lnTo>
                  <a:lnTo>
                    <a:pt x="9" y="27"/>
                  </a:lnTo>
                  <a:lnTo>
                    <a:pt x="9" y="27"/>
                  </a:lnTo>
                  <a:lnTo>
                    <a:pt x="9" y="27"/>
                  </a:lnTo>
                  <a:lnTo>
                    <a:pt x="8" y="27"/>
                  </a:lnTo>
                  <a:lnTo>
                    <a:pt x="8" y="27"/>
                  </a:lnTo>
                  <a:lnTo>
                    <a:pt x="8" y="27"/>
                  </a:lnTo>
                  <a:lnTo>
                    <a:pt x="7" y="27"/>
                  </a:lnTo>
                  <a:lnTo>
                    <a:pt x="6" y="27"/>
                  </a:lnTo>
                  <a:lnTo>
                    <a:pt x="6" y="27"/>
                  </a:lnTo>
                  <a:lnTo>
                    <a:pt x="6" y="27"/>
                  </a:lnTo>
                  <a:lnTo>
                    <a:pt x="5" y="28"/>
                  </a:lnTo>
                  <a:lnTo>
                    <a:pt x="5" y="28"/>
                  </a:lnTo>
                  <a:lnTo>
                    <a:pt x="3" y="27"/>
                  </a:lnTo>
                  <a:lnTo>
                    <a:pt x="5" y="27"/>
                  </a:lnTo>
                  <a:lnTo>
                    <a:pt x="6" y="25"/>
                  </a:lnTo>
                  <a:lnTo>
                    <a:pt x="6" y="24"/>
                  </a:lnTo>
                  <a:lnTo>
                    <a:pt x="5" y="22"/>
                  </a:lnTo>
                  <a:lnTo>
                    <a:pt x="3" y="21"/>
                  </a:lnTo>
                  <a:lnTo>
                    <a:pt x="3" y="18"/>
                  </a:lnTo>
                  <a:lnTo>
                    <a:pt x="2" y="17"/>
                  </a:lnTo>
                  <a:lnTo>
                    <a:pt x="4" y="15"/>
                  </a:lnTo>
                  <a:lnTo>
                    <a:pt x="3" y="13"/>
                  </a:lnTo>
                  <a:lnTo>
                    <a:pt x="1" y="13"/>
                  </a:lnTo>
                  <a:lnTo>
                    <a:pt x="0" y="12"/>
                  </a:lnTo>
                  <a:lnTo>
                    <a:pt x="4" y="9"/>
                  </a:lnTo>
                  <a:lnTo>
                    <a:pt x="3" y="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6" name="Freeform 58">
              <a:extLst>
                <a:ext uri="{FF2B5EF4-FFF2-40B4-BE49-F238E27FC236}">
                  <a16:creationId xmlns:a16="http://schemas.microsoft.com/office/drawing/2014/main" id="{C9378D84-E808-D2EE-0794-AB9E6D9B9D3B}"/>
                </a:ext>
              </a:extLst>
            </p:cNvPr>
            <p:cNvSpPr>
              <a:spLocks/>
            </p:cNvSpPr>
            <p:nvPr/>
          </p:nvSpPr>
          <p:spPr bwMode="auto">
            <a:xfrm>
              <a:off x="4939884" y="4973638"/>
              <a:ext cx="60325" cy="33338"/>
            </a:xfrm>
            <a:custGeom>
              <a:avLst/>
              <a:gdLst/>
              <a:ahLst/>
              <a:cxnLst>
                <a:cxn ang="0">
                  <a:pos x="0" y="5"/>
                </a:cxn>
                <a:cxn ang="0">
                  <a:pos x="3" y="4"/>
                </a:cxn>
                <a:cxn ang="0">
                  <a:pos x="8" y="3"/>
                </a:cxn>
                <a:cxn ang="0">
                  <a:pos x="12" y="3"/>
                </a:cxn>
                <a:cxn ang="0">
                  <a:pos x="15" y="2"/>
                </a:cxn>
                <a:cxn ang="0">
                  <a:pos x="18" y="0"/>
                </a:cxn>
                <a:cxn ang="0">
                  <a:pos x="24" y="0"/>
                </a:cxn>
                <a:cxn ang="0">
                  <a:pos x="38" y="0"/>
                </a:cxn>
                <a:cxn ang="0">
                  <a:pos x="37" y="5"/>
                </a:cxn>
                <a:cxn ang="0">
                  <a:pos x="38" y="10"/>
                </a:cxn>
                <a:cxn ang="0">
                  <a:pos x="37" y="12"/>
                </a:cxn>
                <a:cxn ang="0">
                  <a:pos x="35" y="13"/>
                </a:cxn>
                <a:cxn ang="0">
                  <a:pos x="32" y="14"/>
                </a:cxn>
                <a:cxn ang="0">
                  <a:pos x="30" y="14"/>
                </a:cxn>
                <a:cxn ang="0">
                  <a:pos x="27" y="15"/>
                </a:cxn>
                <a:cxn ang="0">
                  <a:pos x="23" y="18"/>
                </a:cxn>
                <a:cxn ang="0">
                  <a:pos x="21" y="21"/>
                </a:cxn>
                <a:cxn ang="0">
                  <a:pos x="21" y="20"/>
                </a:cxn>
                <a:cxn ang="0">
                  <a:pos x="19" y="20"/>
                </a:cxn>
                <a:cxn ang="0">
                  <a:pos x="16" y="19"/>
                </a:cxn>
                <a:cxn ang="0">
                  <a:pos x="15" y="18"/>
                </a:cxn>
                <a:cxn ang="0">
                  <a:pos x="16" y="15"/>
                </a:cxn>
                <a:cxn ang="0">
                  <a:pos x="18" y="12"/>
                </a:cxn>
                <a:cxn ang="0">
                  <a:pos x="19" y="11"/>
                </a:cxn>
                <a:cxn ang="0">
                  <a:pos x="19" y="11"/>
                </a:cxn>
                <a:cxn ang="0">
                  <a:pos x="16" y="10"/>
                </a:cxn>
                <a:cxn ang="0">
                  <a:pos x="14" y="10"/>
                </a:cxn>
                <a:cxn ang="0">
                  <a:pos x="11" y="11"/>
                </a:cxn>
                <a:cxn ang="0">
                  <a:pos x="10" y="11"/>
                </a:cxn>
                <a:cxn ang="0">
                  <a:pos x="7" y="9"/>
                </a:cxn>
                <a:cxn ang="0">
                  <a:pos x="4" y="7"/>
                </a:cxn>
                <a:cxn ang="0">
                  <a:pos x="4" y="6"/>
                </a:cxn>
                <a:cxn ang="0">
                  <a:pos x="2" y="5"/>
                </a:cxn>
                <a:cxn ang="0">
                  <a:pos x="0" y="5"/>
                </a:cxn>
              </a:cxnLst>
              <a:rect l="0" t="0" r="r" b="b"/>
              <a:pathLst>
                <a:path w="38" h="21">
                  <a:moveTo>
                    <a:pt x="0" y="5"/>
                  </a:moveTo>
                  <a:lnTo>
                    <a:pt x="3" y="4"/>
                  </a:lnTo>
                  <a:lnTo>
                    <a:pt x="8" y="3"/>
                  </a:lnTo>
                  <a:lnTo>
                    <a:pt x="12" y="3"/>
                  </a:lnTo>
                  <a:lnTo>
                    <a:pt x="15" y="2"/>
                  </a:lnTo>
                  <a:lnTo>
                    <a:pt x="18" y="0"/>
                  </a:lnTo>
                  <a:lnTo>
                    <a:pt x="24" y="0"/>
                  </a:lnTo>
                  <a:lnTo>
                    <a:pt x="38" y="0"/>
                  </a:lnTo>
                  <a:lnTo>
                    <a:pt x="37" y="5"/>
                  </a:lnTo>
                  <a:lnTo>
                    <a:pt x="38" y="10"/>
                  </a:lnTo>
                  <a:lnTo>
                    <a:pt x="37" y="12"/>
                  </a:lnTo>
                  <a:lnTo>
                    <a:pt x="35" y="13"/>
                  </a:lnTo>
                  <a:lnTo>
                    <a:pt x="32" y="14"/>
                  </a:lnTo>
                  <a:lnTo>
                    <a:pt x="30" y="14"/>
                  </a:lnTo>
                  <a:lnTo>
                    <a:pt x="27" y="15"/>
                  </a:lnTo>
                  <a:lnTo>
                    <a:pt x="23" y="18"/>
                  </a:lnTo>
                  <a:lnTo>
                    <a:pt x="21" y="21"/>
                  </a:lnTo>
                  <a:lnTo>
                    <a:pt x="21" y="20"/>
                  </a:lnTo>
                  <a:lnTo>
                    <a:pt x="19" y="20"/>
                  </a:lnTo>
                  <a:lnTo>
                    <a:pt x="16" y="19"/>
                  </a:lnTo>
                  <a:lnTo>
                    <a:pt x="15" y="18"/>
                  </a:lnTo>
                  <a:lnTo>
                    <a:pt x="16" y="15"/>
                  </a:lnTo>
                  <a:lnTo>
                    <a:pt x="18" y="12"/>
                  </a:lnTo>
                  <a:lnTo>
                    <a:pt x="19" y="11"/>
                  </a:lnTo>
                  <a:lnTo>
                    <a:pt x="19" y="11"/>
                  </a:lnTo>
                  <a:lnTo>
                    <a:pt x="16" y="10"/>
                  </a:lnTo>
                  <a:lnTo>
                    <a:pt x="14" y="10"/>
                  </a:lnTo>
                  <a:lnTo>
                    <a:pt x="11" y="11"/>
                  </a:lnTo>
                  <a:lnTo>
                    <a:pt x="10" y="11"/>
                  </a:lnTo>
                  <a:lnTo>
                    <a:pt x="7" y="9"/>
                  </a:lnTo>
                  <a:lnTo>
                    <a:pt x="4" y="7"/>
                  </a:lnTo>
                  <a:lnTo>
                    <a:pt x="4" y="6"/>
                  </a:lnTo>
                  <a:lnTo>
                    <a:pt x="2" y="5"/>
                  </a:lnTo>
                  <a:lnTo>
                    <a:pt x="0" y="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7" name="Freeform 59">
              <a:extLst>
                <a:ext uri="{FF2B5EF4-FFF2-40B4-BE49-F238E27FC236}">
                  <a16:creationId xmlns:a16="http://schemas.microsoft.com/office/drawing/2014/main" id="{ABE0AE82-B043-4A02-6323-DC901D0BA424}"/>
                </a:ext>
              </a:extLst>
            </p:cNvPr>
            <p:cNvSpPr>
              <a:spLocks noEditPoints="1"/>
            </p:cNvSpPr>
            <p:nvPr/>
          </p:nvSpPr>
          <p:spPr bwMode="auto">
            <a:xfrm>
              <a:off x="5419309" y="4127500"/>
              <a:ext cx="249238" cy="290513"/>
            </a:xfrm>
            <a:custGeom>
              <a:avLst/>
              <a:gdLst/>
              <a:ahLst/>
              <a:cxnLst>
                <a:cxn ang="0">
                  <a:pos x="24" y="140"/>
                </a:cxn>
                <a:cxn ang="0">
                  <a:pos x="22" y="117"/>
                </a:cxn>
                <a:cxn ang="0">
                  <a:pos x="31" y="112"/>
                </a:cxn>
                <a:cxn ang="0">
                  <a:pos x="41" y="123"/>
                </a:cxn>
                <a:cxn ang="0">
                  <a:pos x="36" y="142"/>
                </a:cxn>
                <a:cxn ang="0">
                  <a:pos x="95" y="29"/>
                </a:cxn>
                <a:cxn ang="0">
                  <a:pos x="87" y="26"/>
                </a:cxn>
                <a:cxn ang="0">
                  <a:pos x="75" y="32"/>
                </a:cxn>
                <a:cxn ang="0">
                  <a:pos x="76" y="39"/>
                </a:cxn>
                <a:cxn ang="0">
                  <a:pos x="75" y="48"/>
                </a:cxn>
                <a:cxn ang="0">
                  <a:pos x="95" y="74"/>
                </a:cxn>
                <a:cxn ang="0">
                  <a:pos x="107" y="91"/>
                </a:cxn>
                <a:cxn ang="0">
                  <a:pos x="126" y="97"/>
                </a:cxn>
                <a:cxn ang="0">
                  <a:pos x="130" y="106"/>
                </a:cxn>
                <a:cxn ang="0">
                  <a:pos x="155" y="123"/>
                </a:cxn>
                <a:cxn ang="0">
                  <a:pos x="150" y="129"/>
                </a:cxn>
                <a:cxn ang="0">
                  <a:pos x="140" y="122"/>
                </a:cxn>
                <a:cxn ang="0">
                  <a:pos x="133" y="125"/>
                </a:cxn>
                <a:cxn ang="0">
                  <a:pos x="135" y="136"/>
                </a:cxn>
                <a:cxn ang="0">
                  <a:pos x="138" y="147"/>
                </a:cxn>
                <a:cxn ang="0">
                  <a:pos x="128" y="157"/>
                </a:cxn>
                <a:cxn ang="0">
                  <a:pos x="119" y="158"/>
                </a:cxn>
                <a:cxn ang="0">
                  <a:pos x="126" y="151"/>
                </a:cxn>
                <a:cxn ang="0">
                  <a:pos x="122" y="134"/>
                </a:cxn>
                <a:cxn ang="0">
                  <a:pos x="111" y="125"/>
                </a:cxn>
                <a:cxn ang="0">
                  <a:pos x="102" y="118"/>
                </a:cxn>
                <a:cxn ang="0">
                  <a:pos x="98" y="115"/>
                </a:cxn>
                <a:cxn ang="0">
                  <a:pos x="88" y="106"/>
                </a:cxn>
                <a:cxn ang="0">
                  <a:pos x="65" y="87"/>
                </a:cxn>
                <a:cxn ang="0">
                  <a:pos x="47" y="60"/>
                </a:cxn>
                <a:cxn ang="0">
                  <a:pos x="28" y="50"/>
                </a:cxn>
                <a:cxn ang="0">
                  <a:pos x="14" y="57"/>
                </a:cxn>
                <a:cxn ang="0">
                  <a:pos x="5" y="45"/>
                </a:cxn>
                <a:cxn ang="0">
                  <a:pos x="2" y="36"/>
                </a:cxn>
                <a:cxn ang="0">
                  <a:pos x="5" y="28"/>
                </a:cxn>
                <a:cxn ang="0">
                  <a:pos x="17" y="22"/>
                </a:cxn>
                <a:cxn ang="0">
                  <a:pos x="24" y="16"/>
                </a:cxn>
                <a:cxn ang="0">
                  <a:pos x="33" y="22"/>
                </a:cxn>
                <a:cxn ang="0">
                  <a:pos x="38" y="14"/>
                </a:cxn>
                <a:cxn ang="0">
                  <a:pos x="46" y="16"/>
                </a:cxn>
                <a:cxn ang="0">
                  <a:pos x="49" y="10"/>
                </a:cxn>
                <a:cxn ang="0">
                  <a:pos x="55" y="6"/>
                </a:cxn>
                <a:cxn ang="0">
                  <a:pos x="66" y="1"/>
                </a:cxn>
                <a:cxn ang="0">
                  <a:pos x="76" y="8"/>
                </a:cxn>
                <a:cxn ang="0">
                  <a:pos x="89" y="16"/>
                </a:cxn>
                <a:cxn ang="0">
                  <a:pos x="92" y="22"/>
                </a:cxn>
                <a:cxn ang="0">
                  <a:pos x="110" y="183"/>
                </a:cxn>
                <a:cxn ang="0">
                  <a:pos x="80" y="169"/>
                </a:cxn>
                <a:cxn ang="0">
                  <a:pos x="82" y="160"/>
                </a:cxn>
                <a:cxn ang="0">
                  <a:pos x="100" y="163"/>
                </a:cxn>
                <a:cxn ang="0">
                  <a:pos x="116" y="161"/>
                </a:cxn>
                <a:cxn ang="0">
                  <a:pos x="114" y="179"/>
                </a:cxn>
              </a:cxnLst>
              <a:rect l="0" t="0" r="r" b="b"/>
              <a:pathLst>
                <a:path w="157" h="183">
                  <a:moveTo>
                    <a:pt x="30" y="146"/>
                  </a:moveTo>
                  <a:lnTo>
                    <a:pt x="28" y="145"/>
                  </a:lnTo>
                  <a:lnTo>
                    <a:pt x="27" y="144"/>
                  </a:lnTo>
                  <a:lnTo>
                    <a:pt x="25" y="142"/>
                  </a:lnTo>
                  <a:lnTo>
                    <a:pt x="24" y="140"/>
                  </a:lnTo>
                  <a:lnTo>
                    <a:pt x="25" y="134"/>
                  </a:lnTo>
                  <a:lnTo>
                    <a:pt x="26" y="130"/>
                  </a:lnTo>
                  <a:lnTo>
                    <a:pt x="26" y="125"/>
                  </a:lnTo>
                  <a:lnTo>
                    <a:pt x="25" y="121"/>
                  </a:lnTo>
                  <a:lnTo>
                    <a:pt x="22" y="117"/>
                  </a:lnTo>
                  <a:lnTo>
                    <a:pt x="22" y="115"/>
                  </a:lnTo>
                  <a:lnTo>
                    <a:pt x="23" y="114"/>
                  </a:lnTo>
                  <a:lnTo>
                    <a:pt x="25" y="114"/>
                  </a:lnTo>
                  <a:lnTo>
                    <a:pt x="29" y="114"/>
                  </a:lnTo>
                  <a:lnTo>
                    <a:pt x="31" y="112"/>
                  </a:lnTo>
                  <a:lnTo>
                    <a:pt x="37" y="108"/>
                  </a:lnTo>
                  <a:lnTo>
                    <a:pt x="40" y="113"/>
                  </a:lnTo>
                  <a:lnTo>
                    <a:pt x="43" y="119"/>
                  </a:lnTo>
                  <a:lnTo>
                    <a:pt x="43" y="121"/>
                  </a:lnTo>
                  <a:lnTo>
                    <a:pt x="41" y="123"/>
                  </a:lnTo>
                  <a:lnTo>
                    <a:pt x="41" y="127"/>
                  </a:lnTo>
                  <a:lnTo>
                    <a:pt x="41" y="134"/>
                  </a:lnTo>
                  <a:lnTo>
                    <a:pt x="41" y="138"/>
                  </a:lnTo>
                  <a:lnTo>
                    <a:pt x="39" y="143"/>
                  </a:lnTo>
                  <a:lnTo>
                    <a:pt x="36" y="142"/>
                  </a:lnTo>
                  <a:lnTo>
                    <a:pt x="33" y="142"/>
                  </a:lnTo>
                  <a:lnTo>
                    <a:pt x="32" y="142"/>
                  </a:lnTo>
                  <a:lnTo>
                    <a:pt x="32" y="145"/>
                  </a:lnTo>
                  <a:lnTo>
                    <a:pt x="30" y="146"/>
                  </a:lnTo>
                  <a:close/>
                  <a:moveTo>
                    <a:pt x="95" y="29"/>
                  </a:moveTo>
                  <a:lnTo>
                    <a:pt x="94" y="26"/>
                  </a:lnTo>
                  <a:lnTo>
                    <a:pt x="92" y="26"/>
                  </a:lnTo>
                  <a:lnTo>
                    <a:pt x="91" y="28"/>
                  </a:lnTo>
                  <a:lnTo>
                    <a:pt x="89" y="27"/>
                  </a:lnTo>
                  <a:lnTo>
                    <a:pt x="87" y="26"/>
                  </a:lnTo>
                  <a:lnTo>
                    <a:pt x="86" y="29"/>
                  </a:lnTo>
                  <a:lnTo>
                    <a:pt x="83" y="29"/>
                  </a:lnTo>
                  <a:lnTo>
                    <a:pt x="77" y="32"/>
                  </a:lnTo>
                  <a:lnTo>
                    <a:pt x="78" y="31"/>
                  </a:lnTo>
                  <a:lnTo>
                    <a:pt x="75" y="32"/>
                  </a:lnTo>
                  <a:lnTo>
                    <a:pt x="75" y="34"/>
                  </a:lnTo>
                  <a:lnTo>
                    <a:pt x="74" y="35"/>
                  </a:lnTo>
                  <a:lnTo>
                    <a:pt x="74" y="36"/>
                  </a:lnTo>
                  <a:lnTo>
                    <a:pt x="76" y="37"/>
                  </a:lnTo>
                  <a:lnTo>
                    <a:pt x="76" y="39"/>
                  </a:lnTo>
                  <a:lnTo>
                    <a:pt x="77" y="40"/>
                  </a:lnTo>
                  <a:lnTo>
                    <a:pt x="79" y="42"/>
                  </a:lnTo>
                  <a:lnTo>
                    <a:pt x="78" y="44"/>
                  </a:lnTo>
                  <a:lnTo>
                    <a:pt x="75" y="46"/>
                  </a:lnTo>
                  <a:lnTo>
                    <a:pt x="75" y="48"/>
                  </a:lnTo>
                  <a:lnTo>
                    <a:pt x="76" y="53"/>
                  </a:lnTo>
                  <a:lnTo>
                    <a:pt x="81" y="59"/>
                  </a:lnTo>
                  <a:lnTo>
                    <a:pt x="92" y="67"/>
                  </a:lnTo>
                  <a:lnTo>
                    <a:pt x="94" y="70"/>
                  </a:lnTo>
                  <a:lnTo>
                    <a:pt x="95" y="74"/>
                  </a:lnTo>
                  <a:lnTo>
                    <a:pt x="97" y="78"/>
                  </a:lnTo>
                  <a:lnTo>
                    <a:pt x="99" y="83"/>
                  </a:lnTo>
                  <a:lnTo>
                    <a:pt x="103" y="88"/>
                  </a:lnTo>
                  <a:lnTo>
                    <a:pt x="104" y="90"/>
                  </a:lnTo>
                  <a:lnTo>
                    <a:pt x="107" y="91"/>
                  </a:lnTo>
                  <a:lnTo>
                    <a:pt x="107" y="93"/>
                  </a:lnTo>
                  <a:lnTo>
                    <a:pt x="110" y="94"/>
                  </a:lnTo>
                  <a:lnTo>
                    <a:pt x="117" y="96"/>
                  </a:lnTo>
                  <a:lnTo>
                    <a:pt x="124" y="95"/>
                  </a:lnTo>
                  <a:lnTo>
                    <a:pt x="126" y="97"/>
                  </a:lnTo>
                  <a:lnTo>
                    <a:pt x="127" y="98"/>
                  </a:lnTo>
                  <a:lnTo>
                    <a:pt x="124" y="100"/>
                  </a:lnTo>
                  <a:lnTo>
                    <a:pt x="122" y="103"/>
                  </a:lnTo>
                  <a:lnTo>
                    <a:pt x="124" y="104"/>
                  </a:lnTo>
                  <a:lnTo>
                    <a:pt x="130" y="106"/>
                  </a:lnTo>
                  <a:lnTo>
                    <a:pt x="136" y="110"/>
                  </a:lnTo>
                  <a:lnTo>
                    <a:pt x="141" y="113"/>
                  </a:lnTo>
                  <a:lnTo>
                    <a:pt x="151" y="118"/>
                  </a:lnTo>
                  <a:lnTo>
                    <a:pt x="151" y="120"/>
                  </a:lnTo>
                  <a:lnTo>
                    <a:pt x="155" y="123"/>
                  </a:lnTo>
                  <a:lnTo>
                    <a:pt x="157" y="127"/>
                  </a:lnTo>
                  <a:lnTo>
                    <a:pt x="156" y="130"/>
                  </a:lnTo>
                  <a:lnTo>
                    <a:pt x="155" y="133"/>
                  </a:lnTo>
                  <a:lnTo>
                    <a:pt x="152" y="131"/>
                  </a:lnTo>
                  <a:lnTo>
                    <a:pt x="150" y="129"/>
                  </a:lnTo>
                  <a:lnTo>
                    <a:pt x="149" y="125"/>
                  </a:lnTo>
                  <a:lnTo>
                    <a:pt x="148" y="124"/>
                  </a:lnTo>
                  <a:lnTo>
                    <a:pt x="145" y="124"/>
                  </a:lnTo>
                  <a:lnTo>
                    <a:pt x="142" y="124"/>
                  </a:lnTo>
                  <a:lnTo>
                    <a:pt x="140" y="122"/>
                  </a:lnTo>
                  <a:lnTo>
                    <a:pt x="140" y="120"/>
                  </a:lnTo>
                  <a:lnTo>
                    <a:pt x="138" y="119"/>
                  </a:lnTo>
                  <a:lnTo>
                    <a:pt x="136" y="120"/>
                  </a:lnTo>
                  <a:lnTo>
                    <a:pt x="135" y="122"/>
                  </a:lnTo>
                  <a:lnTo>
                    <a:pt x="133" y="125"/>
                  </a:lnTo>
                  <a:lnTo>
                    <a:pt x="132" y="127"/>
                  </a:lnTo>
                  <a:lnTo>
                    <a:pt x="132" y="129"/>
                  </a:lnTo>
                  <a:lnTo>
                    <a:pt x="131" y="131"/>
                  </a:lnTo>
                  <a:lnTo>
                    <a:pt x="131" y="134"/>
                  </a:lnTo>
                  <a:lnTo>
                    <a:pt x="135" y="136"/>
                  </a:lnTo>
                  <a:lnTo>
                    <a:pt x="139" y="138"/>
                  </a:lnTo>
                  <a:lnTo>
                    <a:pt x="138" y="141"/>
                  </a:lnTo>
                  <a:lnTo>
                    <a:pt x="139" y="144"/>
                  </a:lnTo>
                  <a:lnTo>
                    <a:pt x="139" y="145"/>
                  </a:lnTo>
                  <a:lnTo>
                    <a:pt x="138" y="147"/>
                  </a:lnTo>
                  <a:lnTo>
                    <a:pt x="134" y="147"/>
                  </a:lnTo>
                  <a:lnTo>
                    <a:pt x="132" y="148"/>
                  </a:lnTo>
                  <a:lnTo>
                    <a:pt x="131" y="150"/>
                  </a:lnTo>
                  <a:lnTo>
                    <a:pt x="131" y="155"/>
                  </a:lnTo>
                  <a:lnTo>
                    <a:pt x="128" y="157"/>
                  </a:lnTo>
                  <a:lnTo>
                    <a:pt x="125" y="163"/>
                  </a:lnTo>
                  <a:lnTo>
                    <a:pt x="121" y="164"/>
                  </a:lnTo>
                  <a:lnTo>
                    <a:pt x="120" y="163"/>
                  </a:lnTo>
                  <a:lnTo>
                    <a:pt x="119" y="162"/>
                  </a:lnTo>
                  <a:lnTo>
                    <a:pt x="119" y="158"/>
                  </a:lnTo>
                  <a:lnTo>
                    <a:pt x="121" y="157"/>
                  </a:lnTo>
                  <a:lnTo>
                    <a:pt x="123" y="153"/>
                  </a:lnTo>
                  <a:lnTo>
                    <a:pt x="122" y="152"/>
                  </a:lnTo>
                  <a:lnTo>
                    <a:pt x="124" y="150"/>
                  </a:lnTo>
                  <a:lnTo>
                    <a:pt x="126" y="151"/>
                  </a:lnTo>
                  <a:lnTo>
                    <a:pt x="127" y="149"/>
                  </a:lnTo>
                  <a:lnTo>
                    <a:pt x="126" y="146"/>
                  </a:lnTo>
                  <a:lnTo>
                    <a:pt x="125" y="145"/>
                  </a:lnTo>
                  <a:lnTo>
                    <a:pt x="124" y="138"/>
                  </a:lnTo>
                  <a:lnTo>
                    <a:pt x="122" y="134"/>
                  </a:lnTo>
                  <a:lnTo>
                    <a:pt x="121" y="130"/>
                  </a:lnTo>
                  <a:lnTo>
                    <a:pt x="119" y="127"/>
                  </a:lnTo>
                  <a:lnTo>
                    <a:pt x="118" y="127"/>
                  </a:lnTo>
                  <a:lnTo>
                    <a:pt x="116" y="129"/>
                  </a:lnTo>
                  <a:lnTo>
                    <a:pt x="111" y="125"/>
                  </a:lnTo>
                  <a:lnTo>
                    <a:pt x="110" y="124"/>
                  </a:lnTo>
                  <a:lnTo>
                    <a:pt x="111" y="122"/>
                  </a:lnTo>
                  <a:lnTo>
                    <a:pt x="110" y="119"/>
                  </a:lnTo>
                  <a:lnTo>
                    <a:pt x="107" y="116"/>
                  </a:lnTo>
                  <a:lnTo>
                    <a:pt x="102" y="118"/>
                  </a:lnTo>
                  <a:lnTo>
                    <a:pt x="102" y="118"/>
                  </a:lnTo>
                  <a:lnTo>
                    <a:pt x="104" y="116"/>
                  </a:lnTo>
                  <a:lnTo>
                    <a:pt x="103" y="114"/>
                  </a:lnTo>
                  <a:lnTo>
                    <a:pt x="101" y="114"/>
                  </a:lnTo>
                  <a:lnTo>
                    <a:pt x="98" y="115"/>
                  </a:lnTo>
                  <a:lnTo>
                    <a:pt x="97" y="111"/>
                  </a:lnTo>
                  <a:lnTo>
                    <a:pt x="96" y="110"/>
                  </a:lnTo>
                  <a:lnTo>
                    <a:pt x="95" y="108"/>
                  </a:lnTo>
                  <a:lnTo>
                    <a:pt x="91" y="106"/>
                  </a:lnTo>
                  <a:lnTo>
                    <a:pt x="88" y="106"/>
                  </a:lnTo>
                  <a:lnTo>
                    <a:pt x="85" y="105"/>
                  </a:lnTo>
                  <a:lnTo>
                    <a:pt x="80" y="102"/>
                  </a:lnTo>
                  <a:lnTo>
                    <a:pt x="77" y="98"/>
                  </a:lnTo>
                  <a:lnTo>
                    <a:pt x="71" y="94"/>
                  </a:lnTo>
                  <a:lnTo>
                    <a:pt x="65" y="87"/>
                  </a:lnTo>
                  <a:lnTo>
                    <a:pt x="60" y="84"/>
                  </a:lnTo>
                  <a:lnTo>
                    <a:pt x="55" y="79"/>
                  </a:lnTo>
                  <a:lnTo>
                    <a:pt x="52" y="72"/>
                  </a:lnTo>
                  <a:lnTo>
                    <a:pt x="49" y="64"/>
                  </a:lnTo>
                  <a:lnTo>
                    <a:pt x="47" y="60"/>
                  </a:lnTo>
                  <a:lnTo>
                    <a:pt x="44" y="56"/>
                  </a:lnTo>
                  <a:lnTo>
                    <a:pt x="41" y="54"/>
                  </a:lnTo>
                  <a:lnTo>
                    <a:pt x="34" y="51"/>
                  </a:lnTo>
                  <a:lnTo>
                    <a:pt x="31" y="50"/>
                  </a:lnTo>
                  <a:lnTo>
                    <a:pt x="28" y="50"/>
                  </a:lnTo>
                  <a:lnTo>
                    <a:pt x="22" y="56"/>
                  </a:lnTo>
                  <a:lnTo>
                    <a:pt x="19" y="59"/>
                  </a:lnTo>
                  <a:lnTo>
                    <a:pt x="15" y="60"/>
                  </a:lnTo>
                  <a:lnTo>
                    <a:pt x="14" y="61"/>
                  </a:lnTo>
                  <a:lnTo>
                    <a:pt x="14" y="57"/>
                  </a:lnTo>
                  <a:lnTo>
                    <a:pt x="14" y="54"/>
                  </a:lnTo>
                  <a:lnTo>
                    <a:pt x="9" y="55"/>
                  </a:lnTo>
                  <a:lnTo>
                    <a:pt x="5" y="52"/>
                  </a:lnTo>
                  <a:lnTo>
                    <a:pt x="4" y="48"/>
                  </a:lnTo>
                  <a:lnTo>
                    <a:pt x="5" y="45"/>
                  </a:lnTo>
                  <a:lnTo>
                    <a:pt x="6" y="45"/>
                  </a:lnTo>
                  <a:lnTo>
                    <a:pt x="5" y="42"/>
                  </a:lnTo>
                  <a:lnTo>
                    <a:pt x="2" y="41"/>
                  </a:lnTo>
                  <a:lnTo>
                    <a:pt x="0" y="38"/>
                  </a:lnTo>
                  <a:lnTo>
                    <a:pt x="2" y="36"/>
                  </a:lnTo>
                  <a:lnTo>
                    <a:pt x="4" y="37"/>
                  </a:lnTo>
                  <a:lnTo>
                    <a:pt x="7" y="34"/>
                  </a:lnTo>
                  <a:lnTo>
                    <a:pt x="8" y="32"/>
                  </a:lnTo>
                  <a:lnTo>
                    <a:pt x="5" y="30"/>
                  </a:lnTo>
                  <a:lnTo>
                    <a:pt x="5" y="28"/>
                  </a:lnTo>
                  <a:lnTo>
                    <a:pt x="2" y="25"/>
                  </a:lnTo>
                  <a:lnTo>
                    <a:pt x="6" y="22"/>
                  </a:lnTo>
                  <a:lnTo>
                    <a:pt x="9" y="23"/>
                  </a:lnTo>
                  <a:lnTo>
                    <a:pt x="13" y="21"/>
                  </a:lnTo>
                  <a:lnTo>
                    <a:pt x="17" y="22"/>
                  </a:lnTo>
                  <a:lnTo>
                    <a:pt x="18" y="21"/>
                  </a:lnTo>
                  <a:lnTo>
                    <a:pt x="20" y="17"/>
                  </a:lnTo>
                  <a:lnTo>
                    <a:pt x="20" y="16"/>
                  </a:lnTo>
                  <a:lnTo>
                    <a:pt x="24" y="12"/>
                  </a:lnTo>
                  <a:lnTo>
                    <a:pt x="24" y="16"/>
                  </a:lnTo>
                  <a:lnTo>
                    <a:pt x="28" y="19"/>
                  </a:lnTo>
                  <a:lnTo>
                    <a:pt x="29" y="19"/>
                  </a:lnTo>
                  <a:lnTo>
                    <a:pt x="29" y="21"/>
                  </a:lnTo>
                  <a:lnTo>
                    <a:pt x="31" y="23"/>
                  </a:lnTo>
                  <a:lnTo>
                    <a:pt x="33" y="22"/>
                  </a:lnTo>
                  <a:lnTo>
                    <a:pt x="33" y="18"/>
                  </a:lnTo>
                  <a:lnTo>
                    <a:pt x="35" y="14"/>
                  </a:lnTo>
                  <a:lnTo>
                    <a:pt x="35" y="12"/>
                  </a:lnTo>
                  <a:lnTo>
                    <a:pt x="37" y="11"/>
                  </a:lnTo>
                  <a:lnTo>
                    <a:pt x="38" y="14"/>
                  </a:lnTo>
                  <a:lnTo>
                    <a:pt x="40" y="15"/>
                  </a:lnTo>
                  <a:lnTo>
                    <a:pt x="41" y="15"/>
                  </a:lnTo>
                  <a:lnTo>
                    <a:pt x="41" y="14"/>
                  </a:lnTo>
                  <a:lnTo>
                    <a:pt x="44" y="14"/>
                  </a:lnTo>
                  <a:lnTo>
                    <a:pt x="46" y="16"/>
                  </a:lnTo>
                  <a:lnTo>
                    <a:pt x="47" y="13"/>
                  </a:lnTo>
                  <a:lnTo>
                    <a:pt x="45" y="12"/>
                  </a:lnTo>
                  <a:lnTo>
                    <a:pt x="46" y="9"/>
                  </a:lnTo>
                  <a:lnTo>
                    <a:pt x="47" y="8"/>
                  </a:lnTo>
                  <a:lnTo>
                    <a:pt x="49" y="10"/>
                  </a:lnTo>
                  <a:lnTo>
                    <a:pt x="50" y="10"/>
                  </a:lnTo>
                  <a:lnTo>
                    <a:pt x="50" y="9"/>
                  </a:lnTo>
                  <a:lnTo>
                    <a:pt x="50" y="7"/>
                  </a:lnTo>
                  <a:lnTo>
                    <a:pt x="51" y="4"/>
                  </a:lnTo>
                  <a:lnTo>
                    <a:pt x="55" y="6"/>
                  </a:lnTo>
                  <a:lnTo>
                    <a:pt x="58" y="6"/>
                  </a:lnTo>
                  <a:lnTo>
                    <a:pt x="60" y="2"/>
                  </a:lnTo>
                  <a:lnTo>
                    <a:pt x="62" y="2"/>
                  </a:lnTo>
                  <a:lnTo>
                    <a:pt x="63" y="2"/>
                  </a:lnTo>
                  <a:lnTo>
                    <a:pt x="66" y="1"/>
                  </a:lnTo>
                  <a:lnTo>
                    <a:pt x="67" y="2"/>
                  </a:lnTo>
                  <a:lnTo>
                    <a:pt x="73" y="0"/>
                  </a:lnTo>
                  <a:lnTo>
                    <a:pt x="73" y="4"/>
                  </a:lnTo>
                  <a:lnTo>
                    <a:pt x="74" y="4"/>
                  </a:lnTo>
                  <a:lnTo>
                    <a:pt x="76" y="8"/>
                  </a:lnTo>
                  <a:lnTo>
                    <a:pt x="84" y="10"/>
                  </a:lnTo>
                  <a:lnTo>
                    <a:pt x="89" y="11"/>
                  </a:lnTo>
                  <a:lnTo>
                    <a:pt x="92" y="11"/>
                  </a:lnTo>
                  <a:lnTo>
                    <a:pt x="93" y="13"/>
                  </a:lnTo>
                  <a:lnTo>
                    <a:pt x="89" y="16"/>
                  </a:lnTo>
                  <a:lnTo>
                    <a:pt x="90" y="17"/>
                  </a:lnTo>
                  <a:lnTo>
                    <a:pt x="92" y="17"/>
                  </a:lnTo>
                  <a:lnTo>
                    <a:pt x="93" y="19"/>
                  </a:lnTo>
                  <a:lnTo>
                    <a:pt x="91" y="21"/>
                  </a:lnTo>
                  <a:lnTo>
                    <a:pt x="92" y="22"/>
                  </a:lnTo>
                  <a:lnTo>
                    <a:pt x="92" y="25"/>
                  </a:lnTo>
                  <a:lnTo>
                    <a:pt x="94" y="26"/>
                  </a:lnTo>
                  <a:lnTo>
                    <a:pt x="95" y="28"/>
                  </a:lnTo>
                  <a:lnTo>
                    <a:pt x="95" y="29"/>
                  </a:lnTo>
                  <a:close/>
                  <a:moveTo>
                    <a:pt x="110" y="183"/>
                  </a:moveTo>
                  <a:lnTo>
                    <a:pt x="106" y="182"/>
                  </a:lnTo>
                  <a:lnTo>
                    <a:pt x="101" y="178"/>
                  </a:lnTo>
                  <a:lnTo>
                    <a:pt x="96" y="176"/>
                  </a:lnTo>
                  <a:lnTo>
                    <a:pt x="85" y="170"/>
                  </a:lnTo>
                  <a:lnTo>
                    <a:pt x="80" y="169"/>
                  </a:lnTo>
                  <a:lnTo>
                    <a:pt x="79" y="168"/>
                  </a:lnTo>
                  <a:lnTo>
                    <a:pt x="77" y="166"/>
                  </a:lnTo>
                  <a:lnTo>
                    <a:pt x="79" y="163"/>
                  </a:lnTo>
                  <a:lnTo>
                    <a:pt x="80" y="161"/>
                  </a:lnTo>
                  <a:lnTo>
                    <a:pt x="82" y="160"/>
                  </a:lnTo>
                  <a:lnTo>
                    <a:pt x="86" y="161"/>
                  </a:lnTo>
                  <a:lnTo>
                    <a:pt x="89" y="158"/>
                  </a:lnTo>
                  <a:lnTo>
                    <a:pt x="93" y="161"/>
                  </a:lnTo>
                  <a:lnTo>
                    <a:pt x="95" y="163"/>
                  </a:lnTo>
                  <a:lnTo>
                    <a:pt x="100" y="163"/>
                  </a:lnTo>
                  <a:lnTo>
                    <a:pt x="108" y="161"/>
                  </a:lnTo>
                  <a:lnTo>
                    <a:pt x="116" y="159"/>
                  </a:lnTo>
                  <a:lnTo>
                    <a:pt x="117" y="159"/>
                  </a:lnTo>
                  <a:lnTo>
                    <a:pt x="117" y="160"/>
                  </a:lnTo>
                  <a:lnTo>
                    <a:pt x="116" y="161"/>
                  </a:lnTo>
                  <a:lnTo>
                    <a:pt x="113" y="167"/>
                  </a:lnTo>
                  <a:lnTo>
                    <a:pt x="112" y="171"/>
                  </a:lnTo>
                  <a:lnTo>
                    <a:pt x="112" y="174"/>
                  </a:lnTo>
                  <a:lnTo>
                    <a:pt x="115" y="178"/>
                  </a:lnTo>
                  <a:lnTo>
                    <a:pt x="114" y="179"/>
                  </a:lnTo>
                  <a:lnTo>
                    <a:pt x="111" y="183"/>
                  </a:lnTo>
                  <a:lnTo>
                    <a:pt x="110" y="18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8" name="Freeform 60">
              <a:extLst>
                <a:ext uri="{FF2B5EF4-FFF2-40B4-BE49-F238E27FC236}">
                  <a16:creationId xmlns:a16="http://schemas.microsoft.com/office/drawing/2014/main" id="{A8C1BC53-9171-AAE0-7710-EAB138EA2980}"/>
                </a:ext>
              </a:extLst>
            </p:cNvPr>
            <p:cNvSpPr>
              <a:spLocks/>
            </p:cNvSpPr>
            <p:nvPr/>
          </p:nvSpPr>
          <p:spPr bwMode="auto">
            <a:xfrm>
              <a:off x="5717759" y="3814763"/>
              <a:ext cx="122238" cy="92075"/>
            </a:xfrm>
            <a:custGeom>
              <a:avLst/>
              <a:gdLst/>
              <a:ahLst/>
              <a:cxnLst>
                <a:cxn ang="0">
                  <a:pos x="23" y="44"/>
                </a:cxn>
                <a:cxn ang="0">
                  <a:pos x="24" y="39"/>
                </a:cxn>
                <a:cxn ang="0">
                  <a:pos x="25" y="35"/>
                </a:cxn>
                <a:cxn ang="0">
                  <a:pos x="22" y="33"/>
                </a:cxn>
                <a:cxn ang="0">
                  <a:pos x="19" y="31"/>
                </a:cxn>
                <a:cxn ang="0">
                  <a:pos x="14" y="31"/>
                </a:cxn>
                <a:cxn ang="0">
                  <a:pos x="8" y="28"/>
                </a:cxn>
                <a:cxn ang="0">
                  <a:pos x="6" y="26"/>
                </a:cxn>
                <a:cxn ang="0">
                  <a:pos x="3" y="27"/>
                </a:cxn>
                <a:cxn ang="0">
                  <a:pos x="2" y="18"/>
                </a:cxn>
                <a:cxn ang="0">
                  <a:pos x="0" y="8"/>
                </a:cxn>
                <a:cxn ang="0">
                  <a:pos x="5" y="4"/>
                </a:cxn>
                <a:cxn ang="0">
                  <a:pos x="16" y="0"/>
                </a:cxn>
                <a:cxn ang="0">
                  <a:pos x="24" y="1"/>
                </a:cxn>
                <a:cxn ang="0">
                  <a:pos x="27" y="1"/>
                </a:cxn>
                <a:cxn ang="0">
                  <a:pos x="30" y="1"/>
                </a:cxn>
                <a:cxn ang="0">
                  <a:pos x="36" y="1"/>
                </a:cxn>
                <a:cxn ang="0">
                  <a:pos x="42" y="3"/>
                </a:cxn>
                <a:cxn ang="0">
                  <a:pos x="48" y="2"/>
                </a:cxn>
                <a:cxn ang="0">
                  <a:pos x="52" y="0"/>
                </a:cxn>
                <a:cxn ang="0">
                  <a:pos x="56" y="6"/>
                </a:cxn>
                <a:cxn ang="0">
                  <a:pos x="64" y="9"/>
                </a:cxn>
                <a:cxn ang="0">
                  <a:pos x="69" y="14"/>
                </a:cxn>
                <a:cxn ang="0">
                  <a:pos x="74" y="17"/>
                </a:cxn>
                <a:cxn ang="0">
                  <a:pos x="74" y="22"/>
                </a:cxn>
                <a:cxn ang="0">
                  <a:pos x="74" y="25"/>
                </a:cxn>
                <a:cxn ang="0">
                  <a:pos x="76" y="27"/>
                </a:cxn>
                <a:cxn ang="0">
                  <a:pos x="75" y="30"/>
                </a:cxn>
                <a:cxn ang="0">
                  <a:pos x="72" y="30"/>
                </a:cxn>
                <a:cxn ang="0">
                  <a:pos x="69" y="31"/>
                </a:cxn>
                <a:cxn ang="0">
                  <a:pos x="65" y="33"/>
                </a:cxn>
                <a:cxn ang="0">
                  <a:pos x="63" y="37"/>
                </a:cxn>
                <a:cxn ang="0">
                  <a:pos x="63" y="42"/>
                </a:cxn>
                <a:cxn ang="0">
                  <a:pos x="61" y="46"/>
                </a:cxn>
                <a:cxn ang="0">
                  <a:pos x="63" y="48"/>
                </a:cxn>
                <a:cxn ang="0">
                  <a:pos x="61" y="52"/>
                </a:cxn>
                <a:cxn ang="0">
                  <a:pos x="60" y="49"/>
                </a:cxn>
                <a:cxn ang="0">
                  <a:pos x="57" y="50"/>
                </a:cxn>
                <a:cxn ang="0">
                  <a:pos x="54" y="52"/>
                </a:cxn>
                <a:cxn ang="0">
                  <a:pos x="50" y="53"/>
                </a:cxn>
                <a:cxn ang="0">
                  <a:pos x="50" y="56"/>
                </a:cxn>
                <a:cxn ang="0">
                  <a:pos x="45" y="58"/>
                </a:cxn>
                <a:cxn ang="0">
                  <a:pos x="42" y="56"/>
                </a:cxn>
                <a:cxn ang="0">
                  <a:pos x="38" y="57"/>
                </a:cxn>
                <a:cxn ang="0">
                  <a:pos x="34" y="57"/>
                </a:cxn>
                <a:cxn ang="0">
                  <a:pos x="33" y="53"/>
                </a:cxn>
                <a:cxn ang="0">
                  <a:pos x="27" y="45"/>
                </a:cxn>
              </a:cxnLst>
              <a:rect l="0" t="0" r="r" b="b"/>
              <a:pathLst>
                <a:path w="77" h="58">
                  <a:moveTo>
                    <a:pt x="23" y="46"/>
                  </a:moveTo>
                  <a:lnTo>
                    <a:pt x="23" y="45"/>
                  </a:lnTo>
                  <a:lnTo>
                    <a:pt x="23" y="44"/>
                  </a:lnTo>
                  <a:lnTo>
                    <a:pt x="23" y="42"/>
                  </a:lnTo>
                  <a:lnTo>
                    <a:pt x="23" y="40"/>
                  </a:lnTo>
                  <a:lnTo>
                    <a:pt x="24" y="39"/>
                  </a:lnTo>
                  <a:lnTo>
                    <a:pt x="25" y="37"/>
                  </a:lnTo>
                  <a:lnTo>
                    <a:pt x="25" y="36"/>
                  </a:lnTo>
                  <a:lnTo>
                    <a:pt x="25" y="35"/>
                  </a:lnTo>
                  <a:lnTo>
                    <a:pt x="24" y="34"/>
                  </a:lnTo>
                  <a:lnTo>
                    <a:pt x="23" y="34"/>
                  </a:lnTo>
                  <a:lnTo>
                    <a:pt x="22" y="33"/>
                  </a:lnTo>
                  <a:lnTo>
                    <a:pt x="21" y="31"/>
                  </a:lnTo>
                  <a:lnTo>
                    <a:pt x="20" y="31"/>
                  </a:lnTo>
                  <a:lnTo>
                    <a:pt x="19" y="31"/>
                  </a:lnTo>
                  <a:lnTo>
                    <a:pt x="16" y="31"/>
                  </a:lnTo>
                  <a:lnTo>
                    <a:pt x="15" y="32"/>
                  </a:lnTo>
                  <a:lnTo>
                    <a:pt x="14" y="31"/>
                  </a:lnTo>
                  <a:lnTo>
                    <a:pt x="11" y="30"/>
                  </a:lnTo>
                  <a:lnTo>
                    <a:pt x="10" y="29"/>
                  </a:lnTo>
                  <a:lnTo>
                    <a:pt x="8" y="28"/>
                  </a:lnTo>
                  <a:lnTo>
                    <a:pt x="7" y="28"/>
                  </a:lnTo>
                  <a:lnTo>
                    <a:pt x="6" y="28"/>
                  </a:lnTo>
                  <a:lnTo>
                    <a:pt x="6" y="26"/>
                  </a:lnTo>
                  <a:lnTo>
                    <a:pt x="5" y="26"/>
                  </a:lnTo>
                  <a:lnTo>
                    <a:pt x="3" y="27"/>
                  </a:lnTo>
                  <a:lnTo>
                    <a:pt x="3" y="27"/>
                  </a:lnTo>
                  <a:lnTo>
                    <a:pt x="4" y="27"/>
                  </a:lnTo>
                  <a:lnTo>
                    <a:pt x="4" y="25"/>
                  </a:lnTo>
                  <a:lnTo>
                    <a:pt x="2" y="18"/>
                  </a:lnTo>
                  <a:lnTo>
                    <a:pt x="2" y="16"/>
                  </a:lnTo>
                  <a:lnTo>
                    <a:pt x="1" y="9"/>
                  </a:lnTo>
                  <a:lnTo>
                    <a:pt x="0" y="8"/>
                  </a:lnTo>
                  <a:lnTo>
                    <a:pt x="3" y="7"/>
                  </a:lnTo>
                  <a:lnTo>
                    <a:pt x="4" y="6"/>
                  </a:lnTo>
                  <a:lnTo>
                    <a:pt x="5" y="4"/>
                  </a:lnTo>
                  <a:lnTo>
                    <a:pt x="8" y="3"/>
                  </a:lnTo>
                  <a:lnTo>
                    <a:pt x="11" y="1"/>
                  </a:lnTo>
                  <a:lnTo>
                    <a:pt x="16" y="0"/>
                  </a:lnTo>
                  <a:lnTo>
                    <a:pt x="18" y="0"/>
                  </a:lnTo>
                  <a:lnTo>
                    <a:pt x="23" y="1"/>
                  </a:lnTo>
                  <a:lnTo>
                    <a:pt x="24" y="1"/>
                  </a:lnTo>
                  <a:lnTo>
                    <a:pt x="26" y="0"/>
                  </a:lnTo>
                  <a:lnTo>
                    <a:pt x="26" y="0"/>
                  </a:lnTo>
                  <a:lnTo>
                    <a:pt x="27" y="1"/>
                  </a:lnTo>
                  <a:lnTo>
                    <a:pt x="28" y="2"/>
                  </a:lnTo>
                  <a:lnTo>
                    <a:pt x="29" y="1"/>
                  </a:lnTo>
                  <a:lnTo>
                    <a:pt x="30" y="1"/>
                  </a:lnTo>
                  <a:lnTo>
                    <a:pt x="32" y="1"/>
                  </a:lnTo>
                  <a:lnTo>
                    <a:pt x="34" y="2"/>
                  </a:lnTo>
                  <a:lnTo>
                    <a:pt x="36" y="1"/>
                  </a:lnTo>
                  <a:lnTo>
                    <a:pt x="39" y="1"/>
                  </a:lnTo>
                  <a:lnTo>
                    <a:pt x="41" y="3"/>
                  </a:lnTo>
                  <a:lnTo>
                    <a:pt x="42" y="3"/>
                  </a:lnTo>
                  <a:lnTo>
                    <a:pt x="44" y="3"/>
                  </a:lnTo>
                  <a:lnTo>
                    <a:pt x="45" y="3"/>
                  </a:lnTo>
                  <a:lnTo>
                    <a:pt x="48" y="2"/>
                  </a:lnTo>
                  <a:lnTo>
                    <a:pt x="50" y="1"/>
                  </a:lnTo>
                  <a:lnTo>
                    <a:pt x="51" y="0"/>
                  </a:lnTo>
                  <a:lnTo>
                    <a:pt x="52" y="0"/>
                  </a:lnTo>
                  <a:lnTo>
                    <a:pt x="53" y="2"/>
                  </a:lnTo>
                  <a:lnTo>
                    <a:pt x="54" y="4"/>
                  </a:lnTo>
                  <a:lnTo>
                    <a:pt x="56" y="6"/>
                  </a:lnTo>
                  <a:lnTo>
                    <a:pt x="60" y="6"/>
                  </a:lnTo>
                  <a:lnTo>
                    <a:pt x="62" y="6"/>
                  </a:lnTo>
                  <a:lnTo>
                    <a:pt x="64" y="9"/>
                  </a:lnTo>
                  <a:lnTo>
                    <a:pt x="67" y="11"/>
                  </a:lnTo>
                  <a:lnTo>
                    <a:pt x="69" y="13"/>
                  </a:lnTo>
                  <a:lnTo>
                    <a:pt x="69" y="14"/>
                  </a:lnTo>
                  <a:lnTo>
                    <a:pt x="71" y="16"/>
                  </a:lnTo>
                  <a:lnTo>
                    <a:pt x="72" y="17"/>
                  </a:lnTo>
                  <a:lnTo>
                    <a:pt x="74" y="17"/>
                  </a:lnTo>
                  <a:lnTo>
                    <a:pt x="74" y="19"/>
                  </a:lnTo>
                  <a:lnTo>
                    <a:pt x="74" y="21"/>
                  </a:lnTo>
                  <a:lnTo>
                    <a:pt x="74" y="22"/>
                  </a:lnTo>
                  <a:lnTo>
                    <a:pt x="73" y="23"/>
                  </a:lnTo>
                  <a:lnTo>
                    <a:pt x="72" y="25"/>
                  </a:lnTo>
                  <a:lnTo>
                    <a:pt x="74" y="25"/>
                  </a:lnTo>
                  <a:lnTo>
                    <a:pt x="76" y="25"/>
                  </a:lnTo>
                  <a:lnTo>
                    <a:pt x="77" y="26"/>
                  </a:lnTo>
                  <a:lnTo>
                    <a:pt x="76" y="27"/>
                  </a:lnTo>
                  <a:lnTo>
                    <a:pt x="75" y="27"/>
                  </a:lnTo>
                  <a:lnTo>
                    <a:pt x="75" y="28"/>
                  </a:lnTo>
                  <a:lnTo>
                    <a:pt x="75" y="30"/>
                  </a:lnTo>
                  <a:lnTo>
                    <a:pt x="74" y="30"/>
                  </a:lnTo>
                  <a:lnTo>
                    <a:pt x="73" y="29"/>
                  </a:lnTo>
                  <a:lnTo>
                    <a:pt x="72" y="30"/>
                  </a:lnTo>
                  <a:lnTo>
                    <a:pt x="71" y="29"/>
                  </a:lnTo>
                  <a:lnTo>
                    <a:pt x="70" y="30"/>
                  </a:lnTo>
                  <a:lnTo>
                    <a:pt x="69" y="31"/>
                  </a:lnTo>
                  <a:lnTo>
                    <a:pt x="69" y="33"/>
                  </a:lnTo>
                  <a:lnTo>
                    <a:pt x="67" y="33"/>
                  </a:lnTo>
                  <a:lnTo>
                    <a:pt x="65" y="33"/>
                  </a:lnTo>
                  <a:lnTo>
                    <a:pt x="64" y="35"/>
                  </a:lnTo>
                  <a:lnTo>
                    <a:pt x="63" y="36"/>
                  </a:lnTo>
                  <a:lnTo>
                    <a:pt x="63" y="37"/>
                  </a:lnTo>
                  <a:lnTo>
                    <a:pt x="62" y="39"/>
                  </a:lnTo>
                  <a:lnTo>
                    <a:pt x="63" y="41"/>
                  </a:lnTo>
                  <a:lnTo>
                    <a:pt x="63" y="42"/>
                  </a:lnTo>
                  <a:lnTo>
                    <a:pt x="61" y="44"/>
                  </a:lnTo>
                  <a:lnTo>
                    <a:pt x="61" y="45"/>
                  </a:lnTo>
                  <a:lnTo>
                    <a:pt x="61" y="46"/>
                  </a:lnTo>
                  <a:lnTo>
                    <a:pt x="60" y="48"/>
                  </a:lnTo>
                  <a:lnTo>
                    <a:pt x="62" y="48"/>
                  </a:lnTo>
                  <a:lnTo>
                    <a:pt x="63" y="48"/>
                  </a:lnTo>
                  <a:lnTo>
                    <a:pt x="63" y="50"/>
                  </a:lnTo>
                  <a:lnTo>
                    <a:pt x="63" y="52"/>
                  </a:lnTo>
                  <a:lnTo>
                    <a:pt x="61" y="52"/>
                  </a:lnTo>
                  <a:lnTo>
                    <a:pt x="60" y="51"/>
                  </a:lnTo>
                  <a:lnTo>
                    <a:pt x="60" y="50"/>
                  </a:lnTo>
                  <a:lnTo>
                    <a:pt x="60" y="49"/>
                  </a:lnTo>
                  <a:lnTo>
                    <a:pt x="59" y="48"/>
                  </a:lnTo>
                  <a:lnTo>
                    <a:pt x="58" y="49"/>
                  </a:lnTo>
                  <a:lnTo>
                    <a:pt x="57" y="50"/>
                  </a:lnTo>
                  <a:lnTo>
                    <a:pt x="56" y="49"/>
                  </a:lnTo>
                  <a:lnTo>
                    <a:pt x="56" y="51"/>
                  </a:lnTo>
                  <a:lnTo>
                    <a:pt x="54" y="52"/>
                  </a:lnTo>
                  <a:lnTo>
                    <a:pt x="53" y="52"/>
                  </a:lnTo>
                  <a:lnTo>
                    <a:pt x="52" y="52"/>
                  </a:lnTo>
                  <a:lnTo>
                    <a:pt x="50" y="53"/>
                  </a:lnTo>
                  <a:lnTo>
                    <a:pt x="51" y="54"/>
                  </a:lnTo>
                  <a:lnTo>
                    <a:pt x="51" y="55"/>
                  </a:lnTo>
                  <a:lnTo>
                    <a:pt x="50" y="56"/>
                  </a:lnTo>
                  <a:lnTo>
                    <a:pt x="49" y="55"/>
                  </a:lnTo>
                  <a:lnTo>
                    <a:pt x="48" y="56"/>
                  </a:lnTo>
                  <a:lnTo>
                    <a:pt x="45" y="58"/>
                  </a:lnTo>
                  <a:lnTo>
                    <a:pt x="44" y="58"/>
                  </a:lnTo>
                  <a:lnTo>
                    <a:pt x="43" y="57"/>
                  </a:lnTo>
                  <a:lnTo>
                    <a:pt x="42" y="56"/>
                  </a:lnTo>
                  <a:lnTo>
                    <a:pt x="41" y="57"/>
                  </a:lnTo>
                  <a:lnTo>
                    <a:pt x="39" y="57"/>
                  </a:lnTo>
                  <a:lnTo>
                    <a:pt x="38" y="57"/>
                  </a:lnTo>
                  <a:lnTo>
                    <a:pt x="36" y="57"/>
                  </a:lnTo>
                  <a:lnTo>
                    <a:pt x="35" y="57"/>
                  </a:lnTo>
                  <a:lnTo>
                    <a:pt x="34" y="57"/>
                  </a:lnTo>
                  <a:lnTo>
                    <a:pt x="34" y="55"/>
                  </a:lnTo>
                  <a:lnTo>
                    <a:pt x="34" y="55"/>
                  </a:lnTo>
                  <a:lnTo>
                    <a:pt x="33" y="53"/>
                  </a:lnTo>
                  <a:lnTo>
                    <a:pt x="32" y="48"/>
                  </a:lnTo>
                  <a:lnTo>
                    <a:pt x="27" y="46"/>
                  </a:lnTo>
                  <a:lnTo>
                    <a:pt x="27" y="45"/>
                  </a:lnTo>
                  <a:lnTo>
                    <a:pt x="23" y="4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89" name="Freeform 61">
              <a:extLst>
                <a:ext uri="{FF2B5EF4-FFF2-40B4-BE49-F238E27FC236}">
                  <a16:creationId xmlns:a16="http://schemas.microsoft.com/office/drawing/2014/main" id="{A8721D4C-6426-EA6D-6702-FB5C906BBE16}"/>
                </a:ext>
              </a:extLst>
            </p:cNvPr>
            <p:cNvSpPr>
              <a:spLocks/>
            </p:cNvSpPr>
            <p:nvPr/>
          </p:nvSpPr>
          <p:spPr bwMode="auto">
            <a:xfrm>
              <a:off x="5104984" y="4408488"/>
              <a:ext cx="427038" cy="430213"/>
            </a:xfrm>
            <a:custGeom>
              <a:avLst/>
              <a:gdLst/>
              <a:ahLst/>
              <a:cxnLst>
                <a:cxn ang="0">
                  <a:pos x="0" y="134"/>
                </a:cxn>
                <a:cxn ang="0">
                  <a:pos x="13" y="123"/>
                </a:cxn>
                <a:cxn ang="0">
                  <a:pos x="29" y="119"/>
                </a:cxn>
                <a:cxn ang="0">
                  <a:pos x="40" y="113"/>
                </a:cxn>
                <a:cxn ang="0">
                  <a:pos x="49" y="105"/>
                </a:cxn>
                <a:cxn ang="0">
                  <a:pos x="65" y="96"/>
                </a:cxn>
                <a:cxn ang="0">
                  <a:pos x="64" y="88"/>
                </a:cxn>
                <a:cxn ang="0">
                  <a:pos x="74" y="85"/>
                </a:cxn>
                <a:cxn ang="0">
                  <a:pos x="86" y="81"/>
                </a:cxn>
                <a:cxn ang="0">
                  <a:pos x="98" y="73"/>
                </a:cxn>
                <a:cxn ang="0">
                  <a:pos x="91" y="61"/>
                </a:cxn>
                <a:cxn ang="0">
                  <a:pos x="90" y="40"/>
                </a:cxn>
                <a:cxn ang="0">
                  <a:pos x="84" y="33"/>
                </a:cxn>
                <a:cxn ang="0">
                  <a:pos x="93" y="30"/>
                </a:cxn>
                <a:cxn ang="0">
                  <a:pos x="101" y="23"/>
                </a:cxn>
                <a:cxn ang="0">
                  <a:pos x="109" y="22"/>
                </a:cxn>
                <a:cxn ang="0">
                  <a:pos x="113" y="21"/>
                </a:cxn>
                <a:cxn ang="0">
                  <a:pos x="123" y="11"/>
                </a:cxn>
                <a:cxn ang="0">
                  <a:pos x="143" y="9"/>
                </a:cxn>
                <a:cxn ang="0">
                  <a:pos x="153" y="8"/>
                </a:cxn>
                <a:cxn ang="0">
                  <a:pos x="162" y="4"/>
                </a:cxn>
                <a:cxn ang="0">
                  <a:pos x="172" y="5"/>
                </a:cxn>
                <a:cxn ang="0">
                  <a:pos x="180" y="7"/>
                </a:cxn>
                <a:cxn ang="0">
                  <a:pos x="192" y="4"/>
                </a:cxn>
                <a:cxn ang="0">
                  <a:pos x="203" y="5"/>
                </a:cxn>
                <a:cxn ang="0">
                  <a:pos x="208" y="1"/>
                </a:cxn>
                <a:cxn ang="0">
                  <a:pos x="215" y="4"/>
                </a:cxn>
                <a:cxn ang="0">
                  <a:pos x="226" y="4"/>
                </a:cxn>
                <a:cxn ang="0">
                  <a:pos x="221" y="13"/>
                </a:cxn>
                <a:cxn ang="0">
                  <a:pos x="221" y="34"/>
                </a:cxn>
                <a:cxn ang="0">
                  <a:pos x="218" y="43"/>
                </a:cxn>
                <a:cxn ang="0">
                  <a:pos x="213" y="59"/>
                </a:cxn>
                <a:cxn ang="0">
                  <a:pos x="220" y="67"/>
                </a:cxn>
                <a:cxn ang="0">
                  <a:pos x="226" y="77"/>
                </a:cxn>
                <a:cxn ang="0">
                  <a:pos x="235" y="98"/>
                </a:cxn>
                <a:cxn ang="0">
                  <a:pos x="235" y="112"/>
                </a:cxn>
                <a:cxn ang="0">
                  <a:pos x="242" y="133"/>
                </a:cxn>
                <a:cxn ang="0">
                  <a:pos x="241" y="148"/>
                </a:cxn>
                <a:cxn ang="0">
                  <a:pos x="242" y="163"/>
                </a:cxn>
                <a:cxn ang="0">
                  <a:pos x="236" y="168"/>
                </a:cxn>
                <a:cxn ang="0">
                  <a:pos x="244" y="187"/>
                </a:cxn>
                <a:cxn ang="0">
                  <a:pos x="252" y="193"/>
                </a:cxn>
                <a:cxn ang="0">
                  <a:pos x="263" y="197"/>
                </a:cxn>
                <a:cxn ang="0">
                  <a:pos x="268" y="208"/>
                </a:cxn>
                <a:cxn ang="0">
                  <a:pos x="225" y="234"/>
                </a:cxn>
                <a:cxn ang="0">
                  <a:pos x="188" y="263"/>
                </a:cxn>
                <a:cxn ang="0">
                  <a:pos x="155" y="271"/>
                </a:cxn>
                <a:cxn ang="0">
                  <a:pos x="154" y="259"/>
                </a:cxn>
                <a:cxn ang="0">
                  <a:pos x="147" y="256"/>
                </a:cxn>
                <a:cxn ang="0">
                  <a:pos x="138" y="254"/>
                </a:cxn>
                <a:cxn ang="0">
                  <a:pos x="128" y="245"/>
                </a:cxn>
                <a:cxn ang="0">
                  <a:pos x="127" y="240"/>
                </a:cxn>
                <a:cxn ang="0">
                  <a:pos x="103" y="224"/>
                </a:cxn>
                <a:cxn ang="0">
                  <a:pos x="67" y="198"/>
                </a:cxn>
                <a:cxn ang="0">
                  <a:pos x="49" y="185"/>
                </a:cxn>
                <a:cxn ang="0">
                  <a:pos x="0" y="154"/>
                </a:cxn>
              </a:cxnLst>
              <a:rect l="0" t="0" r="r" b="b"/>
              <a:pathLst>
                <a:path w="269" h="271">
                  <a:moveTo>
                    <a:pt x="0" y="154"/>
                  </a:moveTo>
                  <a:lnTo>
                    <a:pt x="0" y="148"/>
                  </a:lnTo>
                  <a:lnTo>
                    <a:pt x="0" y="134"/>
                  </a:lnTo>
                  <a:lnTo>
                    <a:pt x="1" y="132"/>
                  </a:lnTo>
                  <a:lnTo>
                    <a:pt x="5" y="130"/>
                  </a:lnTo>
                  <a:lnTo>
                    <a:pt x="13" y="123"/>
                  </a:lnTo>
                  <a:lnTo>
                    <a:pt x="19" y="119"/>
                  </a:lnTo>
                  <a:lnTo>
                    <a:pt x="26" y="120"/>
                  </a:lnTo>
                  <a:lnTo>
                    <a:pt x="29" y="119"/>
                  </a:lnTo>
                  <a:lnTo>
                    <a:pt x="30" y="115"/>
                  </a:lnTo>
                  <a:lnTo>
                    <a:pt x="35" y="115"/>
                  </a:lnTo>
                  <a:lnTo>
                    <a:pt x="40" y="113"/>
                  </a:lnTo>
                  <a:lnTo>
                    <a:pt x="43" y="112"/>
                  </a:lnTo>
                  <a:lnTo>
                    <a:pt x="46" y="109"/>
                  </a:lnTo>
                  <a:lnTo>
                    <a:pt x="49" y="105"/>
                  </a:lnTo>
                  <a:lnTo>
                    <a:pt x="55" y="103"/>
                  </a:lnTo>
                  <a:lnTo>
                    <a:pt x="64" y="98"/>
                  </a:lnTo>
                  <a:lnTo>
                    <a:pt x="65" y="96"/>
                  </a:lnTo>
                  <a:lnTo>
                    <a:pt x="63" y="92"/>
                  </a:lnTo>
                  <a:lnTo>
                    <a:pt x="63" y="89"/>
                  </a:lnTo>
                  <a:lnTo>
                    <a:pt x="64" y="88"/>
                  </a:lnTo>
                  <a:lnTo>
                    <a:pt x="65" y="87"/>
                  </a:lnTo>
                  <a:lnTo>
                    <a:pt x="72" y="86"/>
                  </a:lnTo>
                  <a:lnTo>
                    <a:pt x="74" y="85"/>
                  </a:lnTo>
                  <a:lnTo>
                    <a:pt x="76" y="81"/>
                  </a:lnTo>
                  <a:lnTo>
                    <a:pt x="82" y="81"/>
                  </a:lnTo>
                  <a:lnTo>
                    <a:pt x="86" y="81"/>
                  </a:lnTo>
                  <a:lnTo>
                    <a:pt x="97" y="81"/>
                  </a:lnTo>
                  <a:lnTo>
                    <a:pt x="99" y="74"/>
                  </a:lnTo>
                  <a:lnTo>
                    <a:pt x="98" y="73"/>
                  </a:lnTo>
                  <a:lnTo>
                    <a:pt x="95" y="70"/>
                  </a:lnTo>
                  <a:lnTo>
                    <a:pt x="92" y="65"/>
                  </a:lnTo>
                  <a:lnTo>
                    <a:pt x="91" y="61"/>
                  </a:lnTo>
                  <a:lnTo>
                    <a:pt x="91" y="52"/>
                  </a:lnTo>
                  <a:lnTo>
                    <a:pt x="91" y="47"/>
                  </a:lnTo>
                  <a:lnTo>
                    <a:pt x="90" y="40"/>
                  </a:lnTo>
                  <a:lnTo>
                    <a:pt x="89" y="39"/>
                  </a:lnTo>
                  <a:lnTo>
                    <a:pt x="86" y="37"/>
                  </a:lnTo>
                  <a:lnTo>
                    <a:pt x="84" y="33"/>
                  </a:lnTo>
                  <a:lnTo>
                    <a:pt x="86" y="33"/>
                  </a:lnTo>
                  <a:lnTo>
                    <a:pt x="90" y="32"/>
                  </a:lnTo>
                  <a:lnTo>
                    <a:pt x="93" y="30"/>
                  </a:lnTo>
                  <a:lnTo>
                    <a:pt x="95" y="26"/>
                  </a:lnTo>
                  <a:lnTo>
                    <a:pt x="98" y="24"/>
                  </a:lnTo>
                  <a:lnTo>
                    <a:pt x="101" y="23"/>
                  </a:lnTo>
                  <a:lnTo>
                    <a:pt x="103" y="22"/>
                  </a:lnTo>
                  <a:lnTo>
                    <a:pt x="107" y="20"/>
                  </a:lnTo>
                  <a:lnTo>
                    <a:pt x="109" y="22"/>
                  </a:lnTo>
                  <a:lnTo>
                    <a:pt x="110" y="22"/>
                  </a:lnTo>
                  <a:lnTo>
                    <a:pt x="112" y="22"/>
                  </a:lnTo>
                  <a:lnTo>
                    <a:pt x="113" y="21"/>
                  </a:lnTo>
                  <a:lnTo>
                    <a:pt x="115" y="17"/>
                  </a:lnTo>
                  <a:lnTo>
                    <a:pt x="119" y="14"/>
                  </a:lnTo>
                  <a:lnTo>
                    <a:pt x="123" y="11"/>
                  </a:lnTo>
                  <a:lnTo>
                    <a:pt x="127" y="10"/>
                  </a:lnTo>
                  <a:lnTo>
                    <a:pt x="133" y="10"/>
                  </a:lnTo>
                  <a:lnTo>
                    <a:pt x="143" y="9"/>
                  </a:lnTo>
                  <a:lnTo>
                    <a:pt x="146" y="8"/>
                  </a:lnTo>
                  <a:lnTo>
                    <a:pt x="149" y="6"/>
                  </a:lnTo>
                  <a:lnTo>
                    <a:pt x="153" y="8"/>
                  </a:lnTo>
                  <a:lnTo>
                    <a:pt x="156" y="7"/>
                  </a:lnTo>
                  <a:lnTo>
                    <a:pt x="160" y="5"/>
                  </a:lnTo>
                  <a:lnTo>
                    <a:pt x="162" y="4"/>
                  </a:lnTo>
                  <a:lnTo>
                    <a:pt x="167" y="4"/>
                  </a:lnTo>
                  <a:lnTo>
                    <a:pt x="170" y="4"/>
                  </a:lnTo>
                  <a:lnTo>
                    <a:pt x="172" y="5"/>
                  </a:lnTo>
                  <a:lnTo>
                    <a:pt x="173" y="5"/>
                  </a:lnTo>
                  <a:lnTo>
                    <a:pt x="175" y="6"/>
                  </a:lnTo>
                  <a:lnTo>
                    <a:pt x="180" y="7"/>
                  </a:lnTo>
                  <a:lnTo>
                    <a:pt x="183" y="7"/>
                  </a:lnTo>
                  <a:lnTo>
                    <a:pt x="188" y="6"/>
                  </a:lnTo>
                  <a:lnTo>
                    <a:pt x="192" y="4"/>
                  </a:lnTo>
                  <a:lnTo>
                    <a:pt x="196" y="0"/>
                  </a:lnTo>
                  <a:lnTo>
                    <a:pt x="201" y="4"/>
                  </a:lnTo>
                  <a:lnTo>
                    <a:pt x="203" y="5"/>
                  </a:lnTo>
                  <a:lnTo>
                    <a:pt x="205" y="4"/>
                  </a:lnTo>
                  <a:lnTo>
                    <a:pt x="207" y="2"/>
                  </a:lnTo>
                  <a:lnTo>
                    <a:pt x="208" y="1"/>
                  </a:lnTo>
                  <a:lnTo>
                    <a:pt x="211" y="1"/>
                  </a:lnTo>
                  <a:lnTo>
                    <a:pt x="214" y="2"/>
                  </a:lnTo>
                  <a:lnTo>
                    <a:pt x="215" y="4"/>
                  </a:lnTo>
                  <a:lnTo>
                    <a:pt x="216" y="5"/>
                  </a:lnTo>
                  <a:lnTo>
                    <a:pt x="219" y="5"/>
                  </a:lnTo>
                  <a:lnTo>
                    <a:pt x="226" y="4"/>
                  </a:lnTo>
                  <a:lnTo>
                    <a:pt x="226" y="5"/>
                  </a:lnTo>
                  <a:lnTo>
                    <a:pt x="221" y="10"/>
                  </a:lnTo>
                  <a:lnTo>
                    <a:pt x="221" y="13"/>
                  </a:lnTo>
                  <a:lnTo>
                    <a:pt x="221" y="23"/>
                  </a:lnTo>
                  <a:lnTo>
                    <a:pt x="221" y="29"/>
                  </a:lnTo>
                  <a:lnTo>
                    <a:pt x="221" y="34"/>
                  </a:lnTo>
                  <a:lnTo>
                    <a:pt x="221" y="38"/>
                  </a:lnTo>
                  <a:lnTo>
                    <a:pt x="220" y="41"/>
                  </a:lnTo>
                  <a:lnTo>
                    <a:pt x="218" y="43"/>
                  </a:lnTo>
                  <a:lnTo>
                    <a:pt x="212" y="49"/>
                  </a:lnTo>
                  <a:lnTo>
                    <a:pt x="211" y="53"/>
                  </a:lnTo>
                  <a:lnTo>
                    <a:pt x="213" y="59"/>
                  </a:lnTo>
                  <a:lnTo>
                    <a:pt x="215" y="64"/>
                  </a:lnTo>
                  <a:lnTo>
                    <a:pt x="218" y="65"/>
                  </a:lnTo>
                  <a:lnTo>
                    <a:pt x="220" y="67"/>
                  </a:lnTo>
                  <a:lnTo>
                    <a:pt x="221" y="70"/>
                  </a:lnTo>
                  <a:lnTo>
                    <a:pt x="224" y="76"/>
                  </a:lnTo>
                  <a:lnTo>
                    <a:pt x="226" y="77"/>
                  </a:lnTo>
                  <a:lnTo>
                    <a:pt x="229" y="79"/>
                  </a:lnTo>
                  <a:lnTo>
                    <a:pt x="230" y="82"/>
                  </a:lnTo>
                  <a:lnTo>
                    <a:pt x="235" y="98"/>
                  </a:lnTo>
                  <a:lnTo>
                    <a:pt x="238" y="108"/>
                  </a:lnTo>
                  <a:lnTo>
                    <a:pt x="237" y="109"/>
                  </a:lnTo>
                  <a:lnTo>
                    <a:pt x="235" y="112"/>
                  </a:lnTo>
                  <a:lnTo>
                    <a:pt x="241" y="123"/>
                  </a:lnTo>
                  <a:lnTo>
                    <a:pt x="241" y="128"/>
                  </a:lnTo>
                  <a:lnTo>
                    <a:pt x="242" y="133"/>
                  </a:lnTo>
                  <a:lnTo>
                    <a:pt x="241" y="139"/>
                  </a:lnTo>
                  <a:lnTo>
                    <a:pt x="242" y="144"/>
                  </a:lnTo>
                  <a:lnTo>
                    <a:pt x="241" y="148"/>
                  </a:lnTo>
                  <a:lnTo>
                    <a:pt x="240" y="151"/>
                  </a:lnTo>
                  <a:lnTo>
                    <a:pt x="242" y="159"/>
                  </a:lnTo>
                  <a:lnTo>
                    <a:pt x="242" y="163"/>
                  </a:lnTo>
                  <a:lnTo>
                    <a:pt x="242" y="164"/>
                  </a:lnTo>
                  <a:lnTo>
                    <a:pt x="238" y="167"/>
                  </a:lnTo>
                  <a:lnTo>
                    <a:pt x="236" y="168"/>
                  </a:lnTo>
                  <a:lnTo>
                    <a:pt x="235" y="170"/>
                  </a:lnTo>
                  <a:lnTo>
                    <a:pt x="243" y="181"/>
                  </a:lnTo>
                  <a:lnTo>
                    <a:pt x="244" y="187"/>
                  </a:lnTo>
                  <a:lnTo>
                    <a:pt x="248" y="193"/>
                  </a:lnTo>
                  <a:lnTo>
                    <a:pt x="249" y="194"/>
                  </a:lnTo>
                  <a:lnTo>
                    <a:pt x="252" y="193"/>
                  </a:lnTo>
                  <a:lnTo>
                    <a:pt x="256" y="194"/>
                  </a:lnTo>
                  <a:lnTo>
                    <a:pt x="262" y="196"/>
                  </a:lnTo>
                  <a:lnTo>
                    <a:pt x="263" y="197"/>
                  </a:lnTo>
                  <a:lnTo>
                    <a:pt x="269" y="206"/>
                  </a:lnTo>
                  <a:lnTo>
                    <a:pt x="269" y="207"/>
                  </a:lnTo>
                  <a:lnTo>
                    <a:pt x="268" y="208"/>
                  </a:lnTo>
                  <a:lnTo>
                    <a:pt x="258" y="214"/>
                  </a:lnTo>
                  <a:lnTo>
                    <a:pt x="234" y="228"/>
                  </a:lnTo>
                  <a:lnTo>
                    <a:pt x="225" y="234"/>
                  </a:lnTo>
                  <a:lnTo>
                    <a:pt x="211" y="243"/>
                  </a:lnTo>
                  <a:lnTo>
                    <a:pt x="206" y="247"/>
                  </a:lnTo>
                  <a:lnTo>
                    <a:pt x="188" y="263"/>
                  </a:lnTo>
                  <a:lnTo>
                    <a:pt x="178" y="266"/>
                  </a:lnTo>
                  <a:lnTo>
                    <a:pt x="168" y="268"/>
                  </a:lnTo>
                  <a:lnTo>
                    <a:pt x="155" y="271"/>
                  </a:lnTo>
                  <a:lnTo>
                    <a:pt x="154" y="267"/>
                  </a:lnTo>
                  <a:lnTo>
                    <a:pt x="155" y="263"/>
                  </a:lnTo>
                  <a:lnTo>
                    <a:pt x="154" y="259"/>
                  </a:lnTo>
                  <a:lnTo>
                    <a:pt x="153" y="257"/>
                  </a:lnTo>
                  <a:lnTo>
                    <a:pt x="151" y="256"/>
                  </a:lnTo>
                  <a:lnTo>
                    <a:pt x="147" y="256"/>
                  </a:lnTo>
                  <a:lnTo>
                    <a:pt x="145" y="255"/>
                  </a:lnTo>
                  <a:lnTo>
                    <a:pt x="141" y="252"/>
                  </a:lnTo>
                  <a:lnTo>
                    <a:pt x="138" y="254"/>
                  </a:lnTo>
                  <a:lnTo>
                    <a:pt x="137" y="254"/>
                  </a:lnTo>
                  <a:lnTo>
                    <a:pt x="130" y="247"/>
                  </a:lnTo>
                  <a:lnTo>
                    <a:pt x="128" y="245"/>
                  </a:lnTo>
                  <a:lnTo>
                    <a:pt x="128" y="244"/>
                  </a:lnTo>
                  <a:lnTo>
                    <a:pt x="128" y="242"/>
                  </a:lnTo>
                  <a:lnTo>
                    <a:pt x="127" y="240"/>
                  </a:lnTo>
                  <a:lnTo>
                    <a:pt x="113" y="231"/>
                  </a:lnTo>
                  <a:lnTo>
                    <a:pt x="110" y="229"/>
                  </a:lnTo>
                  <a:lnTo>
                    <a:pt x="103" y="224"/>
                  </a:lnTo>
                  <a:lnTo>
                    <a:pt x="91" y="216"/>
                  </a:lnTo>
                  <a:lnTo>
                    <a:pt x="72" y="202"/>
                  </a:lnTo>
                  <a:lnTo>
                    <a:pt x="67" y="198"/>
                  </a:lnTo>
                  <a:lnTo>
                    <a:pt x="55" y="189"/>
                  </a:lnTo>
                  <a:lnTo>
                    <a:pt x="50" y="186"/>
                  </a:lnTo>
                  <a:lnTo>
                    <a:pt x="49" y="185"/>
                  </a:lnTo>
                  <a:lnTo>
                    <a:pt x="41" y="179"/>
                  </a:lnTo>
                  <a:lnTo>
                    <a:pt x="17" y="163"/>
                  </a:lnTo>
                  <a:lnTo>
                    <a:pt x="0" y="15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0" name="Freeform 62">
              <a:extLst>
                <a:ext uri="{FF2B5EF4-FFF2-40B4-BE49-F238E27FC236}">
                  <a16:creationId xmlns:a16="http://schemas.microsoft.com/office/drawing/2014/main" id="{90E272EC-87E4-5807-52A1-A1E2D8D016FF}"/>
                </a:ext>
              </a:extLst>
            </p:cNvPr>
            <p:cNvSpPr>
              <a:spLocks/>
            </p:cNvSpPr>
            <p:nvPr/>
          </p:nvSpPr>
          <p:spPr bwMode="auto">
            <a:xfrm>
              <a:off x="5635209" y="4048125"/>
              <a:ext cx="117475" cy="55563"/>
            </a:xfrm>
            <a:custGeom>
              <a:avLst/>
              <a:gdLst/>
              <a:ahLst/>
              <a:cxnLst>
                <a:cxn ang="0">
                  <a:pos x="0" y="19"/>
                </a:cxn>
                <a:cxn ang="0">
                  <a:pos x="1" y="17"/>
                </a:cxn>
                <a:cxn ang="0">
                  <a:pos x="2" y="16"/>
                </a:cxn>
                <a:cxn ang="0">
                  <a:pos x="3" y="15"/>
                </a:cxn>
                <a:cxn ang="0">
                  <a:pos x="4" y="15"/>
                </a:cxn>
                <a:cxn ang="0">
                  <a:pos x="6" y="16"/>
                </a:cxn>
                <a:cxn ang="0">
                  <a:pos x="7" y="15"/>
                </a:cxn>
                <a:cxn ang="0">
                  <a:pos x="8" y="16"/>
                </a:cxn>
                <a:cxn ang="0">
                  <a:pos x="9" y="15"/>
                </a:cxn>
                <a:cxn ang="0">
                  <a:pos x="11" y="15"/>
                </a:cxn>
                <a:cxn ang="0">
                  <a:pos x="12" y="14"/>
                </a:cxn>
                <a:cxn ang="0">
                  <a:pos x="12" y="14"/>
                </a:cxn>
                <a:cxn ang="0">
                  <a:pos x="13" y="12"/>
                </a:cxn>
                <a:cxn ang="0">
                  <a:pos x="14" y="12"/>
                </a:cxn>
                <a:cxn ang="0">
                  <a:pos x="16" y="11"/>
                </a:cxn>
                <a:cxn ang="0">
                  <a:pos x="16" y="9"/>
                </a:cxn>
                <a:cxn ang="0">
                  <a:pos x="16" y="7"/>
                </a:cxn>
                <a:cxn ang="0">
                  <a:pos x="18" y="6"/>
                </a:cxn>
                <a:cxn ang="0">
                  <a:pos x="19" y="5"/>
                </a:cxn>
                <a:cxn ang="0">
                  <a:pos x="20" y="4"/>
                </a:cxn>
                <a:cxn ang="0">
                  <a:pos x="21" y="3"/>
                </a:cxn>
                <a:cxn ang="0">
                  <a:pos x="22" y="2"/>
                </a:cxn>
                <a:cxn ang="0">
                  <a:pos x="24" y="3"/>
                </a:cxn>
                <a:cxn ang="0">
                  <a:pos x="25" y="1"/>
                </a:cxn>
                <a:cxn ang="0">
                  <a:pos x="27" y="2"/>
                </a:cxn>
                <a:cxn ang="0">
                  <a:pos x="30" y="4"/>
                </a:cxn>
                <a:cxn ang="0">
                  <a:pos x="32" y="2"/>
                </a:cxn>
                <a:cxn ang="0">
                  <a:pos x="34" y="0"/>
                </a:cxn>
                <a:cxn ang="0">
                  <a:pos x="35" y="4"/>
                </a:cxn>
                <a:cxn ang="0">
                  <a:pos x="37" y="6"/>
                </a:cxn>
                <a:cxn ang="0">
                  <a:pos x="37" y="8"/>
                </a:cxn>
                <a:cxn ang="0">
                  <a:pos x="41" y="9"/>
                </a:cxn>
                <a:cxn ang="0">
                  <a:pos x="42" y="6"/>
                </a:cxn>
                <a:cxn ang="0">
                  <a:pos x="46" y="4"/>
                </a:cxn>
                <a:cxn ang="0">
                  <a:pos x="52" y="6"/>
                </a:cxn>
                <a:cxn ang="0">
                  <a:pos x="55" y="3"/>
                </a:cxn>
                <a:cxn ang="0">
                  <a:pos x="61" y="3"/>
                </a:cxn>
                <a:cxn ang="0">
                  <a:pos x="66" y="6"/>
                </a:cxn>
                <a:cxn ang="0">
                  <a:pos x="69" y="9"/>
                </a:cxn>
                <a:cxn ang="0">
                  <a:pos x="67" y="25"/>
                </a:cxn>
                <a:cxn ang="0">
                  <a:pos x="61" y="24"/>
                </a:cxn>
                <a:cxn ang="0">
                  <a:pos x="52" y="21"/>
                </a:cxn>
                <a:cxn ang="0">
                  <a:pos x="42" y="28"/>
                </a:cxn>
                <a:cxn ang="0">
                  <a:pos x="36" y="28"/>
                </a:cxn>
                <a:cxn ang="0">
                  <a:pos x="28" y="30"/>
                </a:cxn>
                <a:cxn ang="0">
                  <a:pos x="25" y="35"/>
                </a:cxn>
                <a:cxn ang="0">
                  <a:pos x="13" y="34"/>
                </a:cxn>
                <a:cxn ang="0">
                  <a:pos x="7" y="31"/>
                </a:cxn>
                <a:cxn ang="0">
                  <a:pos x="1" y="28"/>
                </a:cxn>
                <a:cxn ang="0">
                  <a:pos x="0" y="21"/>
                </a:cxn>
              </a:cxnLst>
              <a:rect l="0" t="0" r="r" b="b"/>
              <a:pathLst>
                <a:path w="74" h="35">
                  <a:moveTo>
                    <a:pt x="0" y="20"/>
                  </a:moveTo>
                  <a:lnTo>
                    <a:pt x="0" y="19"/>
                  </a:lnTo>
                  <a:lnTo>
                    <a:pt x="1" y="18"/>
                  </a:lnTo>
                  <a:lnTo>
                    <a:pt x="1" y="17"/>
                  </a:lnTo>
                  <a:lnTo>
                    <a:pt x="1" y="17"/>
                  </a:lnTo>
                  <a:lnTo>
                    <a:pt x="2" y="16"/>
                  </a:lnTo>
                  <a:lnTo>
                    <a:pt x="3" y="15"/>
                  </a:lnTo>
                  <a:lnTo>
                    <a:pt x="3" y="15"/>
                  </a:lnTo>
                  <a:lnTo>
                    <a:pt x="4" y="15"/>
                  </a:lnTo>
                  <a:lnTo>
                    <a:pt x="4" y="15"/>
                  </a:lnTo>
                  <a:lnTo>
                    <a:pt x="5" y="16"/>
                  </a:lnTo>
                  <a:lnTo>
                    <a:pt x="6" y="16"/>
                  </a:lnTo>
                  <a:lnTo>
                    <a:pt x="7" y="15"/>
                  </a:lnTo>
                  <a:lnTo>
                    <a:pt x="7" y="15"/>
                  </a:lnTo>
                  <a:lnTo>
                    <a:pt x="7" y="16"/>
                  </a:lnTo>
                  <a:lnTo>
                    <a:pt x="8" y="16"/>
                  </a:lnTo>
                  <a:lnTo>
                    <a:pt x="9" y="16"/>
                  </a:lnTo>
                  <a:lnTo>
                    <a:pt x="9" y="15"/>
                  </a:lnTo>
                  <a:lnTo>
                    <a:pt x="10" y="15"/>
                  </a:lnTo>
                  <a:lnTo>
                    <a:pt x="11" y="15"/>
                  </a:lnTo>
                  <a:lnTo>
                    <a:pt x="11" y="14"/>
                  </a:lnTo>
                  <a:lnTo>
                    <a:pt x="12" y="14"/>
                  </a:lnTo>
                  <a:lnTo>
                    <a:pt x="12" y="14"/>
                  </a:lnTo>
                  <a:lnTo>
                    <a:pt x="12" y="14"/>
                  </a:lnTo>
                  <a:lnTo>
                    <a:pt x="13" y="13"/>
                  </a:lnTo>
                  <a:lnTo>
                    <a:pt x="13" y="12"/>
                  </a:lnTo>
                  <a:lnTo>
                    <a:pt x="13" y="12"/>
                  </a:lnTo>
                  <a:lnTo>
                    <a:pt x="14" y="12"/>
                  </a:lnTo>
                  <a:lnTo>
                    <a:pt x="15" y="11"/>
                  </a:lnTo>
                  <a:lnTo>
                    <a:pt x="16" y="11"/>
                  </a:lnTo>
                  <a:lnTo>
                    <a:pt x="16" y="10"/>
                  </a:lnTo>
                  <a:lnTo>
                    <a:pt x="16" y="9"/>
                  </a:lnTo>
                  <a:lnTo>
                    <a:pt x="16" y="8"/>
                  </a:lnTo>
                  <a:lnTo>
                    <a:pt x="16" y="7"/>
                  </a:lnTo>
                  <a:lnTo>
                    <a:pt x="17" y="6"/>
                  </a:lnTo>
                  <a:lnTo>
                    <a:pt x="18" y="6"/>
                  </a:lnTo>
                  <a:lnTo>
                    <a:pt x="18" y="6"/>
                  </a:lnTo>
                  <a:lnTo>
                    <a:pt x="19" y="5"/>
                  </a:lnTo>
                  <a:lnTo>
                    <a:pt x="19" y="5"/>
                  </a:lnTo>
                  <a:lnTo>
                    <a:pt x="20" y="4"/>
                  </a:lnTo>
                  <a:lnTo>
                    <a:pt x="21" y="3"/>
                  </a:lnTo>
                  <a:lnTo>
                    <a:pt x="21" y="3"/>
                  </a:lnTo>
                  <a:lnTo>
                    <a:pt x="22" y="2"/>
                  </a:lnTo>
                  <a:lnTo>
                    <a:pt x="22" y="2"/>
                  </a:lnTo>
                  <a:lnTo>
                    <a:pt x="23" y="2"/>
                  </a:lnTo>
                  <a:lnTo>
                    <a:pt x="24" y="3"/>
                  </a:lnTo>
                  <a:lnTo>
                    <a:pt x="24" y="2"/>
                  </a:lnTo>
                  <a:lnTo>
                    <a:pt x="25" y="1"/>
                  </a:lnTo>
                  <a:lnTo>
                    <a:pt x="25" y="2"/>
                  </a:lnTo>
                  <a:lnTo>
                    <a:pt x="27" y="2"/>
                  </a:lnTo>
                  <a:lnTo>
                    <a:pt x="27" y="4"/>
                  </a:lnTo>
                  <a:lnTo>
                    <a:pt x="30" y="4"/>
                  </a:lnTo>
                  <a:lnTo>
                    <a:pt x="31" y="1"/>
                  </a:lnTo>
                  <a:lnTo>
                    <a:pt x="32" y="2"/>
                  </a:lnTo>
                  <a:lnTo>
                    <a:pt x="32" y="1"/>
                  </a:lnTo>
                  <a:lnTo>
                    <a:pt x="34" y="0"/>
                  </a:lnTo>
                  <a:lnTo>
                    <a:pt x="35" y="3"/>
                  </a:lnTo>
                  <a:lnTo>
                    <a:pt x="35" y="4"/>
                  </a:lnTo>
                  <a:lnTo>
                    <a:pt x="37" y="4"/>
                  </a:lnTo>
                  <a:lnTo>
                    <a:pt x="37" y="6"/>
                  </a:lnTo>
                  <a:lnTo>
                    <a:pt x="37" y="6"/>
                  </a:lnTo>
                  <a:lnTo>
                    <a:pt x="37" y="8"/>
                  </a:lnTo>
                  <a:lnTo>
                    <a:pt x="40" y="7"/>
                  </a:lnTo>
                  <a:lnTo>
                    <a:pt x="41" y="9"/>
                  </a:lnTo>
                  <a:lnTo>
                    <a:pt x="42" y="7"/>
                  </a:lnTo>
                  <a:lnTo>
                    <a:pt x="42" y="6"/>
                  </a:lnTo>
                  <a:lnTo>
                    <a:pt x="45" y="4"/>
                  </a:lnTo>
                  <a:lnTo>
                    <a:pt x="46" y="4"/>
                  </a:lnTo>
                  <a:lnTo>
                    <a:pt x="49" y="4"/>
                  </a:lnTo>
                  <a:lnTo>
                    <a:pt x="52" y="6"/>
                  </a:lnTo>
                  <a:lnTo>
                    <a:pt x="54" y="4"/>
                  </a:lnTo>
                  <a:lnTo>
                    <a:pt x="55" y="3"/>
                  </a:lnTo>
                  <a:lnTo>
                    <a:pt x="58" y="4"/>
                  </a:lnTo>
                  <a:lnTo>
                    <a:pt x="61" y="3"/>
                  </a:lnTo>
                  <a:lnTo>
                    <a:pt x="62" y="4"/>
                  </a:lnTo>
                  <a:lnTo>
                    <a:pt x="66" y="6"/>
                  </a:lnTo>
                  <a:lnTo>
                    <a:pt x="66" y="8"/>
                  </a:lnTo>
                  <a:lnTo>
                    <a:pt x="69" y="9"/>
                  </a:lnTo>
                  <a:lnTo>
                    <a:pt x="74" y="12"/>
                  </a:lnTo>
                  <a:lnTo>
                    <a:pt x="67" y="25"/>
                  </a:lnTo>
                  <a:lnTo>
                    <a:pt x="64" y="25"/>
                  </a:lnTo>
                  <a:lnTo>
                    <a:pt x="61" y="24"/>
                  </a:lnTo>
                  <a:lnTo>
                    <a:pt x="58" y="21"/>
                  </a:lnTo>
                  <a:lnTo>
                    <a:pt x="52" y="21"/>
                  </a:lnTo>
                  <a:lnTo>
                    <a:pt x="48" y="22"/>
                  </a:lnTo>
                  <a:lnTo>
                    <a:pt x="42" y="28"/>
                  </a:lnTo>
                  <a:lnTo>
                    <a:pt x="39" y="29"/>
                  </a:lnTo>
                  <a:lnTo>
                    <a:pt x="36" y="28"/>
                  </a:lnTo>
                  <a:lnTo>
                    <a:pt x="33" y="29"/>
                  </a:lnTo>
                  <a:lnTo>
                    <a:pt x="28" y="30"/>
                  </a:lnTo>
                  <a:lnTo>
                    <a:pt x="27" y="30"/>
                  </a:lnTo>
                  <a:lnTo>
                    <a:pt x="25" y="35"/>
                  </a:lnTo>
                  <a:lnTo>
                    <a:pt x="15" y="35"/>
                  </a:lnTo>
                  <a:lnTo>
                    <a:pt x="13" y="34"/>
                  </a:lnTo>
                  <a:lnTo>
                    <a:pt x="9" y="33"/>
                  </a:lnTo>
                  <a:lnTo>
                    <a:pt x="7" y="31"/>
                  </a:lnTo>
                  <a:lnTo>
                    <a:pt x="5" y="33"/>
                  </a:lnTo>
                  <a:lnTo>
                    <a:pt x="1" y="28"/>
                  </a:lnTo>
                  <a:lnTo>
                    <a:pt x="0" y="26"/>
                  </a:lnTo>
                  <a:lnTo>
                    <a:pt x="0" y="21"/>
                  </a:lnTo>
                  <a:lnTo>
                    <a:pt x="0" y="2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1" name="Freeform 63">
              <a:extLst>
                <a:ext uri="{FF2B5EF4-FFF2-40B4-BE49-F238E27FC236}">
                  <a16:creationId xmlns:a16="http://schemas.microsoft.com/office/drawing/2014/main" id="{1F7436D3-1E31-372F-0DCD-905B934F4BCC}"/>
                </a:ext>
              </a:extLst>
            </p:cNvPr>
            <p:cNvSpPr>
              <a:spLocks/>
            </p:cNvSpPr>
            <p:nvPr/>
          </p:nvSpPr>
          <p:spPr bwMode="auto">
            <a:xfrm>
              <a:off x="3985796" y="5646738"/>
              <a:ext cx="173038" cy="184150"/>
            </a:xfrm>
            <a:custGeom>
              <a:avLst/>
              <a:gdLst/>
              <a:ahLst/>
              <a:cxnLst>
                <a:cxn ang="0">
                  <a:pos x="105" y="92"/>
                </a:cxn>
                <a:cxn ang="0">
                  <a:pos x="100" y="106"/>
                </a:cxn>
                <a:cxn ang="0">
                  <a:pos x="92" y="113"/>
                </a:cxn>
                <a:cxn ang="0">
                  <a:pos x="86" y="113"/>
                </a:cxn>
                <a:cxn ang="0">
                  <a:pos x="83" y="113"/>
                </a:cxn>
                <a:cxn ang="0">
                  <a:pos x="76" y="115"/>
                </a:cxn>
                <a:cxn ang="0">
                  <a:pos x="68" y="115"/>
                </a:cxn>
                <a:cxn ang="0">
                  <a:pos x="59" y="112"/>
                </a:cxn>
                <a:cxn ang="0">
                  <a:pos x="51" y="114"/>
                </a:cxn>
                <a:cxn ang="0">
                  <a:pos x="54" y="110"/>
                </a:cxn>
                <a:cxn ang="0">
                  <a:pos x="57" y="106"/>
                </a:cxn>
                <a:cxn ang="0">
                  <a:pos x="56" y="100"/>
                </a:cxn>
                <a:cxn ang="0">
                  <a:pos x="64" y="87"/>
                </a:cxn>
                <a:cxn ang="0">
                  <a:pos x="58" y="82"/>
                </a:cxn>
                <a:cxn ang="0">
                  <a:pos x="46" y="76"/>
                </a:cxn>
                <a:cxn ang="0">
                  <a:pos x="32" y="67"/>
                </a:cxn>
                <a:cxn ang="0">
                  <a:pos x="23" y="64"/>
                </a:cxn>
                <a:cxn ang="0">
                  <a:pos x="14" y="57"/>
                </a:cxn>
                <a:cxn ang="0">
                  <a:pos x="2" y="42"/>
                </a:cxn>
                <a:cxn ang="0">
                  <a:pos x="0" y="40"/>
                </a:cxn>
                <a:cxn ang="0">
                  <a:pos x="3" y="31"/>
                </a:cxn>
                <a:cxn ang="0">
                  <a:pos x="5" y="19"/>
                </a:cxn>
                <a:cxn ang="0">
                  <a:pos x="8" y="14"/>
                </a:cxn>
                <a:cxn ang="0">
                  <a:pos x="14" y="4"/>
                </a:cxn>
                <a:cxn ang="0">
                  <a:pos x="20" y="3"/>
                </a:cxn>
                <a:cxn ang="0">
                  <a:pos x="33" y="1"/>
                </a:cxn>
                <a:cxn ang="0">
                  <a:pos x="39" y="0"/>
                </a:cxn>
                <a:cxn ang="0">
                  <a:pos x="46" y="0"/>
                </a:cxn>
                <a:cxn ang="0">
                  <a:pos x="58" y="7"/>
                </a:cxn>
                <a:cxn ang="0">
                  <a:pos x="60" y="14"/>
                </a:cxn>
                <a:cxn ang="0">
                  <a:pos x="64" y="25"/>
                </a:cxn>
                <a:cxn ang="0">
                  <a:pos x="62" y="35"/>
                </a:cxn>
                <a:cxn ang="0">
                  <a:pos x="65" y="40"/>
                </a:cxn>
                <a:cxn ang="0">
                  <a:pos x="75" y="42"/>
                </a:cxn>
                <a:cxn ang="0">
                  <a:pos x="81" y="40"/>
                </a:cxn>
                <a:cxn ang="0">
                  <a:pos x="86" y="41"/>
                </a:cxn>
                <a:cxn ang="0">
                  <a:pos x="92" y="47"/>
                </a:cxn>
                <a:cxn ang="0">
                  <a:pos x="96" y="66"/>
                </a:cxn>
                <a:cxn ang="0">
                  <a:pos x="105" y="64"/>
                </a:cxn>
                <a:cxn ang="0">
                  <a:pos x="109" y="67"/>
                </a:cxn>
                <a:cxn ang="0">
                  <a:pos x="107" y="73"/>
                </a:cxn>
                <a:cxn ang="0">
                  <a:pos x="104" y="83"/>
                </a:cxn>
                <a:cxn ang="0">
                  <a:pos x="105" y="91"/>
                </a:cxn>
              </a:cxnLst>
              <a:rect l="0" t="0" r="r" b="b"/>
              <a:pathLst>
                <a:path w="109" h="116">
                  <a:moveTo>
                    <a:pt x="105" y="91"/>
                  </a:moveTo>
                  <a:lnTo>
                    <a:pt x="105" y="92"/>
                  </a:lnTo>
                  <a:lnTo>
                    <a:pt x="101" y="103"/>
                  </a:lnTo>
                  <a:lnTo>
                    <a:pt x="100" y="106"/>
                  </a:lnTo>
                  <a:lnTo>
                    <a:pt x="94" y="111"/>
                  </a:lnTo>
                  <a:lnTo>
                    <a:pt x="92" y="113"/>
                  </a:lnTo>
                  <a:lnTo>
                    <a:pt x="90" y="116"/>
                  </a:lnTo>
                  <a:lnTo>
                    <a:pt x="86" y="113"/>
                  </a:lnTo>
                  <a:lnTo>
                    <a:pt x="84" y="113"/>
                  </a:lnTo>
                  <a:lnTo>
                    <a:pt x="83" y="113"/>
                  </a:lnTo>
                  <a:lnTo>
                    <a:pt x="80" y="114"/>
                  </a:lnTo>
                  <a:lnTo>
                    <a:pt x="76" y="115"/>
                  </a:lnTo>
                  <a:lnTo>
                    <a:pt x="72" y="115"/>
                  </a:lnTo>
                  <a:lnTo>
                    <a:pt x="68" y="115"/>
                  </a:lnTo>
                  <a:lnTo>
                    <a:pt x="62" y="112"/>
                  </a:lnTo>
                  <a:lnTo>
                    <a:pt x="59" y="112"/>
                  </a:lnTo>
                  <a:lnTo>
                    <a:pt x="52" y="114"/>
                  </a:lnTo>
                  <a:lnTo>
                    <a:pt x="51" y="114"/>
                  </a:lnTo>
                  <a:lnTo>
                    <a:pt x="51" y="113"/>
                  </a:lnTo>
                  <a:lnTo>
                    <a:pt x="54" y="110"/>
                  </a:lnTo>
                  <a:lnTo>
                    <a:pt x="57" y="107"/>
                  </a:lnTo>
                  <a:lnTo>
                    <a:pt x="57" y="106"/>
                  </a:lnTo>
                  <a:lnTo>
                    <a:pt x="56" y="102"/>
                  </a:lnTo>
                  <a:lnTo>
                    <a:pt x="56" y="100"/>
                  </a:lnTo>
                  <a:lnTo>
                    <a:pt x="60" y="95"/>
                  </a:lnTo>
                  <a:lnTo>
                    <a:pt x="64" y="87"/>
                  </a:lnTo>
                  <a:lnTo>
                    <a:pt x="64" y="85"/>
                  </a:lnTo>
                  <a:lnTo>
                    <a:pt x="58" y="82"/>
                  </a:lnTo>
                  <a:lnTo>
                    <a:pt x="55" y="81"/>
                  </a:lnTo>
                  <a:lnTo>
                    <a:pt x="46" y="76"/>
                  </a:lnTo>
                  <a:lnTo>
                    <a:pt x="36" y="69"/>
                  </a:lnTo>
                  <a:lnTo>
                    <a:pt x="32" y="67"/>
                  </a:lnTo>
                  <a:lnTo>
                    <a:pt x="25" y="66"/>
                  </a:lnTo>
                  <a:lnTo>
                    <a:pt x="23" y="64"/>
                  </a:lnTo>
                  <a:lnTo>
                    <a:pt x="18" y="60"/>
                  </a:lnTo>
                  <a:lnTo>
                    <a:pt x="14" y="57"/>
                  </a:lnTo>
                  <a:lnTo>
                    <a:pt x="7" y="48"/>
                  </a:lnTo>
                  <a:lnTo>
                    <a:pt x="2" y="42"/>
                  </a:lnTo>
                  <a:lnTo>
                    <a:pt x="1" y="40"/>
                  </a:lnTo>
                  <a:lnTo>
                    <a:pt x="0" y="40"/>
                  </a:lnTo>
                  <a:lnTo>
                    <a:pt x="1" y="38"/>
                  </a:lnTo>
                  <a:lnTo>
                    <a:pt x="3" y="31"/>
                  </a:lnTo>
                  <a:lnTo>
                    <a:pt x="5" y="23"/>
                  </a:lnTo>
                  <a:lnTo>
                    <a:pt x="5" y="19"/>
                  </a:lnTo>
                  <a:lnTo>
                    <a:pt x="6" y="16"/>
                  </a:lnTo>
                  <a:lnTo>
                    <a:pt x="8" y="14"/>
                  </a:lnTo>
                  <a:lnTo>
                    <a:pt x="12" y="7"/>
                  </a:lnTo>
                  <a:lnTo>
                    <a:pt x="14" y="4"/>
                  </a:lnTo>
                  <a:lnTo>
                    <a:pt x="16" y="4"/>
                  </a:lnTo>
                  <a:lnTo>
                    <a:pt x="20" y="3"/>
                  </a:lnTo>
                  <a:lnTo>
                    <a:pt x="27" y="2"/>
                  </a:lnTo>
                  <a:lnTo>
                    <a:pt x="33" y="1"/>
                  </a:lnTo>
                  <a:lnTo>
                    <a:pt x="34" y="0"/>
                  </a:lnTo>
                  <a:lnTo>
                    <a:pt x="39" y="0"/>
                  </a:lnTo>
                  <a:lnTo>
                    <a:pt x="44" y="0"/>
                  </a:lnTo>
                  <a:lnTo>
                    <a:pt x="46" y="0"/>
                  </a:lnTo>
                  <a:lnTo>
                    <a:pt x="58" y="6"/>
                  </a:lnTo>
                  <a:lnTo>
                    <a:pt x="58" y="7"/>
                  </a:lnTo>
                  <a:lnTo>
                    <a:pt x="60" y="10"/>
                  </a:lnTo>
                  <a:lnTo>
                    <a:pt x="60" y="14"/>
                  </a:lnTo>
                  <a:lnTo>
                    <a:pt x="63" y="19"/>
                  </a:lnTo>
                  <a:lnTo>
                    <a:pt x="64" y="25"/>
                  </a:lnTo>
                  <a:lnTo>
                    <a:pt x="63" y="31"/>
                  </a:lnTo>
                  <a:lnTo>
                    <a:pt x="62" y="35"/>
                  </a:lnTo>
                  <a:lnTo>
                    <a:pt x="62" y="40"/>
                  </a:lnTo>
                  <a:lnTo>
                    <a:pt x="65" y="40"/>
                  </a:lnTo>
                  <a:lnTo>
                    <a:pt x="70" y="41"/>
                  </a:lnTo>
                  <a:lnTo>
                    <a:pt x="75" y="42"/>
                  </a:lnTo>
                  <a:lnTo>
                    <a:pt x="77" y="42"/>
                  </a:lnTo>
                  <a:lnTo>
                    <a:pt x="81" y="40"/>
                  </a:lnTo>
                  <a:lnTo>
                    <a:pt x="82" y="40"/>
                  </a:lnTo>
                  <a:lnTo>
                    <a:pt x="86" y="41"/>
                  </a:lnTo>
                  <a:lnTo>
                    <a:pt x="91" y="44"/>
                  </a:lnTo>
                  <a:lnTo>
                    <a:pt x="92" y="47"/>
                  </a:lnTo>
                  <a:lnTo>
                    <a:pt x="95" y="63"/>
                  </a:lnTo>
                  <a:lnTo>
                    <a:pt x="96" y="66"/>
                  </a:lnTo>
                  <a:lnTo>
                    <a:pt x="97" y="67"/>
                  </a:lnTo>
                  <a:lnTo>
                    <a:pt x="105" y="64"/>
                  </a:lnTo>
                  <a:lnTo>
                    <a:pt x="106" y="65"/>
                  </a:lnTo>
                  <a:lnTo>
                    <a:pt x="109" y="67"/>
                  </a:lnTo>
                  <a:lnTo>
                    <a:pt x="109" y="68"/>
                  </a:lnTo>
                  <a:lnTo>
                    <a:pt x="107" y="73"/>
                  </a:lnTo>
                  <a:lnTo>
                    <a:pt x="106" y="78"/>
                  </a:lnTo>
                  <a:lnTo>
                    <a:pt x="104" y="83"/>
                  </a:lnTo>
                  <a:lnTo>
                    <a:pt x="104" y="88"/>
                  </a:lnTo>
                  <a:lnTo>
                    <a:pt x="105" y="9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2" name="Freeform 64">
              <a:extLst>
                <a:ext uri="{FF2B5EF4-FFF2-40B4-BE49-F238E27FC236}">
                  <a16:creationId xmlns:a16="http://schemas.microsoft.com/office/drawing/2014/main" id="{DA626023-A594-437C-5B6A-F888A3168226}"/>
                </a:ext>
              </a:extLst>
            </p:cNvPr>
            <p:cNvSpPr>
              <a:spLocks/>
            </p:cNvSpPr>
            <p:nvPr/>
          </p:nvSpPr>
          <p:spPr bwMode="auto">
            <a:xfrm>
              <a:off x="5620921" y="4081463"/>
              <a:ext cx="141288" cy="87313"/>
            </a:xfrm>
            <a:custGeom>
              <a:avLst/>
              <a:gdLst/>
              <a:ahLst/>
              <a:cxnLst>
                <a:cxn ang="0">
                  <a:pos x="34" y="52"/>
                </a:cxn>
                <a:cxn ang="0">
                  <a:pos x="30" y="54"/>
                </a:cxn>
                <a:cxn ang="0">
                  <a:pos x="28" y="54"/>
                </a:cxn>
                <a:cxn ang="0">
                  <a:pos x="24" y="55"/>
                </a:cxn>
                <a:cxn ang="0">
                  <a:pos x="20" y="54"/>
                </a:cxn>
                <a:cxn ang="0">
                  <a:pos x="14" y="48"/>
                </a:cxn>
                <a:cxn ang="0">
                  <a:pos x="6" y="43"/>
                </a:cxn>
                <a:cxn ang="0">
                  <a:pos x="4" y="41"/>
                </a:cxn>
                <a:cxn ang="0">
                  <a:pos x="2" y="38"/>
                </a:cxn>
                <a:cxn ang="0">
                  <a:pos x="0" y="33"/>
                </a:cxn>
                <a:cxn ang="0">
                  <a:pos x="2" y="31"/>
                </a:cxn>
                <a:cxn ang="0">
                  <a:pos x="3" y="28"/>
                </a:cxn>
                <a:cxn ang="0">
                  <a:pos x="2" y="27"/>
                </a:cxn>
                <a:cxn ang="0">
                  <a:pos x="2" y="23"/>
                </a:cxn>
                <a:cxn ang="0">
                  <a:pos x="5" y="23"/>
                </a:cxn>
                <a:cxn ang="0">
                  <a:pos x="6" y="21"/>
                </a:cxn>
                <a:cxn ang="0">
                  <a:pos x="5" y="19"/>
                </a:cxn>
                <a:cxn ang="0">
                  <a:pos x="2" y="19"/>
                </a:cxn>
                <a:cxn ang="0">
                  <a:pos x="3" y="17"/>
                </a:cxn>
                <a:cxn ang="0">
                  <a:pos x="5" y="17"/>
                </a:cxn>
                <a:cxn ang="0">
                  <a:pos x="6" y="18"/>
                </a:cxn>
                <a:cxn ang="0">
                  <a:pos x="10" y="18"/>
                </a:cxn>
                <a:cxn ang="0">
                  <a:pos x="10" y="15"/>
                </a:cxn>
                <a:cxn ang="0">
                  <a:pos x="14" y="12"/>
                </a:cxn>
                <a:cxn ang="0">
                  <a:pos x="16" y="10"/>
                </a:cxn>
                <a:cxn ang="0">
                  <a:pos x="18" y="12"/>
                </a:cxn>
                <a:cxn ang="0">
                  <a:pos x="22" y="13"/>
                </a:cxn>
                <a:cxn ang="0">
                  <a:pos x="24" y="14"/>
                </a:cxn>
                <a:cxn ang="0">
                  <a:pos x="34" y="14"/>
                </a:cxn>
                <a:cxn ang="0">
                  <a:pos x="36" y="9"/>
                </a:cxn>
                <a:cxn ang="0">
                  <a:pos x="37" y="9"/>
                </a:cxn>
                <a:cxn ang="0">
                  <a:pos x="42" y="8"/>
                </a:cxn>
                <a:cxn ang="0">
                  <a:pos x="45" y="7"/>
                </a:cxn>
                <a:cxn ang="0">
                  <a:pos x="48" y="8"/>
                </a:cxn>
                <a:cxn ang="0">
                  <a:pos x="51" y="7"/>
                </a:cxn>
                <a:cxn ang="0">
                  <a:pos x="57" y="1"/>
                </a:cxn>
                <a:cxn ang="0">
                  <a:pos x="61" y="0"/>
                </a:cxn>
                <a:cxn ang="0">
                  <a:pos x="67" y="0"/>
                </a:cxn>
                <a:cxn ang="0">
                  <a:pos x="70" y="3"/>
                </a:cxn>
                <a:cxn ang="0">
                  <a:pos x="73" y="4"/>
                </a:cxn>
                <a:cxn ang="0">
                  <a:pos x="76" y="4"/>
                </a:cxn>
                <a:cxn ang="0">
                  <a:pos x="78" y="4"/>
                </a:cxn>
                <a:cxn ang="0">
                  <a:pos x="82" y="6"/>
                </a:cxn>
                <a:cxn ang="0">
                  <a:pos x="85" y="8"/>
                </a:cxn>
                <a:cxn ang="0">
                  <a:pos x="89" y="12"/>
                </a:cxn>
                <a:cxn ang="0">
                  <a:pos x="86" y="15"/>
                </a:cxn>
                <a:cxn ang="0">
                  <a:pos x="79" y="17"/>
                </a:cxn>
                <a:cxn ang="0">
                  <a:pos x="76" y="21"/>
                </a:cxn>
                <a:cxn ang="0">
                  <a:pos x="70" y="33"/>
                </a:cxn>
                <a:cxn ang="0">
                  <a:pos x="67" y="40"/>
                </a:cxn>
                <a:cxn ang="0">
                  <a:pos x="62" y="45"/>
                </a:cxn>
                <a:cxn ang="0">
                  <a:pos x="60" y="46"/>
                </a:cxn>
                <a:cxn ang="0">
                  <a:pos x="56" y="47"/>
                </a:cxn>
                <a:cxn ang="0">
                  <a:pos x="54" y="48"/>
                </a:cxn>
                <a:cxn ang="0">
                  <a:pos x="53" y="48"/>
                </a:cxn>
                <a:cxn ang="0">
                  <a:pos x="48" y="47"/>
                </a:cxn>
                <a:cxn ang="0">
                  <a:pos x="43" y="48"/>
                </a:cxn>
                <a:cxn ang="0">
                  <a:pos x="34" y="52"/>
                </a:cxn>
              </a:cxnLst>
              <a:rect l="0" t="0" r="r" b="b"/>
              <a:pathLst>
                <a:path w="89" h="55">
                  <a:moveTo>
                    <a:pt x="34" y="52"/>
                  </a:moveTo>
                  <a:lnTo>
                    <a:pt x="30" y="54"/>
                  </a:lnTo>
                  <a:lnTo>
                    <a:pt x="28" y="54"/>
                  </a:lnTo>
                  <a:lnTo>
                    <a:pt x="24" y="55"/>
                  </a:lnTo>
                  <a:lnTo>
                    <a:pt x="20" y="54"/>
                  </a:lnTo>
                  <a:lnTo>
                    <a:pt x="14" y="48"/>
                  </a:lnTo>
                  <a:lnTo>
                    <a:pt x="6" y="43"/>
                  </a:lnTo>
                  <a:lnTo>
                    <a:pt x="4" y="41"/>
                  </a:lnTo>
                  <a:lnTo>
                    <a:pt x="2" y="38"/>
                  </a:lnTo>
                  <a:lnTo>
                    <a:pt x="0" y="33"/>
                  </a:lnTo>
                  <a:lnTo>
                    <a:pt x="2" y="31"/>
                  </a:lnTo>
                  <a:lnTo>
                    <a:pt x="3" y="28"/>
                  </a:lnTo>
                  <a:lnTo>
                    <a:pt x="2" y="27"/>
                  </a:lnTo>
                  <a:lnTo>
                    <a:pt x="2" y="23"/>
                  </a:lnTo>
                  <a:lnTo>
                    <a:pt x="5" y="23"/>
                  </a:lnTo>
                  <a:lnTo>
                    <a:pt x="6" y="21"/>
                  </a:lnTo>
                  <a:lnTo>
                    <a:pt x="5" y="19"/>
                  </a:lnTo>
                  <a:lnTo>
                    <a:pt x="2" y="19"/>
                  </a:lnTo>
                  <a:lnTo>
                    <a:pt x="3" y="17"/>
                  </a:lnTo>
                  <a:lnTo>
                    <a:pt x="5" y="17"/>
                  </a:lnTo>
                  <a:lnTo>
                    <a:pt x="6" y="18"/>
                  </a:lnTo>
                  <a:lnTo>
                    <a:pt x="10" y="18"/>
                  </a:lnTo>
                  <a:lnTo>
                    <a:pt x="10" y="15"/>
                  </a:lnTo>
                  <a:lnTo>
                    <a:pt x="14" y="12"/>
                  </a:lnTo>
                  <a:lnTo>
                    <a:pt x="16" y="10"/>
                  </a:lnTo>
                  <a:lnTo>
                    <a:pt x="18" y="12"/>
                  </a:lnTo>
                  <a:lnTo>
                    <a:pt x="22" y="13"/>
                  </a:lnTo>
                  <a:lnTo>
                    <a:pt x="24" y="14"/>
                  </a:lnTo>
                  <a:lnTo>
                    <a:pt x="34" y="14"/>
                  </a:lnTo>
                  <a:lnTo>
                    <a:pt x="36" y="9"/>
                  </a:lnTo>
                  <a:lnTo>
                    <a:pt x="37" y="9"/>
                  </a:lnTo>
                  <a:lnTo>
                    <a:pt x="42" y="8"/>
                  </a:lnTo>
                  <a:lnTo>
                    <a:pt x="45" y="7"/>
                  </a:lnTo>
                  <a:lnTo>
                    <a:pt x="48" y="8"/>
                  </a:lnTo>
                  <a:lnTo>
                    <a:pt x="51" y="7"/>
                  </a:lnTo>
                  <a:lnTo>
                    <a:pt x="57" y="1"/>
                  </a:lnTo>
                  <a:lnTo>
                    <a:pt x="61" y="0"/>
                  </a:lnTo>
                  <a:lnTo>
                    <a:pt x="67" y="0"/>
                  </a:lnTo>
                  <a:lnTo>
                    <a:pt x="70" y="3"/>
                  </a:lnTo>
                  <a:lnTo>
                    <a:pt x="73" y="4"/>
                  </a:lnTo>
                  <a:lnTo>
                    <a:pt x="76" y="4"/>
                  </a:lnTo>
                  <a:lnTo>
                    <a:pt x="78" y="4"/>
                  </a:lnTo>
                  <a:lnTo>
                    <a:pt x="82" y="6"/>
                  </a:lnTo>
                  <a:lnTo>
                    <a:pt x="85" y="8"/>
                  </a:lnTo>
                  <a:lnTo>
                    <a:pt x="89" y="12"/>
                  </a:lnTo>
                  <a:lnTo>
                    <a:pt x="86" y="15"/>
                  </a:lnTo>
                  <a:lnTo>
                    <a:pt x="79" y="17"/>
                  </a:lnTo>
                  <a:lnTo>
                    <a:pt x="76" y="21"/>
                  </a:lnTo>
                  <a:lnTo>
                    <a:pt x="70" y="33"/>
                  </a:lnTo>
                  <a:lnTo>
                    <a:pt x="67" y="40"/>
                  </a:lnTo>
                  <a:lnTo>
                    <a:pt x="62" y="45"/>
                  </a:lnTo>
                  <a:lnTo>
                    <a:pt x="60" y="46"/>
                  </a:lnTo>
                  <a:lnTo>
                    <a:pt x="56" y="47"/>
                  </a:lnTo>
                  <a:lnTo>
                    <a:pt x="54" y="48"/>
                  </a:lnTo>
                  <a:lnTo>
                    <a:pt x="53" y="48"/>
                  </a:lnTo>
                  <a:lnTo>
                    <a:pt x="48" y="47"/>
                  </a:lnTo>
                  <a:lnTo>
                    <a:pt x="43" y="48"/>
                  </a:lnTo>
                  <a:lnTo>
                    <a:pt x="34" y="5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3" name="Freeform 65">
              <a:extLst>
                <a:ext uri="{FF2B5EF4-FFF2-40B4-BE49-F238E27FC236}">
                  <a16:creationId xmlns:a16="http://schemas.microsoft.com/office/drawing/2014/main" id="{8604D730-BB5C-F76D-B8DC-2E1EB524BDB4}"/>
                </a:ext>
              </a:extLst>
            </p:cNvPr>
            <p:cNvSpPr>
              <a:spLocks noEditPoints="1"/>
            </p:cNvSpPr>
            <p:nvPr/>
          </p:nvSpPr>
          <p:spPr bwMode="auto">
            <a:xfrm>
              <a:off x="5565359" y="4144963"/>
              <a:ext cx="122238" cy="122238"/>
            </a:xfrm>
            <a:custGeom>
              <a:avLst/>
              <a:gdLst/>
              <a:ahLst/>
              <a:cxnLst>
                <a:cxn ang="0">
                  <a:pos x="39" y="57"/>
                </a:cxn>
                <a:cxn ang="0">
                  <a:pos x="21" y="43"/>
                </a:cxn>
                <a:cxn ang="0">
                  <a:pos x="18" y="34"/>
                </a:cxn>
                <a:cxn ang="0">
                  <a:pos x="9" y="27"/>
                </a:cxn>
                <a:cxn ang="0">
                  <a:pos x="5" y="33"/>
                </a:cxn>
                <a:cxn ang="0">
                  <a:pos x="2" y="21"/>
                </a:cxn>
                <a:cxn ang="0">
                  <a:pos x="4" y="20"/>
                </a:cxn>
                <a:cxn ang="0">
                  <a:pos x="6" y="20"/>
                </a:cxn>
                <a:cxn ang="0">
                  <a:pos x="8" y="20"/>
                </a:cxn>
                <a:cxn ang="0">
                  <a:pos x="11" y="20"/>
                </a:cxn>
                <a:cxn ang="0">
                  <a:pos x="12" y="18"/>
                </a:cxn>
                <a:cxn ang="0">
                  <a:pos x="14" y="17"/>
                </a:cxn>
                <a:cxn ang="0">
                  <a:pos x="15" y="18"/>
                </a:cxn>
                <a:cxn ang="0">
                  <a:pos x="17" y="20"/>
                </a:cxn>
                <a:cxn ang="0">
                  <a:pos x="19" y="20"/>
                </a:cxn>
                <a:cxn ang="0">
                  <a:pos x="22" y="21"/>
                </a:cxn>
                <a:cxn ang="0">
                  <a:pos x="23" y="18"/>
                </a:cxn>
                <a:cxn ang="0">
                  <a:pos x="24" y="17"/>
                </a:cxn>
                <a:cxn ang="0">
                  <a:pos x="23" y="15"/>
                </a:cxn>
                <a:cxn ang="0">
                  <a:pos x="26" y="14"/>
                </a:cxn>
                <a:cxn ang="0">
                  <a:pos x="28" y="12"/>
                </a:cxn>
                <a:cxn ang="0">
                  <a:pos x="28" y="9"/>
                </a:cxn>
                <a:cxn ang="0">
                  <a:pos x="27" y="7"/>
                </a:cxn>
                <a:cxn ang="0">
                  <a:pos x="30" y="5"/>
                </a:cxn>
                <a:cxn ang="0">
                  <a:pos x="33" y="3"/>
                </a:cxn>
                <a:cxn ang="0">
                  <a:pos x="36" y="2"/>
                </a:cxn>
                <a:cxn ang="0">
                  <a:pos x="38" y="0"/>
                </a:cxn>
                <a:cxn ang="0">
                  <a:pos x="49" y="8"/>
                </a:cxn>
                <a:cxn ang="0">
                  <a:pos x="69" y="12"/>
                </a:cxn>
                <a:cxn ang="0">
                  <a:pos x="71" y="16"/>
                </a:cxn>
                <a:cxn ang="0">
                  <a:pos x="71" y="19"/>
                </a:cxn>
                <a:cxn ang="0">
                  <a:pos x="71" y="20"/>
                </a:cxn>
                <a:cxn ang="0">
                  <a:pos x="72" y="22"/>
                </a:cxn>
                <a:cxn ang="0">
                  <a:pos x="75" y="24"/>
                </a:cxn>
                <a:cxn ang="0">
                  <a:pos x="76" y="26"/>
                </a:cxn>
                <a:cxn ang="0">
                  <a:pos x="74" y="25"/>
                </a:cxn>
                <a:cxn ang="0">
                  <a:pos x="72" y="27"/>
                </a:cxn>
                <a:cxn ang="0">
                  <a:pos x="72" y="30"/>
                </a:cxn>
                <a:cxn ang="0">
                  <a:pos x="70" y="32"/>
                </a:cxn>
                <a:cxn ang="0">
                  <a:pos x="68" y="29"/>
                </a:cxn>
                <a:cxn ang="0">
                  <a:pos x="65" y="28"/>
                </a:cxn>
                <a:cxn ang="0">
                  <a:pos x="61" y="27"/>
                </a:cxn>
                <a:cxn ang="0">
                  <a:pos x="57" y="27"/>
                </a:cxn>
                <a:cxn ang="0">
                  <a:pos x="52" y="27"/>
                </a:cxn>
                <a:cxn ang="0">
                  <a:pos x="47" y="26"/>
                </a:cxn>
                <a:cxn ang="0">
                  <a:pos x="44" y="24"/>
                </a:cxn>
                <a:cxn ang="0">
                  <a:pos x="39" y="25"/>
                </a:cxn>
                <a:cxn ang="0">
                  <a:pos x="34" y="27"/>
                </a:cxn>
                <a:cxn ang="0">
                  <a:pos x="29" y="26"/>
                </a:cxn>
                <a:cxn ang="0">
                  <a:pos x="29" y="32"/>
                </a:cxn>
                <a:cxn ang="0">
                  <a:pos x="31" y="35"/>
                </a:cxn>
                <a:cxn ang="0">
                  <a:pos x="35" y="41"/>
                </a:cxn>
                <a:cxn ang="0">
                  <a:pos x="36" y="44"/>
                </a:cxn>
                <a:cxn ang="0">
                  <a:pos x="41" y="50"/>
                </a:cxn>
                <a:cxn ang="0">
                  <a:pos x="47" y="56"/>
                </a:cxn>
                <a:cxn ang="0">
                  <a:pos x="50" y="61"/>
                </a:cxn>
                <a:cxn ang="0">
                  <a:pos x="52" y="66"/>
                </a:cxn>
                <a:cxn ang="0">
                  <a:pos x="56" y="68"/>
                </a:cxn>
                <a:cxn ang="0">
                  <a:pos x="61" y="72"/>
                </a:cxn>
                <a:cxn ang="0">
                  <a:pos x="64" y="73"/>
                </a:cxn>
                <a:cxn ang="0">
                  <a:pos x="65" y="76"/>
                </a:cxn>
              </a:cxnLst>
              <a:rect l="0" t="0" r="r" b="b"/>
              <a:pathLst>
                <a:path w="77" h="77">
                  <a:moveTo>
                    <a:pt x="52" y="66"/>
                  </a:moveTo>
                  <a:lnTo>
                    <a:pt x="46" y="61"/>
                  </a:lnTo>
                  <a:lnTo>
                    <a:pt x="45" y="59"/>
                  </a:lnTo>
                  <a:lnTo>
                    <a:pt x="40" y="58"/>
                  </a:lnTo>
                  <a:lnTo>
                    <a:pt x="39" y="57"/>
                  </a:lnTo>
                  <a:lnTo>
                    <a:pt x="37" y="56"/>
                  </a:lnTo>
                  <a:lnTo>
                    <a:pt x="33" y="57"/>
                  </a:lnTo>
                  <a:lnTo>
                    <a:pt x="31" y="53"/>
                  </a:lnTo>
                  <a:lnTo>
                    <a:pt x="24" y="48"/>
                  </a:lnTo>
                  <a:lnTo>
                    <a:pt x="21" y="43"/>
                  </a:lnTo>
                  <a:lnTo>
                    <a:pt x="23" y="43"/>
                  </a:lnTo>
                  <a:lnTo>
                    <a:pt x="26" y="43"/>
                  </a:lnTo>
                  <a:lnTo>
                    <a:pt x="23" y="41"/>
                  </a:lnTo>
                  <a:lnTo>
                    <a:pt x="19" y="37"/>
                  </a:lnTo>
                  <a:lnTo>
                    <a:pt x="18" y="34"/>
                  </a:lnTo>
                  <a:lnTo>
                    <a:pt x="18" y="30"/>
                  </a:lnTo>
                  <a:lnTo>
                    <a:pt x="17" y="27"/>
                  </a:lnTo>
                  <a:lnTo>
                    <a:pt x="12" y="24"/>
                  </a:lnTo>
                  <a:lnTo>
                    <a:pt x="11" y="23"/>
                  </a:lnTo>
                  <a:lnTo>
                    <a:pt x="9" y="27"/>
                  </a:lnTo>
                  <a:lnTo>
                    <a:pt x="8" y="29"/>
                  </a:lnTo>
                  <a:lnTo>
                    <a:pt x="8" y="30"/>
                  </a:lnTo>
                  <a:lnTo>
                    <a:pt x="6" y="31"/>
                  </a:lnTo>
                  <a:lnTo>
                    <a:pt x="6" y="33"/>
                  </a:lnTo>
                  <a:lnTo>
                    <a:pt x="5" y="33"/>
                  </a:lnTo>
                  <a:lnTo>
                    <a:pt x="2" y="28"/>
                  </a:lnTo>
                  <a:lnTo>
                    <a:pt x="1" y="26"/>
                  </a:lnTo>
                  <a:lnTo>
                    <a:pt x="0" y="20"/>
                  </a:lnTo>
                  <a:lnTo>
                    <a:pt x="0" y="20"/>
                  </a:lnTo>
                  <a:lnTo>
                    <a:pt x="2" y="21"/>
                  </a:lnTo>
                  <a:lnTo>
                    <a:pt x="2" y="21"/>
                  </a:lnTo>
                  <a:lnTo>
                    <a:pt x="3" y="20"/>
                  </a:lnTo>
                  <a:lnTo>
                    <a:pt x="3" y="20"/>
                  </a:lnTo>
                  <a:lnTo>
                    <a:pt x="3" y="20"/>
                  </a:lnTo>
                  <a:lnTo>
                    <a:pt x="4" y="20"/>
                  </a:lnTo>
                  <a:lnTo>
                    <a:pt x="5" y="20"/>
                  </a:lnTo>
                  <a:lnTo>
                    <a:pt x="5" y="20"/>
                  </a:lnTo>
                  <a:lnTo>
                    <a:pt x="5" y="20"/>
                  </a:lnTo>
                  <a:lnTo>
                    <a:pt x="6" y="20"/>
                  </a:lnTo>
                  <a:lnTo>
                    <a:pt x="6" y="20"/>
                  </a:lnTo>
                  <a:lnTo>
                    <a:pt x="6" y="20"/>
                  </a:lnTo>
                  <a:lnTo>
                    <a:pt x="6" y="20"/>
                  </a:lnTo>
                  <a:lnTo>
                    <a:pt x="6" y="20"/>
                  </a:lnTo>
                  <a:lnTo>
                    <a:pt x="7" y="20"/>
                  </a:lnTo>
                  <a:lnTo>
                    <a:pt x="8" y="20"/>
                  </a:lnTo>
                  <a:lnTo>
                    <a:pt x="8" y="20"/>
                  </a:lnTo>
                  <a:lnTo>
                    <a:pt x="9" y="20"/>
                  </a:lnTo>
                  <a:lnTo>
                    <a:pt x="9" y="20"/>
                  </a:lnTo>
                  <a:lnTo>
                    <a:pt x="11" y="20"/>
                  </a:lnTo>
                  <a:lnTo>
                    <a:pt x="11" y="20"/>
                  </a:lnTo>
                  <a:lnTo>
                    <a:pt x="12" y="19"/>
                  </a:lnTo>
                  <a:lnTo>
                    <a:pt x="12" y="19"/>
                  </a:lnTo>
                  <a:lnTo>
                    <a:pt x="12" y="19"/>
                  </a:lnTo>
                  <a:lnTo>
                    <a:pt x="12" y="18"/>
                  </a:lnTo>
                  <a:lnTo>
                    <a:pt x="12" y="18"/>
                  </a:lnTo>
                  <a:lnTo>
                    <a:pt x="13" y="17"/>
                  </a:lnTo>
                  <a:lnTo>
                    <a:pt x="13" y="17"/>
                  </a:lnTo>
                  <a:lnTo>
                    <a:pt x="13" y="17"/>
                  </a:lnTo>
                  <a:lnTo>
                    <a:pt x="14" y="17"/>
                  </a:lnTo>
                  <a:lnTo>
                    <a:pt x="14" y="17"/>
                  </a:lnTo>
                  <a:lnTo>
                    <a:pt x="14" y="17"/>
                  </a:lnTo>
                  <a:lnTo>
                    <a:pt x="14" y="18"/>
                  </a:lnTo>
                  <a:lnTo>
                    <a:pt x="14" y="18"/>
                  </a:lnTo>
                  <a:lnTo>
                    <a:pt x="15" y="18"/>
                  </a:lnTo>
                  <a:lnTo>
                    <a:pt x="15" y="18"/>
                  </a:lnTo>
                  <a:lnTo>
                    <a:pt x="15" y="19"/>
                  </a:lnTo>
                  <a:lnTo>
                    <a:pt x="15" y="19"/>
                  </a:lnTo>
                  <a:lnTo>
                    <a:pt x="16" y="20"/>
                  </a:lnTo>
                  <a:lnTo>
                    <a:pt x="16" y="20"/>
                  </a:lnTo>
                  <a:lnTo>
                    <a:pt x="17" y="20"/>
                  </a:lnTo>
                  <a:lnTo>
                    <a:pt x="18" y="20"/>
                  </a:lnTo>
                  <a:lnTo>
                    <a:pt x="18" y="20"/>
                  </a:lnTo>
                  <a:lnTo>
                    <a:pt x="18" y="19"/>
                  </a:lnTo>
                  <a:lnTo>
                    <a:pt x="19" y="20"/>
                  </a:lnTo>
                  <a:lnTo>
                    <a:pt x="19" y="20"/>
                  </a:lnTo>
                  <a:lnTo>
                    <a:pt x="20" y="20"/>
                  </a:lnTo>
                  <a:lnTo>
                    <a:pt x="20" y="20"/>
                  </a:lnTo>
                  <a:lnTo>
                    <a:pt x="21" y="21"/>
                  </a:lnTo>
                  <a:lnTo>
                    <a:pt x="21" y="21"/>
                  </a:lnTo>
                  <a:lnTo>
                    <a:pt x="22" y="21"/>
                  </a:lnTo>
                  <a:lnTo>
                    <a:pt x="23" y="20"/>
                  </a:lnTo>
                  <a:lnTo>
                    <a:pt x="23" y="21"/>
                  </a:lnTo>
                  <a:lnTo>
                    <a:pt x="23" y="20"/>
                  </a:lnTo>
                  <a:lnTo>
                    <a:pt x="23" y="19"/>
                  </a:lnTo>
                  <a:lnTo>
                    <a:pt x="23" y="18"/>
                  </a:lnTo>
                  <a:lnTo>
                    <a:pt x="23" y="18"/>
                  </a:lnTo>
                  <a:lnTo>
                    <a:pt x="23" y="17"/>
                  </a:lnTo>
                  <a:lnTo>
                    <a:pt x="23" y="17"/>
                  </a:lnTo>
                  <a:lnTo>
                    <a:pt x="23" y="17"/>
                  </a:lnTo>
                  <a:lnTo>
                    <a:pt x="24" y="17"/>
                  </a:lnTo>
                  <a:lnTo>
                    <a:pt x="23" y="16"/>
                  </a:lnTo>
                  <a:lnTo>
                    <a:pt x="23" y="16"/>
                  </a:lnTo>
                  <a:lnTo>
                    <a:pt x="23" y="16"/>
                  </a:lnTo>
                  <a:lnTo>
                    <a:pt x="23" y="15"/>
                  </a:lnTo>
                  <a:lnTo>
                    <a:pt x="23" y="15"/>
                  </a:lnTo>
                  <a:lnTo>
                    <a:pt x="23" y="15"/>
                  </a:lnTo>
                  <a:lnTo>
                    <a:pt x="24" y="14"/>
                  </a:lnTo>
                  <a:lnTo>
                    <a:pt x="24" y="14"/>
                  </a:lnTo>
                  <a:lnTo>
                    <a:pt x="25" y="14"/>
                  </a:lnTo>
                  <a:lnTo>
                    <a:pt x="26" y="14"/>
                  </a:lnTo>
                  <a:lnTo>
                    <a:pt x="26" y="14"/>
                  </a:lnTo>
                  <a:lnTo>
                    <a:pt x="27" y="13"/>
                  </a:lnTo>
                  <a:lnTo>
                    <a:pt x="27" y="13"/>
                  </a:lnTo>
                  <a:lnTo>
                    <a:pt x="28" y="13"/>
                  </a:lnTo>
                  <a:lnTo>
                    <a:pt x="28" y="12"/>
                  </a:lnTo>
                  <a:lnTo>
                    <a:pt x="28" y="12"/>
                  </a:lnTo>
                  <a:lnTo>
                    <a:pt x="28" y="11"/>
                  </a:lnTo>
                  <a:lnTo>
                    <a:pt x="28" y="10"/>
                  </a:lnTo>
                  <a:lnTo>
                    <a:pt x="28" y="10"/>
                  </a:lnTo>
                  <a:lnTo>
                    <a:pt x="28" y="9"/>
                  </a:lnTo>
                  <a:lnTo>
                    <a:pt x="27" y="9"/>
                  </a:lnTo>
                  <a:lnTo>
                    <a:pt x="27" y="8"/>
                  </a:lnTo>
                  <a:lnTo>
                    <a:pt x="27" y="8"/>
                  </a:lnTo>
                  <a:lnTo>
                    <a:pt x="27" y="7"/>
                  </a:lnTo>
                  <a:lnTo>
                    <a:pt x="27" y="7"/>
                  </a:lnTo>
                  <a:lnTo>
                    <a:pt x="28" y="6"/>
                  </a:lnTo>
                  <a:lnTo>
                    <a:pt x="29" y="6"/>
                  </a:lnTo>
                  <a:lnTo>
                    <a:pt x="29" y="6"/>
                  </a:lnTo>
                  <a:lnTo>
                    <a:pt x="30" y="5"/>
                  </a:lnTo>
                  <a:lnTo>
                    <a:pt x="30" y="5"/>
                  </a:lnTo>
                  <a:lnTo>
                    <a:pt x="32" y="5"/>
                  </a:lnTo>
                  <a:lnTo>
                    <a:pt x="32" y="5"/>
                  </a:lnTo>
                  <a:lnTo>
                    <a:pt x="32" y="4"/>
                  </a:lnTo>
                  <a:lnTo>
                    <a:pt x="33" y="4"/>
                  </a:lnTo>
                  <a:lnTo>
                    <a:pt x="33" y="3"/>
                  </a:lnTo>
                  <a:lnTo>
                    <a:pt x="34" y="3"/>
                  </a:lnTo>
                  <a:lnTo>
                    <a:pt x="35" y="3"/>
                  </a:lnTo>
                  <a:lnTo>
                    <a:pt x="35" y="3"/>
                  </a:lnTo>
                  <a:lnTo>
                    <a:pt x="36" y="3"/>
                  </a:lnTo>
                  <a:lnTo>
                    <a:pt x="36" y="2"/>
                  </a:lnTo>
                  <a:lnTo>
                    <a:pt x="35" y="2"/>
                  </a:lnTo>
                  <a:lnTo>
                    <a:pt x="35" y="1"/>
                  </a:lnTo>
                  <a:lnTo>
                    <a:pt x="36" y="0"/>
                  </a:lnTo>
                  <a:lnTo>
                    <a:pt x="36" y="0"/>
                  </a:lnTo>
                  <a:lnTo>
                    <a:pt x="38" y="0"/>
                  </a:lnTo>
                  <a:lnTo>
                    <a:pt x="38" y="0"/>
                  </a:lnTo>
                  <a:lnTo>
                    <a:pt x="39" y="1"/>
                  </a:lnTo>
                  <a:lnTo>
                    <a:pt x="39" y="1"/>
                  </a:lnTo>
                  <a:lnTo>
                    <a:pt x="41" y="3"/>
                  </a:lnTo>
                  <a:lnTo>
                    <a:pt x="49" y="8"/>
                  </a:lnTo>
                  <a:lnTo>
                    <a:pt x="55" y="14"/>
                  </a:lnTo>
                  <a:lnTo>
                    <a:pt x="59" y="15"/>
                  </a:lnTo>
                  <a:lnTo>
                    <a:pt x="63" y="14"/>
                  </a:lnTo>
                  <a:lnTo>
                    <a:pt x="65" y="14"/>
                  </a:lnTo>
                  <a:lnTo>
                    <a:pt x="69" y="12"/>
                  </a:lnTo>
                  <a:lnTo>
                    <a:pt x="70" y="14"/>
                  </a:lnTo>
                  <a:lnTo>
                    <a:pt x="70" y="14"/>
                  </a:lnTo>
                  <a:lnTo>
                    <a:pt x="70" y="15"/>
                  </a:lnTo>
                  <a:lnTo>
                    <a:pt x="70" y="16"/>
                  </a:lnTo>
                  <a:lnTo>
                    <a:pt x="71" y="16"/>
                  </a:lnTo>
                  <a:lnTo>
                    <a:pt x="71" y="17"/>
                  </a:lnTo>
                  <a:lnTo>
                    <a:pt x="70" y="17"/>
                  </a:lnTo>
                  <a:lnTo>
                    <a:pt x="70" y="18"/>
                  </a:lnTo>
                  <a:lnTo>
                    <a:pt x="71" y="19"/>
                  </a:lnTo>
                  <a:lnTo>
                    <a:pt x="71" y="19"/>
                  </a:lnTo>
                  <a:lnTo>
                    <a:pt x="72" y="19"/>
                  </a:lnTo>
                  <a:lnTo>
                    <a:pt x="72" y="20"/>
                  </a:lnTo>
                  <a:lnTo>
                    <a:pt x="72" y="20"/>
                  </a:lnTo>
                  <a:lnTo>
                    <a:pt x="71" y="20"/>
                  </a:lnTo>
                  <a:lnTo>
                    <a:pt x="71" y="20"/>
                  </a:lnTo>
                  <a:lnTo>
                    <a:pt x="71" y="21"/>
                  </a:lnTo>
                  <a:lnTo>
                    <a:pt x="71" y="21"/>
                  </a:lnTo>
                  <a:lnTo>
                    <a:pt x="71" y="21"/>
                  </a:lnTo>
                  <a:lnTo>
                    <a:pt x="71" y="23"/>
                  </a:lnTo>
                  <a:lnTo>
                    <a:pt x="72" y="22"/>
                  </a:lnTo>
                  <a:lnTo>
                    <a:pt x="72" y="23"/>
                  </a:lnTo>
                  <a:lnTo>
                    <a:pt x="73" y="24"/>
                  </a:lnTo>
                  <a:lnTo>
                    <a:pt x="74" y="24"/>
                  </a:lnTo>
                  <a:lnTo>
                    <a:pt x="75" y="24"/>
                  </a:lnTo>
                  <a:lnTo>
                    <a:pt x="75" y="24"/>
                  </a:lnTo>
                  <a:lnTo>
                    <a:pt x="76" y="24"/>
                  </a:lnTo>
                  <a:lnTo>
                    <a:pt x="77" y="24"/>
                  </a:lnTo>
                  <a:lnTo>
                    <a:pt x="77" y="25"/>
                  </a:lnTo>
                  <a:lnTo>
                    <a:pt x="77" y="26"/>
                  </a:lnTo>
                  <a:lnTo>
                    <a:pt x="76" y="26"/>
                  </a:lnTo>
                  <a:lnTo>
                    <a:pt x="75" y="25"/>
                  </a:lnTo>
                  <a:lnTo>
                    <a:pt x="75" y="26"/>
                  </a:lnTo>
                  <a:lnTo>
                    <a:pt x="74" y="25"/>
                  </a:lnTo>
                  <a:lnTo>
                    <a:pt x="74" y="25"/>
                  </a:lnTo>
                  <a:lnTo>
                    <a:pt x="74" y="25"/>
                  </a:lnTo>
                  <a:lnTo>
                    <a:pt x="73" y="25"/>
                  </a:lnTo>
                  <a:lnTo>
                    <a:pt x="74" y="26"/>
                  </a:lnTo>
                  <a:lnTo>
                    <a:pt x="73" y="26"/>
                  </a:lnTo>
                  <a:lnTo>
                    <a:pt x="72" y="26"/>
                  </a:lnTo>
                  <a:lnTo>
                    <a:pt x="72" y="27"/>
                  </a:lnTo>
                  <a:lnTo>
                    <a:pt x="73" y="28"/>
                  </a:lnTo>
                  <a:lnTo>
                    <a:pt x="72" y="29"/>
                  </a:lnTo>
                  <a:lnTo>
                    <a:pt x="73" y="29"/>
                  </a:lnTo>
                  <a:lnTo>
                    <a:pt x="73" y="30"/>
                  </a:lnTo>
                  <a:lnTo>
                    <a:pt x="72" y="30"/>
                  </a:lnTo>
                  <a:lnTo>
                    <a:pt x="72" y="30"/>
                  </a:lnTo>
                  <a:lnTo>
                    <a:pt x="71" y="31"/>
                  </a:lnTo>
                  <a:lnTo>
                    <a:pt x="72" y="32"/>
                  </a:lnTo>
                  <a:lnTo>
                    <a:pt x="71" y="32"/>
                  </a:lnTo>
                  <a:lnTo>
                    <a:pt x="70" y="32"/>
                  </a:lnTo>
                  <a:lnTo>
                    <a:pt x="69" y="32"/>
                  </a:lnTo>
                  <a:lnTo>
                    <a:pt x="68" y="30"/>
                  </a:lnTo>
                  <a:lnTo>
                    <a:pt x="68" y="30"/>
                  </a:lnTo>
                  <a:lnTo>
                    <a:pt x="68" y="29"/>
                  </a:lnTo>
                  <a:lnTo>
                    <a:pt x="68" y="29"/>
                  </a:lnTo>
                  <a:lnTo>
                    <a:pt x="68" y="28"/>
                  </a:lnTo>
                  <a:lnTo>
                    <a:pt x="66" y="27"/>
                  </a:lnTo>
                  <a:lnTo>
                    <a:pt x="66" y="27"/>
                  </a:lnTo>
                  <a:lnTo>
                    <a:pt x="65" y="28"/>
                  </a:lnTo>
                  <a:lnTo>
                    <a:pt x="65" y="28"/>
                  </a:lnTo>
                  <a:lnTo>
                    <a:pt x="63" y="27"/>
                  </a:lnTo>
                  <a:lnTo>
                    <a:pt x="63" y="27"/>
                  </a:lnTo>
                  <a:lnTo>
                    <a:pt x="62" y="27"/>
                  </a:lnTo>
                  <a:lnTo>
                    <a:pt x="62" y="26"/>
                  </a:lnTo>
                  <a:lnTo>
                    <a:pt x="61" y="27"/>
                  </a:lnTo>
                  <a:lnTo>
                    <a:pt x="60" y="27"/>
                  </a:lnTo>
                  <a:lnTo>
                    <a:pt x="59" y="27"/>
                  </a:lnTo>
                  <a:lnTo>
                    <a:pt x="59" y="26"/>
                  </a:lnTo>
                  <a:lnTo>
                    <a:pt x="58" y="26"/>
                  </a:lnTo>
                  <a:lnTo>
                    <a:pt x="57" y="27"/>
                  </a:lnTo>
                  <a:lnTo>
                    <a:pt x="56" y="28"/>
                  </a:lnTo>
                  <a:lnTo>
                    <a:pt x="55" y="27"/>
                  </a:lnTo>
                  <a:lnTo>
                    <a:pt x="54" y="27"/>
                  </a:lnTo>
                  <a:lnTo>
                    <a:pt x="53" y="27"/>
                  </a:lnTo>
                  <a:lnTo>
                    <a:pt x="52" y="27"/>
                  </a:lnTo>
                  <a:lnTo>
                    <a:pt x="51" y="26"/>
                  </a:lnTo>
                  <a:lnTo>
                    <a:pt x="50" y="26"/>
                  </a:lnTo>
                  <a:lnTo>
                    <a:pt x="49" y="26"/>
                  </a:lnTo>
                  <a:lnTo>
                    <a:pt x="48" y="26"/>
                  </a:lnTo>
                  <a:lnTo>
                    <a:pt x="47" y="26"/>
                  </a:lnTo>
                  <a:lnTo>
                    <a:pt x="47" y="26"/>
                  </a:lnTo>
                  <a:lnTo>
                    <a:pt x="46" y="25"/>
                  </a:lnTo>
                  <a:lnTo>
                    <a:pt x="45" y="25"/>
                  </a:lnTo>
                  <a:lnTo>
                    <a:pt x="44" y="24"/>
                  </a:lnTo>
                  <a:lnTo>
                    <a:pt x="44" y="24"/>
                  </a:lnTo>
                  <a:lnTo>
                    <a:pt x="43" y="25"/>
                  </a:lnTo>
                  <a:lnTo>
                    <a:pt x="42" y="25"/>
                  </a:lnTo>
                  <a:lnTo>
                    <a:pt x="41" y="25"/>
                  </a:lnTo>
                  <a:lnTo>
                    <a:pt x="40" y="25"/>
                  </a:lnTo>
                  <a:lnTo>
                    <a:pt x="39" y="25"/>
                  </a:lnTo>
                  <a:lnTo>
                    <a:pt x="38" y="26"/>
                  </a:lnTo>
                  <a:lnTo>
                    <a:pt x="37" y="27"/>
                  </a:lnTo>
                  <a:lnTo>
                    <a:pt x="36" y="29"/>
                  </a:lnTo>
                  <a:lnTo>
                    <a:pt x="35" y="29"/>
                  </a:lnTo>
                  <a:lnTo>
                    <a:pt x="34" y="27"/>
                  </a:lnTo>
                  <a:lnTo>
                    <a:pt x="33" y="26"/>
                  </a:lnTo>
                  <a:lnTo>
                    <a:pt x="32" y="25"/>
                  </a:lnTo>
                  <a:lnTo>
                    <a:pt x="30" y="25"/>
                  </a:lnTo>
                  <a:lnTo>
                    <a:pt x="30" y="25"/>
                  </a:lnTo>
                  <a:lnTo>
                    <a:pt x="29" y="26"/>
                  </a:lnTo>
                  <a:lnTo>
                    <a:pt x="29" y="28"/>
                  </a:lnTo>
                  <a:lnTo>
                    <a:pt x="29" y="29"/>
                  </a:lnTo>
                  <a:lnTo>
                    <a:pt x="29" y="30"/>
                  </a:lnTo>
                  <a:lnTo>
                    <a:pt x="29" y="32"/>
                  </a:lnTo>
                  <a:lnTo>
                    <a:pt x="29" y="32"/>
                  </a:lnTo>
                  <a:lnTo>
                    <a:pt x="29" y="33"/>
                  </a:lnTo>
                  <a:lnTo>
                    <a:pt x="30" y="33"/>
                  </a:lnTo>
                  <a:lnTo>
                    <a:pt x="30" y="34"/>
                  </a:lnTo>
                  <a:lnTo>
                    <a:pt x="31" y="34"/>
                  </a:lnTo>
                  <a:lnTo>
                    <a:pt x="31" y="35"/>
                  </a:lnTo>
                  <a:lnTo>
                    <a:pt x="32" y="36"/>
                  </a:lnTo>
                  <a:lnTo>
                    <a:pt x="33" y="38"/>
                  </a:lnTo>
                  <a:lnTo>
                    <a:pt x="34" y="39"/>
                  </a:lnTo>
                  <a:lnTo>
                    <a:pt x="34" y="40"/>
                  </a:lnTo>
                  <a:lnTo>
                    <a:pt x="35" y="41"/>
                  </a:lnTo>
                  <a:lnTo>
                    <a:pt x="35" y="42"/>
                  </a:lnTo>
                  <a:lnTo>
                    <a:pt x="34" y="42"/>
                  </a:lnTo>
                  <a:lnTo>
                    <a:pt x="35" y="44"/>
                  </a:lnTo>
                  <a:lnTo>
                    <a:pt x="35" y="44"/>
                  </a:lnTo>
                  <a:lnTo>
                    <a:pt x="36" y="44"/>
                  </a:lnTo>
                  <a:lnTo>
                    <a:pt x="36" y="45"/>
                  </a:lnTo>
                  <a:lnTo>
                    <a:pt x="37" y="46"/>
                  </a:lnTo>
                  <a:lnTo>
                    <a:pt x="38" y="47"/>
                  </a:lnTo>
                  <a:lnTo>
                    <a:pt x="39" y="47"/>
                  </a:lnTo>
                  <a:lnTo>
                    <a:pt x="41" y="50"/>
                  </a:lnTo>
                  <a:lnTo>
                    <a:pt x="41" y="51"/>
                  </a:lnTo>
                  <a:lnTo>
                    <a:pt x="42" y="51"/>
                  </a:lnTo>
                  <a:lnTo>
                    <a:pt x="43" y="52"/>
                  </a:lnTo>
                  <a:lnTo>
                    <a:pt x="45" y="55"/>
                  </a:lnTo>
                  <a:lnTo>
                    <a:pt x="47" y="56"/>
                  </a:lnTo>
                  <a:lnTo>
                    <a:pt x="48" y="57"/>
                  </a:lnTo>
                  <a:lnTo>
                    <a:pt x="48" y="57"/>
                  </a:lnTo>
                  <a:lnTo>
                    <a:pt x="48" y="58"/>
                  </a:lnTo>
                  <a:lnTo>
                    <a:pt x="49" y="60"/>
                  </a:lnTo>
                  <a:lnTo>
                    <a:pt x="50" y="61"/>
                  </a:lnTo>
                  <a:lnTo>
                    <a:pt x="51" y="62"/>
                  </a:lnTo>
                  <a:lnTo>
                    <a:pt x="52" y="63"/>
                  </a:lnTo>
                  <a:lnTo>
                    <a:pt x="53" y="64"/>
                  </a:lnTo>
                  <a:lnTo>
                    <a:pt x="54" y="66"/>
                  </a:lnTo>
                  <a:lnTo>
                    <a:pt x="52" y="66"/>
                  </a:lnTo>
                  <a:close/>
                  <a:moveTo>
                    <a:pt x="53" y="68"/>
                  </a:moveTo>
                  <a:lnTo>
                    <a:pt x="54" y="66"/>
                  </a:lnTo>
                  <a:lnTo>
                    <a:pt x="55" y="67"/>
                  </a:lnTo>
                  <a:lnTo>
                    <a:pt x="56" y="67"/>
                  </a:lnTo>
                  <a:lnTo>
                    <a:pt x="56" y="68"/>
                  </a:lnTo>
                  <a:lnTo>
                    <a:pt x="56" y="68"/>
                  </a:lnTo>
                  <a:lnTo>
                    <a:pt x="57" y="69"/>
                  </a:lnTo>
                  <a:lnTo>
                    <a:pt x="58" y="69"/>
                  </a:lnTo>
                  <a:lnTo>
                    <a:pt x="60" y="70"/>
                  </a:lnTo>
                  <a:lnTo>
                    <a:pt x="61" y="72"/>
                  </a:lnTo>
                  <a:lnTo>
                    <a:pt x="62" y="72"/>
                  </a:lnTo>
                  <a:lnTo>
                    <a:pt x="62" y="72"/>
                  </a:lnTo>
                  <a:lnTo>
                    <a:pt x="63" y="72"/>
                  </a:lnTo>
                  <a:lnTo>
                    <a:pt x="64" y="72"/>
                  </a:lnTo>
                  <a:lnTo>
                    <a:pt x="64" y="73"/>
                  </a:lnTo>
                  <a:lnTo>
                    <a:pt x="64" y="73"/>
                  </a:lnTo>
                  <a:lnTo>
                    <a:pt x="64" y="74"/>
                  </a:lnTo>
                  <a:lnTo>
                    <a:pt x="64" y="74"/>
                  </a:lnTo>
                  <a:lnTo>
                    <a:pt x="65" y="75"/>
                  </a:lnTo>
                  <a:lnTo>
                    <a:pt x="65" y="76"/>
                  </a:lnTo>
                  <a:lnTo>
                    <a:pt x="65" y="77"/>
                  </a:lnTo>
                  <a:lnTo>
                    <a:pt x="61" y="74"/>
                  </a:lnTo>
                  <a:lnTo>
                    <a:pt x="58" y="71"/>
                  </a:lnTo>
                  <a:lnTo>
                    <a:pt x="53" y="6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4" name="Freeform 66">
              <a:extLst>
                <a:ext uri="{FF2B5EF4-FFF2-40B4-BE49-F238E27FC236}">
                  <a16:creationId xmlns:a16="http://schemas.microsoft.com/office/drawing/2014/main" id="{4E75BD8F-5F22-63B3-60AA-38231E84B81A}"/>
                </a:ext>
              </a:extLst>
            </p:cNvPr>
            <p:cNvSpPr>
              <a:spLocks noEditPoints="1"/>
            </p:cNvSpPr>
            <p:nvPr/>
          </p:nvSpPr>
          <p:spPr bwMode="auto">
            <a:xfrm>
              <a:off x="3750846" y="5130800"/>
              <a:ext cx="809625" cy="855663"/>
            </a:xfrm>
            <a:custGeom>
              <a:avLst/>
              <a:gdLst/>
              <a:ahLst/>
              <a:cxnLst>
                <a:cxn ang="0">
                  <a:pos x="253" y="389"/>
                </a:cxn>
                <a:cxn ang="0">
                  <a:pos x="225" y="367"/>
                </a:cxn>
                <a:cxn ang="0">
                  <a:pos x="208" y="339"/>
                </a:cxn>
                <a:cxn ang="0">
                  <a:pos x="210" y="300"/>
                </a:cxn>
                <a:cxn ang="0">
                  <a:pos x="182" y="284"/>
                </a:cxn>
                <a:cxn ang="0">
                  <a:pos x="171" y="248"/>
                </a:cxn>
                <a:cxn ang="0">
                  <a:pos x="143" y="236"/>
                </a:cxn>
                <a:cxn ang="0">
                  <a:pos x="112" y="213"/>
                </a:cxn>
                <a:cxn ang="0">
                  <a:pos x="84" y="207"/>
                </a:cxn>
                <a:cxn ang="0">
                  <a:pos x="50" y="213"/>
                </a:cxn>
                <a:cxn ang="0">
                  <a:pos x="34" y="199"/>
                </a:cxn>
                <a:cxn ang="0">
                  <a:pos x="12" y="186"/>
                </a:cxn>
                <a:cxn ang="0">
                  <a:pos x="9" y="147"/>
                </a:cxn>
                <a:cxn ang="0">
                  <a:pos x="42" y="124"/>
                </a:cxn>
                <a:cxn ang="0">
                  <a:pos x="60" y="85"/>
                </a:cxn>
                <a:cxn ang="0">
                  <a:pos x="52" y="61"/>
                </a:cxn>
                <a:cxn ang="0">
                  <a:pos x="54" y="54"/>
                </a:cxn>
                <a:cxn ang="0">
                  <a:pos x="89" y="42"/>
                </a:cxn>
                <a:cxn ang="0">
                  <a:pos x="109" y="55"/>
                </a:cxn>
                <a:cxn ang="0">
                  <a:pos x="130" y="44"/>
                </a:cxn>
                <a:cxn ang="0">
                  <a:pos x="129" y="32"/>
                </a:cxn>
                <a:cxn ang="0">
                  <a:pos x="139" y="17"/>
                </a:cxn>
                <a:cxn ang="0">
                  <a:pos x="171" y="7"/>
                </a:cxn>
                <a:cxn ang="0">
                  <a:pos x="181" y="9"/>
                </a:cxn>
                <a:cxn ang="0">
                  <a:pos x="186" y="39"/>
                </a:cxn>
                <a:cxn ang="0">
                  <a:pos x="214" y="45"/>
                </a:cxn>
                <a:cxn ang="0">
                  <a:pos x="239" y="37"/>
                </a:cxn>
                <a:cxn ang="0">
                  <a:pos x="272" y="40"/>
                </a:cxn>
                <a:cxn ang="0">
                  <a:pos x="295" y="12"/>
                </a:cxn>
                <a:cxn ang="0">
                  <a:pos x="314" y="47"/>
                </a:cxn>
                <a:cxn ang="0">
                  <a:pos x="293" y="73"/>
                </a:cxn>
                <a:cxn ang="0">
                  <a:pos x="302" y="87"/>
                </a:cxn>
                <a:cxn ang="0">
                  <a:pos x="323" y="95"/>
                </a:cxn>
                <a:cxn ang="0">
                  <a:pos x="348" y="77"/>
                </a:cxn>
                <a:cxn ang="0">
                  <a:pos x="375" y="91"/>
                </a:cxn>
                <a:cxn ang="0">
                  <a:pos x="382" y="107"/>
                </a:cxn>
                <a:cxn ang="0">
                  <a:pos x="413" y="105"/>
                </a:cxn>
                <a:cxn ang="0">
                  <a:pos x="451" y="110"/>
                </a:cxn>
                <a:cxn ang="0">
                  <a:pos x="494" y="135"/>
                </a:cxn>
                <a:cxn ang="0">
                  <a:pos x="509" y="176"/>
                </a:cxn>
                <a:cxn ang="0">
                  <a:pos x="477" y="216"/>
                </a:cxn>
                <a:cxn ang="0">
                  <a:pos x="459" y="234"/>
                </a:cxn>
                <a:cxn ang="0">
                  <a:pos x="454" y="303"/>
                </a:cxn>
                <a:cxn ang="0">
                  <a:pos x="441" y="334"/>
                </a:cxn>
                <a:cxn ang="0">
                  <a:pos x="417" y="373"/>
                </a:cxn>
                <a:cxn ang="0">
                  <a:pos x="384" y="377"/>
                </a:cxn>
                <a:cxn ang="0">
                  <a:pos x="351" y="397"/>
                </a:cxn>
                <a:cxn ang="0">
                  <a:pos x="331" y="414"/>
                </a:cxn>
                <a:cxn ang="0">
                  <a:pos x="331" y="446"/>
                </a:cxn>
                <a:cxn ang="0">
                  <a:pos x="306" y="490"/>
                </a:cxn>
                <a:cxn ang="0">
                  <a:pos x="302" y="485"/>
                </a:cxn>
                <a:cxn ang="0">
                  <a:pos x="285" y="506"/>
                </a:cxn>
                <a:cxn ang="0">
                  <a:pos x="270" y="524"/>
                </a:cxn>
                <a:cxn ang="0">
                  <a:pos x="246" y="500"/>
                </a:cxn>
                <a:cxn ang="0">
                  <a:pos x="224" y="483"/>
                </a:cxn>
                <a:cxn ang="0">
                  <a:pos x="251" y="444"/>
                </a:cxn>
                <a:cxn ang="0">
                  <a:pos x="309" y="90"/>
                </a:cxn>
                <a:cxn ang="0">
                  <a:pos x="310" y="70"/>
                </a:cxn>
                <a:cxn ang="0">
                  <a:pos x="330" y="81"/>
                </a:cxn>
              </a:cxnLst>
              <a:rect l="0" t="0" r="r" b="b"/>
              <a:pathLst>
                <a:path w="510" h="539">
                  <a:moveTo>
                    <a:pt x="253" y="416"/>
                  </a:moveTo>
                  <a:lnTo>
                    <a:pt x="252" y="413"/>
                  </a:lnTo>
                  <a:lnTo>
                    <a:pt x="252" y="408"/>
                  </a:lnTo>
                  <a:lnTo>
                    <a:pt x="254" y="403"/>
                  </a:lnTo>
                  <a:lnTo>
                    <a:pt x="255" y="398"/>
                  </a:lnTo>
                  <a:lnTo>
                    <a:pt x="257" y="393"/>
                  </a:lnTo>
                  <a:lnTo>
                    <a:pt x="257" y="392"/>
                  </a:lnTo>
                  <a:lnTo>
                    <a:pt x="254" y="390"/>
                  </a:lnTo>
                  <a:lnTo>
                    <a:pt x="253" y="389"/>
                  </a:lnTo>
                  <a:lnTo>
                    <a:pt x="245" y="392"/>
                  </a:lnTo>
                  <a:lnTo>
                    <a:pt x="244" y="391"/>
                  </a:lnTo>
                  <a:lnTo>
                    <a:pt x="243" y="388"/>
                  </a:lnTo>
                  <a:lnTo>
                    <a:pt x="240" y="372"/>
                  </a:lnTo>
                  <a:lnTo>
                    <a:pt x="239" y="369"/>
                  </a:lnTo>
                  <a:lnTo>
                    <a:pt x="234" y="366"/>
                  </a:lnTo>
                  <a:lnTo>
                    <a:pt x="230" y="365"/>
                  </a:lnTo>
                  <a:lnTo>
                    <a:pt x="229" y="365"/>
                  </a:lnTo>
                  <a:lnTo>
                    <a:pt x="225" y="367"/>
                  </a:lnTo>
                  <a:lnTo>
                    <a:pt x="223" y="367"/>
                  </a:lnTo>
                  <a:lnTo>
                    <a:pt x="218" y="366"/>
                  </a:lnTo>
                  <a:lnTo>
                    <a:pt x="213" y="365"/>
                  </a:lnTo>
                  <a:lnTo>
                    <a:pt x="210" y="365"/>
                  </a:lnTo>
                  <a:lnTo>
                    <a:pt x="210" y="360"/>
                  </a:lnTo>
                  <a:lnTo>
                    <a:pt x="211" y="356"/>
                  </a:lnTo>
                  <a:lnTo>
                    <a:pt x="212" y="350"/>
                  </a:lnTo>
                  <a:lnTo>
                    <a:pt x="211" y="344"/>
                  </a:lnTo>
                  <a:lnTo>
                    <a:pt x="208" y="339"/>
                  </a:lnTo>
                  <a:lnTo>
                    <a:pt x="208" y="335"/>
                  </a:lnTo>
                  <a:lnTo>
                    <a:pt x="206" y="332"/>
                  </a:lnTo>
                  <a:lnTo>
                    <a:pt x="209" y="328"/>
                  </a:lnTo>
                  <a:lnTo>
                    <a:pt x="211" y="323"/>
                  </a:lnTo>
                  <a:lnTo>
                    <a:pt x="212" y="318"/>
                  </a:lnTo>
                  <a:lnTo>
                    <a:pt x="213" y="311"/>
                  </a:lnTo>
                  <a:lnTo>
                    <a:pt x="213" y="308"/>
                  </a:lnTo>
                  <a:lnTo>
                    <a:pt x="212" y="303"/>
                  </a:lnTo>
                  <a:lnTo>
                    <a:pt x="210" y="300"/>
                  </a:lnTo>
                  <a:lnTo>
                    <a:pt x="205" y="297"/>
                  </a:lnTo>
                  <a:lnTo>
                    <a:pt x="203" y="295"/>
                  </a:lnTo>
                  <a:lnTo>
                    <a:pt x="202" y="291"/>
                  </a:lnTo>
                  <a:lnTo>
                    <a:pt x="204" y="286"/>
                  </a:lnTo>
                  <a:lnTo>
                    <a:pt x="204" y="285"/>
                  </a:lnTo>
                  <a:lnTo>
                    <a:pt x="200" y="284"/>
                  </a:lnTo>
                  <a:lnTo>
                    <a:pt x="190" y="284"/>
                  </a:lnTo>
                  <a:lnTo>
                    <a:pt x="187" y="284"/>
                  </a:lnTo>
                  <a:lnTo>
                    <a:pt x="182" y="284"/>
                  </a:lnTo>
                  <a:lnTo>
                    <a:pt x="180" y="283"/>
                  </a:lnTo>
                  <a:lnTo>
                    <a:pt x="179" y="278"/>
                  </a:lnTo>
                  <a:lnTo>
                    <a:pt x="178" y="265"/>
                  </a:lnTo>
                  <a:lnTo>
                    <a:pt x="178" y="261"/>
                  </a:lnTo>
                  <a:lnTo>
                    <a:pt x="177" y="255"/>
                  </a:lnTo>
                  <a:lnTo>
                    <a:pt x="177" y="251"/>
                  </a:lnTo>
                  <a:lnTo>
                    <a:pt x="177" y="250"/>
                  </a:lnTo>
                  <a:lnTo>
                    <a:pt x="174" y="249"/>
                  </a:lnTo>
                  <a:lnTo>
                    <a:pt x="171" y="248"/>
                  </a:lnTo>
                  <a:lnTo>
                    <a:pt x="167" y="247"/>
                  </a:lnTo>
                  <a:lnTo>
                    <a:pt x="161" y="248"/>
                  </a:lnTo>
                  <a:lnTo>
                    <a:pt x="159" y="247"/>
                  </a:lnTo>
                  <a:lnTo>
                    <a:pt x="157" y="245"/>
                  </a:lnTo>
                  <a:lnTo>
                    <a:pt x="155" y="240"/>
                  </a:lnTo>
                  <a:lnTo>
                    <a:pt x="154" y="240"/>
                  </a:lnTo>
                  <a:lnTo>
                    <a:pt x="149" y="240"/>
                  </a:lnTo>
                  <a:lnTo>
                    <a:pt x="147" y="239"/>
                  </a:lnTo>
                  <a:lnTo>
                    <a:pt x="143" y="236"/>
                  </a:lnTo>
                  <a:lnTo>
                    <a:pt x="139" y="234"/>
                  </a:lnTo>
                  <a:lnTo>
                    <a:pt x="135" y="233"/>
                  </a:lnTo>
                  <a:lnTo>
                    <a:pt x="133" y="233"/>
                  </a:lnTo>
                  <a:lnTo>
                    <a:pt x="128" y="233"/>
                  </a:lnTo>
                  <a:lnTo>
                    <a:pt x="126" y="232"/>
                  </a:lnTo>
                  <a:lnTo>
                    <a:pt x="120" y="226"/>
                  </a:lnTo>
                  <a:lnTo>
                    <a:pt x="115" y="221"/>
                  </a:lnTo>
                  <a:lnTo>
                    <a:pt x="113" y="217"/>
                  </a:lnTo>
                  <a:lnTo>
                    <a:pt x="112" y="213"/>
                  </a:lnTo>
                  <a:lnTo>
                    <a:pt x="112" y="209"/>
                  </a:lnTo>
                  <a:lnTo>
                    <a:pt x="112" y="205"/>
                  </a:lnTo>
                  <a:lnTo>
                    <a:pt x="113" y="201"/>
                  </a:lnTo>
                  <a:lnTo>
                    <a:pt x="113" y="197"/>
                  </a:lnTo>
                  <a:lnTo>
                    <a:pt x="105" y="197"/>
                  </a:lnTo>
                  <a:lnTo>
                    <a:pt x="99" y="197"/>
                  </a:lnTo>
                  <a:lnTo>
                    <a:pt x="97" y="198"/>
                  </a:lnTo>
                  <a:lnTo>
                    <a:pt x="92" y="201"/>
                  </a:lnTo>
                  <a:lnTo>
                    <a:pt x="84" y="207"/>
                  </a:lnTo>
                  <a:lnTo>
                    <a:pt x="81" y="209"/>
                  </a:lnTo>
                  <a:lnTo>
                    <a:pt x="78" y="209"/>
                  </a:lnTo>
                  <a:lnTo>
                    <a:pt x="76" y="209"/>
                  </a:lnTo>
                  <a:lnTo>
                    <a:pt x="71" y="213"/>
                  </a:lnTo>
                  <a:lnTo>
                    <a:pt x="69" y="214"/>
                  </a:lnTo>
                  <a:lnTo>
                    <a:pt x="62" y="212"/>
                  </a:lnTo>
                  <a:lnTo>
                    <a:pt x="57" y="211"/>
                  </a:lnTo>
                  <a:lnTo>
                    <a:pt x="54" y="211"/>
                  </a:lnTo>
                  <a:lnTo>
                    <a:pt x="50" y="213"/>
                  </a:lnTo>
                  <a:lnTo>
                    <a:pt x="47" y="213"/>
                  </a:lnTo>
                  <a:lnTo>
                    <a:pt x="46" y="213"/>
                  </a:lnTo>
                  <a:lnTo>
                    <a:pt x="44" y="211"/>
                  </a:lnTo>
                  <a:lnTo>
                    <a:pt x="43" y="209"/>
                  </a:lnTo>
                  <a:lnTo>
                    <a:pt x="44" y="202"/>
                  </a:lnTo>
                  <a:lnTo>
                    <a:pt x="44" y="193"/>
                  </a:lnTo>
                  <a:lnTo>
                    <a:pt x="42" y="193"/>
                  </a:lnTo>
                  <a:lnTo>
                    <a:pt x="38" y="196"/>
                  </a:lnTo>
                  <a:lnTo>
                    <a:pt x="34" y="199"/>
                  </a:lnTo>
                  <a:lnTo>
                    <a:pt x="23" y="199"/>
                  </a:lnTo>
                  <a:lnTo>
                    <a:pt x="23" y="195"/>
                  </a:lnTo>
                  <a:lnTo>
                    <a:pt x="21" y="193"/>
                  </a:lnTo>
                  <a:lnTo>
                    <a:pt x="19" y="192"/>
                  </a:lnTo>
                  <a:lnTo>
                    <a:pt x="17" y="192"/>
                  </a:lnTo>
                  <a:lnTo>
                    <a:pt x="11" y="191"/>
                  </a:lnTo>
                  <a:lnTo>
                    <a:pt x="12" y="189"/>
                  </a:lnTo>
                  <a:lnTo>
                    <a:pt x="13" y="186"/>
                  </a:lnTo>
                  <a:lnTo>
                    <a:pt x="12" y="186"/>
                  </a:lnTo>
                  <a:lnTo>
                    <a:pt x="5" y="173"/>
                  </a:lnTo>
                  <a:lnTo>
                    <a:pt x="1" y="167"/>
                  </a:lnTo>
                  <a:lnTo>
                    <a:pt x="0" y="164"/>
                  </a:lnTo>
                  <a:lnTo>
                    <a:pt x="2" y="160"/>
                  </a:lnTo>
                  <a:lnTo>
                    <a:pt x="4" y="158"/>
                  </a:lnTo>
                  <a:lnTo>
                    <a:pt x="8" y="156"/>
                  </a:lnTo>
                  <a:lnTo>
                    <a:pt x="11" y="153"/>
                  </a:lnTo>
                  <a:lnTo>
                    <a:pt x="11" y="152"/>
                  </a:lnTo>
                  <a:lnTo>
                    <a:pt x="9" y="147"/>
                  </a:lnTo>
                  <a:lnTo>
                    <a:pt x="9" y="146"/>
                  </a:lnTo>
                  <a:lnTo>
                    <a:pt x="11" y="143"/>
                  </a:lnTo>
                  <a:lnTo>
                    <a:pt x="15" y="135"/>
                  </a:lnTo>
                  <a:lnTo>
                    <a:pt x="17" y="134"/>
                  </a:lnTo>
                  <a:lnTo>
                    <a:pt x="21" y="131"/>
                  </a:lnTo>
                  <a:lnTo>
                    <a:pt x="32" y="127"/>
                  </a:lnTo>
                  <a:lnTo>
                    <a:pt x="36" y="127"/>
                  </a:lnTo>
                  <a:lnTo>
                    <a:pt x="39" y="126"/>
                  </a:lnTo>
                  <a:lnTo>
                    <a:pt x="42" y="124"/>
                  </a:lnTo>
                  <a:lnTo>
                    <a:pt x="44" y="123"/>
                  </a:lnTo>
                  <a:lnTo>
                    <a:pt x="47" y="124"/>
                  </a:lnTo>
                  <a:lnTo>
                    <a:pt x="51" y="125"/>
                  </a:lnTo>
                  <a:lnTo>
                    <a:pt x="54" y="124"/>
                  </a:lnTo>
                  <a:lnTo>
                    <a:pt x="53" y="122"/>
                  </a:lnTo>
                  <a:lnTo>
                    <a:pt x="54" y="121"/>
                  </a:lnTo>
                  <a:lnTo>
                    <a:pt x="54" y="119"/>
                  </a:lnTo>
                  <a:lnTo>
                    <a:pt x="58" y="93"/>
                  </a:lnTo>
                  <a:lnTo>
                    <a:pt x="60" y="85"/>
                  </a:lnTo>
                  <a:lnTo>
                    <a:pt x="60" y="83"/>
                  </a:lnTo>
                  <a:lnTo>
                    <a:pt x="57" y="80"/>
                  </a:lnTo>
                  <a:lnTo>
                    <a:pt x="58" y="75"/>
                  </a:lnTo>
                  <a:lnTo>
                    <a:pt x="57" y="74"/>
                  </a:lnTo>
                  <a:lnTo>
                    <a:pt x="53" y="72"/>
                  </a:lnTo>
                  <a:lnTo>
                    <a:pt x="51" y="71"/>
                  </a:lnTo>
                  <a:lnTo>
                    <a:pt x="51" y="68"/>
                  </a:lnTo>
                  <a:lnTo>
                    <a:pt x="51" y="62"/>
                  </a:lnTo>
                  <a:lnTo>
                    <a:pt x="52" y="61"/>
                  </a:lnTo>
                  <a:lnTo>
                    <a:pt x="55" y="60"/>
                  </a:lnTo>
                  <a:lnTo>
                    <a:pt x="59" y="60"/>
                  </a:lnTo>
                  <a:lnTo>
                    <a:pt x="62" y="60"/>
                  </a:lnTo>
                  <a:lnTo>
                    <a:pt x="64" y="61"/>
                  </a:lnTo>
                  <a:lnTo>
                    <a:pt x="63" y="59"/>
                  </a:lnTo>
                  <a:lnTo>
                    <a:pt x="62" y="56"/>
                  </a:lnTo>
                  <a:lnTo>
                    <a:pt x="61" y="56"/>
                  </a:lnTo>
                  <a:lnTo>
                    <a:pt x="55" y="55"/>
                  </a:lnTo>
                  <a:lnTo>
                    <a:pt x="54" y="54"/>
                  </a:lnTo>
                  <a:lnTo>
                    <a:pt x="54" y="48"/>
                  </a:lnTo>
                  <a:lnTo>
                    <a:pt x="55" y="46"/>
                  </a:lnTo>
                  <a:lnTo>
                    <a:pt x="59" y="46"/>
                  </a:lnTo>
                  <a:lnTo>
                    <a:pt x="75" y="47"/>
                  </a:lnTo>
                  <a:lnTo>
                    <a:pt x="78" y="47"/>
                  </a:lnTo>
                  <a:lnTo>
                    <a:pt x="80" y="46"/>
                  </a:lnTo>
                  <a:lnTo>
                    <a:pt x="85" y="42"/>
                  </a:lnTo>
                  <a:lnTo>
                    <a:pt x="88" y="41"/>
                  </a:lnTo>
                  <a:lnTo>
                    <a:pt x="89" y="42"/>
                  </a:lnTo>
                  <a:lnTo>
                    <a:pt x="90" y="44"/>
                  </a:lnTo>
                  <a:lnTo>
                    <a:pt x="91" y="49"/>
                  </a:lnTo>
                  <a:lnTo>
                    <a:pt x="91" y="52"/>
                  </a:lnTo>
                  <a:lnTo>
                    <a:pt x="92" y="54"/>
                  </a:lnTo>
                  <a:lnTo>
                    <a:pt x="95" y="55"/>
                  </a:lnTo>
                  <a:lnTo>
                    <a:pt x="99" y="58"/>
                  </a:lnTo>
                  <a:lnTo>
                    <a:pt x="102" y="59"/>
                  </a:lnTo>
                  <a:lnTo>
                    <a:pt x="104" y="59"/>
                  </a:lnTo>
                  <a:lnTo>
                    <a:pt x="109" y="55"/>
                  </a:lnTo>
                  <a:lnTo>
                    <a:pt x="109" y="56"/>
                  </a:lnTo>
                  <a:lnTo>
                    <a:pt x="110" y="60"/>
                  </a:lnTo>
                  <a:lnTo>
                    <a:pt x="112" y="60"/>
                  </a:lnTo>
                  <a:lnTo>
                    <a:pt x="116" y="56"/>
                  </a:lnTo>
                  <a:lnTo>
                    <a:pt x="120" y="52"/>
                  </a:lnTo>
                  <a:lnTo>
                    <a:pt x="123" y="50"/>
                  </a:lnTo>
                  <a:lnTo>
                    <a:pt x="127" y="50"/>
                  </a:lnTo>
                  <a:lnTo>
                    <a:pt x="129" y="48"/>
                  </a:lnTo>
                  <a:lnTo>
                    <a:pt x="130" y="44"/>
                  </a:lnTo>
                  <a:lnTo>
                    <a:pt x="131" y="43"/>
                  </a:lnTo>
                  <a:lnTo>
                    <a:pt x="135" y="42"/>
                  </a:lnTo>
                  <a:lnTo>
                    <a:pt x="138" y="41"/>
                  </a:lnTo>
                  <a:lnTo>
                    <a:pt x="140" y="39"/>
                  </a:lnTo>
                  <a:lnTo>
                    <a:pt x="139" y="38"/>
                  </a:lnTo>
                  <a:lnTo>
                    <a:pt x="137" y="37"/>
                  </a:lnTo>
                  <a:lnTo>
                    <a:pt x="131" y="37"/>
                  </a:lnTo>
                  <a:lnTo>
                    <a:pt x="130" y="35"/>
                  </a:lnTo>
                  <a:lnTo>
                    <a:pt x="129" y="32"/>
                  </a:lnTo>
                  <a:lnTo>
                    <a:pt x="128" y="23"/>
                  </a:lnTo>
                  <a:lnTo>
                    <a:pt x="125" y="19"/>
                  </a:lnTo>
                  <a:lnTo>
                    <a:pt x="122" y="15"/>
                  </a:lnTo>
                  <a:lnTo>
                    <a:pt x="122" y="14"/>
                  </a:lnTo>
                  <a:lnTo>
                    <a:pt x="123" y="14"/>
                  </a:lnTo>
                  <a:lnTo>
                    <a:pt x="125" y="14"/>
                  </a:lnTo>
                  <a:lnTo>
                    <a:pt x="130" y="17"/>
                  </a:lnTo>
                  <a:lnTo>
                    <a:pt x="132" y="17"/>
                  </a:lnTo>
                  <a:lnTo>
                    <a:pt x="139" y="17"/>
                  </a:lnTo>
                  <a:lnTo>
                    <a:pt x="141" y="18"/>
                  </a:lnTo>
                  <a:lnTo>
                    <a:pt x="145" y="22"/>
                  </a:lnTo>
                  <a:lnTo>
                    <a:pt x="147" y="21"/>
                  </a:lnTo>
                  <a:lnTo>
                    <a:pt x="148" y="15"/>
                  </a:lnTo>
                  <a:lnTo>
                    <a:pt x="150" y="14"/>
                  </a:lnTo>
                  <a:lnTo>
                    <a:pt x="153" y="14"/>
                  </a:lnTo>
                  <a:lnTo>
                    <a:pt x="156" y="14"/>
                  </a:lnTo>
                  <a:lnTo>
                    <a:pt x="161" y="13"/>
                  </a:lnTo>
                  <a:lnTo>
                    <a:pt x="171" y="7"/>
                  </a:lnTo>
                  <a:lnTo>
                    <a:pt x="174" y="5"/>
                  </a:lnTo>
                  <a:lnTo>
                    <a:pt x="175" y="3"/>
                  </a:lnTo>
                  <a:lnTo>
                    <a:pt x="175" y="2"/>
                  </a:lnTo>
                  <a:lnTo>
                    <a:pt x="177" y="1"/>
                  </a:lnTo>
                  <a:lnTo>
                    <a:pt x="179" y="0"/>
                  </a:lnTo>
                  <a:lnTo>
                    <a:pt x="182" y="1"/>
                  </a:lnTo>
                  <a:lnTo>
                    <a:pt x="183" y="2"/>
                  </a:lnTo>
                  <a:lnTo>
                    <a:pt x="183" y="3"/>
                  </a:lnTo>
                  <a:lnTo>
                    <a:pt x="181" y="9"/>
                  </a:lnTo>
                  <a:lnTo>
                    <a:pt x="183" y="9"/>
                  </a:lnTo>
                  <a:lnTo>
                    <a:pt x="186" y="10"/>
                  </a:lnTo>
                  <a:lnTo>
                    <a:pt x="188" y="16"/>
                  </a:lnTo>
                  <a:lnTo>
                    <a:pt x="187" y="18"/>
                  </a:lnTo>
                  <a:lnTo>
                    <a:pt x="184" y="26"/>
                  </a:lnTo>
                  <a:lnTo>
                    <a:pt x="183" y="32"/>
                  </a:lnTo>
                  <a:lnTo>
                    <a:pt x="183" y="35"/>
                  </a:lnTo>
                  <a:lnTo>
                    <a:pt x="185" y="37"/>
                  </a:lnTo>
                  <a:lnTo>
                    <a:pt x="186" y="39"/>
                  </a:lnTo>
                  <a:lnTo>
                    <a:pt x="186" y="41"/>
                  </a:lnTo>
                  <a:lnTo>
                    <a:pt x="186" y="43"/>
                  </a:lnTo>
                  <a:lnTo>
                    <a:pt x="187" y="45"/>
                  </a:lnTo>
                  <a:lnTo>
                    <a:pt x="193" y="50"/>
                  </a:lnTo>
                  <a:lnTo>
                    <a:pt x="197" y="53"/>
                  </a:lnTo>
                  <a:lnTo>
                    <a:pt x="201" y="52"/>
                  </a:lnTo>
                  <a:lnTo>
                    <a:pt x="205" y="49"/>
                  </a:lnTo>
                  <a:lnTo>
                    <a:pt x="208" y="47"/>
                  </a:lnTo>
                  <a:lnTo>
                    <a:pt x="214" y="45"/>
                  </a:lnTo>
                  <a:lnTo>
                    <a:pt x="219" y="43"/>
                  </a:lnTo>
                  <a:lnTo>
                    <a:pt x="225" y="43"/>
                  </a:lnTo>
                  <a:lnTo>
                    <a:pt x="227" y="43"/>
                  </a:lnTo>
                  <a:lnTo>
                    <a:pt x="234" y="45"/>
                  </a:lnTo>
                  <a:lnTo>
                    <a:pt x="237" y="45"/>
                  </a:lnTo>
                  <a:lnTo>
                    <a:pt x="233" y="39"/>
                  </a:lnTo>
                  <a:lnTo>
                    <a:pt x="234" y="37"/>
                  </a:lnTo>
                  <a:lnTo>
                    <a:pt x="236" y="36"/>
                  </a:lnTo>
                  <a:lnTo>
                    <a:pt x="239" y="37"/>
                  </a:lnTo>
                  <a:lnTo>
                    <a:pt x="242" y="38"/>
                  </a:lnTo>
                  <a:lnTo>
                    <a:pt x="244" y="38"/>
                  </a:lnTo>
                  <a:lnTo>
                    <a:pt x="247" y="35"/>
                  </a:lnTo>
                  <a:lnTo>
                    <a:pt x="249" y="35"/>
                  </a:lnTo>
                  <a:lnTo>
                    <a:pt x="255" y="38"/>
                  </a:lnTo>
                  <a:lnTo>
                    <a:pt x="259" y="41"/>
                  </a:lnTo>
                  <a:lnTo>
                    <a:pt x="260" y="42"/>
                  </a:lnTo>
                  <a:lnTo>
                    <a:pt x="266" y="38"/>
                  </a:lnTo>
                  <a:lnTo>
                    <a:pt x="272" y="40"/>
                  </a:lnTo>
                  <a:lnTo>
                    <a:pt x="275" y="40"/>
                  </a:lnTo>
                  <a:lnTo>
                    <a:pt x="277" y="39"/>
                  </a:lnTo>
                  <a:lnTo>
                    <a:pt x="280" y="35"/>
                  </a:lnTo>
                  <a:lnTo>
                    <a:pt x="282" y="29"/>
                  </a:lnTo>
                  <a:lnTo>
                    <a:pt x="285" y="25"/>
                  </a:lnTo>
                  <a:lnTo>
                    <a:pt x="291" y="15"/>
                  </a:lnTo>
                  <a:lnTo>
                    <a:pt x="291" y="12"/>
                  </a:lnTo>
                  <a:lnTo>
                    <a:pt x="294" y="11"/>
                  </a:lnTo>
                  <a:lnTo>
                    <a:pt x="295" y="12"/>
                  </a:lnTo>
                  <a:lnTo>
                    <a:pt x="297" y="14"/>
                  </a:lnTo>
                  <a:lnTo>
                    <a:pt x="298" y="19"/>
                  </a:lnTo>
                  <a:lnTo>
                    <a:pt x="300" y="27"/>
                  </a:lnTo>
                  <a:lnTo>
                    <a:pt x="301" y="30"/>
                  </a:lnTo>
                  <a:lnTo>
                    <a:pt x="303" y="39"/>
                  </a:lnTo>
                  <a:lnTo>
                    <a:pt x="305" y="42"/>
                  </a:lnTo>
                  <a:lnTo>
                    <a:pt x="307" y="44"/>
                  </a:lnTo>
                  <a:lnTo>
                    <a:pt x="313" y="45"/>
                  </a:lnTo>
                  <a:lnTo>
                    <a:pt x="314" y="47"/>
                  </a:lnTo>
                  <a:lnTo>
                    <a:pt x="314" y="50"/>
                  </a:lnTo>
                  <a:lnTo>
                    <a:pt x="314" y="52"/>
                  </a:lnTo>
                  <a:lnTo>
                    <a:pt x="311" y="54"/>
                  </a:lnTo>
                  <a:lnTo>
                    <a:pt x="305" y="62"/>
                  </a:lnTo>
                  <a:lnTo>
                    <a:pt x="304" y="64"/>
                  </a:lnTo>
                  <a:lnTo>
                    <a:pt x="301" y="66"/>
                  </a:lnTo>
                  <a:lnTo>
                    <a:pt x="299" y="68"/>
                  </a:lnTo>
                  <a:lnTo>
                    <a:pt x="297" y="69"/>
                  </a:lnTo>
                  <a:lnTo>
                    <a:pt x="293" y="73"/>
                  </a:lnTo>
                  <a:lnTo>
                    <a:pt x="289" y="79"/>
                  </a:lnTo>
                  <a:lnTo>
                    <a:pt x="287" y="85"/>
                  </a:lnTo>
                  <a:lnTo>
                    <a:pt x="285" y="87"/>
                  </a:lnTo>
                  <a:lnTo>
                    <a:pt x="286" y="88"/>
                  </a:lnTo>
                  <a:lnTo>
                    <a:pt x="289" y="88"/>
                  </a:lnTo>
                  <a:lnTo>
                    <a:pt x="292" y="87"/>
                  </a:lnTo>
                  <a:lnTo>
                    <a:pt x="299" y="83"/>
                  </a:lnTo>
                  <a:lnTo>
                    <a:pt x="300" y="82"/>
                  </a:lnTo>
                  <a:lnTo>
                    <a:pt x="302" y="87"/>
                  </a:lnTo>
                  <a:lnTo>
                    <a:pt x="304" y="92"/>
                  </a:lnTo>
                  <a:lnTo>
                    <a:pt x="306" y="93"/>
                  </a:lnTo>
                  <a:lnTo>
                    <a:pt x="307" y="93"/>
                  </a:lnTo>
                  <a:lnTo>
                    <a:pt x="314" y="93"/>
                  </a:lnTo>
                  <a:lnTo>
                    <a:pt x="317" y="93"/>
                  </a:lnTo>
                  <a:lnTo>
                    <a:pt x="322" y="91"/>
                  </a:lnTo>
                  <a:lnTo>
                    <a:pt x="320" y="95"/>
                  </a:lnTo>
                  <a:lnTo>
                    <a:pt x="320" y="99"/>
                  </a:lnTo>
                  <a:lnTo>
                    <a:pt x="323" y="95"/>
                  </a:lnTo>
                  <a:lnTo>
                    <a:pt x="330" y="89"/>
                  </a:lnTo>
                  <a:lnTo>
                    <a:pt x="332" y="89"/>
                  </a:lnTo>
                  <a:lnTo>
                    <a:pt x="333" y="86"/>
                  </a:lnTo>
                  <a:lnTo>
                    <a:pt x="336" y="81"/>
                  </a:lnTo>
                  <a:lnTo>
                    <a:pt x="338" y="78"/>
                  </a:lnTo>
                  <a:lnTo>
                    <a:pt x="339" y="78"/>
                  </a:lnTo>
                  <a:lnTo>
                    <a:pt x="345" y="78"/>
                  </a:lnTo>
                  <a:lnTo>
                    <a:pt x="348" y="77"/>
                  </a:lnTo>
                  <a:lnTo>
                    <a:pt x="348" y="77"/>
                  </a:lnTo>
                  <a:lnTo>
                    <a:pt x="353" y="80"/>
                  </a:lnTo>
                  <a:lnTo>
                    <a:pt x="357" y="81"/>
                  </a:lnTo>
                  <a:lnTo>
                    <a:pt x="359" y="81"/>
                  </a:lnTo>
                  <a:lnTo>
                    <a:pt x="363" y="83"/>
                  </a:lnTo>
                  <a:lnTo>
                    <a:pt x="369" y="86"/>
                  </a:lnTo>
                  <a:lnTo>
                    <a:pt x="371" y="87"/>
                  </a:lnTo>
                  <a:lnTo>
                    <a:pt x="373" y="91"/>
                  </a:lnTo>
                  <a:lnTo>
                    <a:pt x="374" y="91"/>
                  </a:lnTo>
                  <a:lnTo>
                    <a:pt x="375" y="91"/>
                  </a:lnTo>
                  <a:lnTo>
                    <a:pt x="377" y="89"/>
                  </a:lnTo>
                  <a:lnTo>
                    <a:pt x="379" y="89"/>
                  </a:lnTo>
                  <a:lnTo>
                    <a:pt x="381" y="90"/>
                  </a:lnTo>
                  <a:lnTo>
                    <a:pt x="384" y="95"/>
                  </a:lnTo>
                  <a:lnTo>
                    <a:pt x="385" y="97"/>
                  </a:lnTo>
                  <a:lnTo>
                    <a:pt x="384" y="99"/>
                  </a:lnTo>
                  <a:lnTo>
                    <a:pt x="382" y="101"/>
                  </a:lnTo>
                  <a:lnTo>
                    <a:pt x="382" y="104"/>
                  </a:lnTo>
                  <a:lnTo>
                    <a:pt x="382" y="107"/>
                  </a:lnTo>
                  <a:lnTo>
                    <a:pt x="383" y="109"/>
                  </a:lnTo>
                  <a:lnTo>
                    <a:pt x="388" y="104"/>
                  </a:lnTo>
                  <a:lnTo>
                    <a:pt x="390" y="103"/>
                  </a:lnTo>
                  <a:lnTo>
                    <a:pt x="394" y="102"/>
                  </a:lnTo>
                  <a:lnTo>
                    <a:pt x="399" y="99"/>
                  </a:lnTo>
                  <a:lnTo>
                    <a:pt x="401" y="99"/>
                  </a:lnTo>
                  <a:lnTo>
                    <a:pt x="403" y="100"/>
                  </a:lnTo>
                  <a:lnTo>
                    <a:pt x="408" y="102"/>
                  </a:lnTo>
                  <a:lnTo>
                    <a:pt x="413" y="105"/>
                  </a:lnTo>
                  <a:lnTo>
                    <a:pt x="416" y="105"/>
                  </a:lnTo>
                  <a:lnTo>
                    <a:pt x="422" y="106"/>
                  </a:lnTo>
                  <a:lnTo>
                    <a:pt x="429" y="107"/>
                  </a:lnTo>
                  <a:lnTo>
                    <a:pt x="432" y="106"/>
                  </a:lnTo>
                  <a:lnTo>
                    <a:pt x="434" y="106"/>
                  </a:lnTo>
                  <a:lnTo>
                    <a:pt x="438" y="105"/>
                  </a:lnTo>
                  <a:lnTo>
                    <a:pt x="440" y="105"/>
                  </a:lnTo>
                  <a:lnTo>
                    <a:pt x="447" y="107"/>
                  </a:lnTo>
                  <a:lnTo>
                    <a:pt x="451" y="110"/>
                  </a:lnTo>
                  <a:lnTo>
                    <a:pt x="456" y="112"/>
                  </a:lnTo>
                  <a:lnTo>
                    <a:pt x="459" y="115"/>
                  </a:lnTo>
                  <a:lnTo>
                    <a:pt x="468" y="123"/>
                  </a:lnTo>
                  <a:lnTo>
                    <a:pt x="473" y="127"/>
                  </a:lnTo>
                  <a:lnTo>
                    <a:pt x="477" y="131"/>
                  </a:lnTo>
                  <a:lnTo>
                    <a:pt x="480" y="132"/>
                  </a:lnTo>
                  <a:lnTo>
                    <a:pt x="483" y="134"/>
                  </a:lnTo>
                  <a:lnTo>
                    <a:pt x="487" y="135"/>
                  </a:lnTo>
                  <a:lnTo>
                    <a:pt x="494" y="135"/>
                  </a:lnTo>
                  <a:lnTo>
                    <a:pt x="500" y="135"/>
                  </a:lnTo>
                  <a:lnTo>
                    <a:pt x="503" y="137"/>
                  </a:lnTo>
                  <a:lnTo>
                    <a:pt x="504" y="139"/>
                  </a:lnTo>
                  <a:lnTo>
                    <a:pt x="504" y="143"/>
                  </a:lnTo>
                  <a:lnTo>
                    <a:pt x="508" y="155"/>
                  </a:lnTo>
                  <a:lnTo>
                    <a:pt x="510" y="162"/>
                  </a:lnTo>
                  <a:lnTo>
                    <a:pt x="510" y="167"/>
                  </a:lnTo>
                  <a:lnTo>
                    <a:pt x="510" y="171"/>
                  </a:lnTo>
                  <a:lnTo>
                    <a:pt x="509" y="176"/>
                  </a:lnTo>
                  <a:lnTo>
                    <a:pt x="507" y="181"/>
                  </a:lnTo>
                  <a:lnTo>
                    <a:pt x="504" y="189"/>
                  </a:lnTo>
                  <a:lnTo>
                    <a:pt x="501" y="194"/>
                  </a:lnTo>
                  <a:lnTo>
                    <a:pt x="493" y="201"/>
                  </a:lnTo>
                  <a:lnTo>
                    <a:pt x="485" y="209"/>
                  </a:lnTo>
                  <a:lnTo>
                    <a:pt x="482" y="210"/>
                  </a:lnTo>
                  <a:lnTo>
                    <a:pt x="480" y="210"/>
                  </a:lnTo>
                  <a:lnTo>
                    <a:pt x="478" y="214"/>
                  </a:lnTo>
                  <a:lnTo>
                    <a:pt x="477" y="216"/>
                  </a:lnTo>
                  <a:lnTo>
                    <a:pt x="477" y="219"/>
                  </a:lnTo>
                  <a:lnTo>
                    <a:pt x="474" y="225"/>
                  </a:lnTo>
                  <a:lnTo>
                    <a:pt x="471" y="231"/>
                  </a:lnTo>
                  <a:lnTo>
                    <a:pt x="466" y="237"/>
                  </a:lnTo>
                  <a:lnTo>
                    <a:pt x="464" y="239"/>
                  </a:lnTo>
                  <a:lnTo>
                    <a:pt x="463" y="239"/>
                  </a:lnTo>
                  <a:lnTo>
                    <a:pt x="463" y="236"/>
                  </a:lnTo>
                  <a:lnTo>
                    <a:pt x="461" y="234"/>
                  </a:lnTo>
                  <a:lnTo>
                    <a:pt x="459" y="234"/>
                  </a:lnTo>
                  <a:lnTo>
                    <a:pt x="459" y="239"/>
                  </a:lnTo>
                  <a:lnTo>
                    <a:pt x="455" y="249"/>
                  </a:lnTo>
                  <a:lnTo>
                    <a:pt x="455" y="253"/>
                  </a:lnTo>
                  <a:lnTo>
                    <a:pt x="455" y="257"/>
                  </a:lnTo>
                  <a:lnTo>
                    <a:pt x="456" y="273"/>
                  </a:lnTo>
                  <a:lnTo>
                    <a:pt x="457" y="279"/>
                  </a:lnTo>
                  <a:lnTo>
                    <a:pt x="453" y="295"/>
                  </a:lnTo>
                  <a:lnTo>
                    <a:pt x="453" y="299"/>
                  </a:lnTo>
                  <a:lnTo>
                    <a:pt x="454" y="303"/>
                  </a:lnTo>
                  <a:lnTo>
                    <a:pt x="455" y="304"/>
                  </a:lnTo>
                  <a:lnTo>
                    <a:pt x="450" y="307"/>
                  </a:lnTo>
                  <a:lnTo>
                    <a:pt x="447" y="310"/>
                  </a:lnTo>
                  <a:lnTo>
                    <a:pt x="446" y="315"/>
                  </a:lnTo>
                  <a:lnTo>
                    <a:pt x="446" y="317"/>
                  </a:lnTo>
                  <a:lnTo>
                    <a:pt x="447" y="326"/>
                  </a:lnTo>
                  <a:lnTo>
                    <a:pt x="447" y="329"/>
                  </a:lnTo>
                  <a:lnTo>
                    <a:pt x="445" y="330"/>
                  </a:lnTo>
                  <a:lnTo>
                    <a:pt x="441" y="334"/>
                  </a:lnTo>
                  <a:lnTo>
                    <a:pt x="437" y="344"/>
                  </a:lnTo>
                  <a:lnTo>
                    <a:pt x="431" y="352"/>
                  </a:lnTo>
                  <a:lnTo>
                    <a:pt x="430" y="356"/>
                  </a:lnTo>
                  <a:lnTo>
                    <a:pt x="429" y="358"/>
                  </a:lnTo>
                  <a:lnTo>
                    <a:pt x="430" y="364"/>
                  </a:lnTo>
                  <a:lnTo>
                    <a:pt x="423" y="366"/>
                  </a:lnTo>
                  <a:lnTo>
                    <a:pt x="420" y="368"/>
                  </a:lnTo>
                  <a:lnTo>
                    <a:pt x="418" y="370"/>
                  </a:lnTo>
                  <a:lnTo>
                    <a:pt x="417" y="373"/>
                  </a:lnTo>
                  <a:lnTo>
                    <a:pt x="417" y="375"/>
                  </a:lnTo>
                  <a:lnTo>
                    <a:pt x="415" y="376"/>
                  </a:lnTo>
                  <a:lnTo>
                    <a:pt x="410" y="376"/>
                  </a:lnTo>
                  <a:lnTo>
                    <a:pt x="404" y="377"/>
                  </a:lnTo>
                  <a:lnTo>
                    <a:pt x="401" y="377"/>
                  </a:lnTo>
                  <a:lnTo>
                    <a:pt x="396" y="377"/>
                  </a:lnTo>
                  <a:lnTo>
                    <a:pt x="393" y="376"/>
                  </a:lnTo>
                  <a:lnTo>
                    <a:pt x="388" y="377"/>
                  </a:lnTo>
                  <a:lnTo>
                    <a:pt x="384" y="377"/>
                  </a:lnTo>
                  <a:lnTo>
                    <a:pt x="382" y="380"/>
                  </a:lnTo>
                  <a:lnTo>
                    <a:pt x="381" y="381"/>
                  </a:lnTo>
                  <a:lnTo>
                    <a:pt x="376" y="384"/>
                  </a:lnTo>
                  <a:lnTo>
                    <a:pt x="373" y="387"/>
                  </a:lnTo>
                  <a:lnTo>
                    <a:pt x="372" y="389"/>
                  </a:lnTo>
                  <a:lnTo>
                    <a:pt x="368" y="387"/>
                  </a:lnTo>
                  <a:lnTo>
                    <a:pt x="365" y="387"/>
                  </a:lnTo>
                  <a:lnTo>
                    <a:pt x="362" y="389"/>
                  </a:lnTo>
                  <a:lnTo>
                    <a:pt x="351" y="397"/>
                  </a:lnTo>
                  <a:lnTo>
                    <a:pt x="348" y="400"/>
                  </a:lnTo>
                  <a:lnTo>
                    <a:pt x="344" y="402"/>
                  </a:lnTo>
                  <a:lnTo>
                    <a:pt x="340" y="405"/>
                  </a:lnTo>
                  <a:lnTo>
                    <a:pt x="337" y="410"/>
                  </a:lnTo>
                  <a:lnTo>
                    <a:pt x="334" y="411"/>
                  </a:lnTo>
                  <a:lnTo>
                    <a:pt x="331" y="411"/>
                  </a:lnTo>
                  <a:lnTo>
                    <a:pt x="329" y="411"/>
                  </a:lnTo>
                  <a:lnTo>
                    <a:pt x="329" y="413"/>
                  </a:lnTo>
                  <a:lnTo>
                    <a:pt x="331" y="414"/>
                  </a:lnTo>
                  <a:lnTo>
                    <a:pt x="332" y="418"/>
                  </a:lnTo>
                  <a:lnTo>
                    <a:pt x="331" y="422"/>
                  </a:lnTo>
                  <a:lnTo>
                    <a:pt x="331" y="423"/>
                  </a:lnTo>
                  <a:lnTo>
                    <a:pt x="329" y="424"/>
                  </a:lnTo>
                  <a:lnTo>
                    <a:pt x="329" y="425"/>
                  </a:lnTo>
                  <a:lnTo>
                    <a:pt x="331" y="429"/>
                  </a:lnTo>
                  <a:lnTo>
                    <a:pt x="331" y="437"/>
                  </a:lnTo>
                  <a:lnTo>
                    <a:pt x="331" y="444"/>
                  </a:lnTo>
                  <a:lnTo>
                    <a:pt x="331" y="446"/>
                  </a:lnTo>
                  <a:lnTo>
                    <a:pt x="330" y="450"/>
                  </a:lnTo>
                  <a:lnTo>
                    <a:pt x="329" y="455"/>
                  </a:lnTo>
                  <a:lnTo>
                    <a:pt x="326" y="459"/>
                  </a:lnTo>
                  <a:lnTo>
                    <a:pt x="323" y="463"/>
                  </a:lnTo>
                  <a:lnTo>
                    <a:pt x="318" y="466"/>
                  </a:lnTo>
                  <a:lnTo>
                    <a:pt x="313" y="473"/>
                  </a:lnTo>
                  <a:lnTo>
                    <a:pt x="312" y="476"/>
                  </a:lnTo>
                  <a:lnTo>
                    <a:pt x="309" y="484"/>
                  </a:lnTo>
                  <a:lnTo>
                    <a:pt x="306" y="490"/>
                  </a:lnTo>
                  <a:lnTo>
                    <a:pt x="302" y="497"/>
                  </a:lnTo>
                  <a:lnTo>
                    <a:pt x="298" y="501"/>
                  </a:lnTo>
                  <a:lnTo>
                    <a:pt x="293" y="507"/>
                  </a:lnTo>
                  <a:lnTo>
                    <a:pt x="295" y="501"/>
                  </a:lnTo>
                  <a:lnTo>
                    <a:pt x="298" y="497"/>
                  </a:lnTo>
                  <a:lnTo>
                    <a:pt x="301" y="493"/>
                  </a:lnTo>
                  <a:lnTo>
                    <a:pt x="305" y="485"/>
                  </a:lnTo>
                  <a:lnTo>
                    <a:pt x="305" y="483"/>
                  </a:lnTo>
                  <a:lnTo>
                    <a:pt x="302" y="485"/>
                  </a:lnTo>
                  <a:lnTo>
                    <a:pt x="300" y="484"/>
                  </a:lnTo>
                  <a:lnTo>
                    <a:pt x="296" y="483"/>
                  </a:lnTo>
                  <a:lnTo>
                    <a:pt x="296" y="484"/>
                  </a:lnTo>
                  <a:lnTo>
                    <a:pt x="296" y="486"/>
                  </a:lnTo>
                  <a:lnTo>
                    <a:pt x="294" y="494"/>
                  </a:lnTo>
                  <a:lnTo>
                    <a:pt x="291" y="498"/>
                  </a:lnTo>
                  <a:lnTo>
                    <a:pt x="288" y="501"/>
                  </a:lnTo>
                  <a:lnTo>
                    <a:pt x="286" y="503"/>
                  </a:lnTo>
                  <a:lnTo>
                    <a:pt x="285" y="506"/>
                  </a:lnTo>
                  <a:lnTo>
                    <a:pt x="284" y="508"/>
                  </a:lnTo>
                  <a:lnTo>
                    <a:pt x="282" y="520"/>
                  </a:lnTo>
                  <a:lnTo>
                    <a:pt x="279" y="525"/>
                  </a:lnTo>
                  <a:lnTo>
                    <a:pt x="274" y="532"/>
                  </a:lnTo>
                  <a:lnTo>
                    <a:pt x="268" y="539"/>
                  </a:lnTo>
                  <a:lnTo>
                    <a:pt x="267" y="536"/>
                  </a:lnTo>
                  <a:lnTo>
                    <a:pt x="266" y="531"/>
                  </a:lnTo>
                  <a:lnTo>
                    <a:pt x="267" y="529"/>
                  </a:lnTo>
                  <a:lnTo>
                    <a:pt x="270" y="524"/>
                  </a:lnTo>
                  <a:lnTo>
                    <a:pt x="270" y="522"/>
                  </a:lnTo>
                  <a:lnTo>
                    <a:pt x="269" y="519"/>
                  </a:lnTo>
                  <a:lnTo>
                    <a:pt x="267" y="519"/>
                  </a:lnTo>
                  <a:lnTo>
                    <a:pt x="267" y="518"/>
                  </a:lnTo>
                  <a:lnTo>
                    <a:pt x="262" y="510"/>
                  </a:lnTo>
                  <a:lnTo>
                    <a:pt x="259" y="507"/>
                  </a:lnTo>
                  <a:lnTo>
                    <a:pt x="253" y="503"/>
                  </a:lnTo>
                  <a:lnTo>
                    <a:pt x="250" y="502"/>
                  </a:lnTo>
                  <a:lnTo>
                    <a:pt x="246" y="500"/>
                  </a:lnTo>
                  <a:lnTo>
                    <a:pt x="243" y="496"/>
                  </a:lnTo>
                  <a:lnTo>
                    <a:pt x="242" y="494"/>
                  </a:lnTo>
                  <a:lnTo>
                    <a:pt x="237" y="497"/>
                  </a:lnTo>
                  <a:lnTo>
                    <a:pt x="236" y="497"/>
                  </a:lnTo>
                  <a:lnTo>
                    <a:pt x="234" y="494"/>
                  </a:lnTo>
                  <a:lnTo>
                    <a:pt x="231" y="489"/>
                  </a:lnTo>
                  <a:lnTo>
                    <a:pt x="229" y="486"/>
                  </a:lnTo>
                  <a:lnTo>
                    <a:pt x="226" y="483"/>
                  </a:lnTo>
                  <a:lnTo>
                    <a:pt x="224" y="483"/>
                  </a:lnTo>
                  <a:lnTo>
                    <a:pt x="223" y="483"/>
                  </a:lnTo>
                  <a:lnTo>
                    <a:pt x="217" y="485"/>
                  </a:lnTo>
                  <a:lnTo>
                    <a:pt x="213" y="485"/>
                  </a:lnTo>
                  <a:lnTo>
                    <a:pt x="215" y="483"/>
                  </a:lnTo>
                  <a:lnTo>
                    <a:pt x="220" y="477"/>
                  </a:lnTo>
                  <a:lnTo>
                    <a:pt x="230" y="465"/>
                  </a:lnTo>
                  <a:lnTo>
                    <a:pt x="239" y="456"/>
                  </a:lnTo>
                  <a:lnTo>
                    <a:pt x="248" y="446"/>
                  </a:lnTo>
                  <a:lnTo>
                    <a:pt x="251" y="444"/>
                  </a:lnTo>
                  <a:lnTo>
                    <a:pt x="261" y="440"/>
                  </a:lnTo>
                  <a:lnTo>
                    <a:pt x="264" y="437"/>
                  </a:lnTo>
                  <a:lnTo>
                    <a:pt x="265" y="434"/>
                  </a:lnTo>
                  <a:lnTo>
                    <a:pt x="265" y="424"/>
                  </a:lnTo>
                  <a:lnTo>
                    <a:pt x="262" y="416"/>
                  </a:lnTo>
                  <a:lnTo>
                    <a:pt x="261" y="415"/>
                  </a:lnTo>
                  <a:lnTo>
                    <a:pt x="258" y="415"/>
                  </a:lnTo>
                  <a:lnTo>
                    <a:pt x="253" y="416"/>
                  </a:lnTo>
                  <a:close/>
                  <a:moveTo>
                    <a:pt x="309" y="90"/>
                  </a:moveTo>
                  <a:lnTo>
                    <a:pt x="306" y="90"/>
                  </a:lnTo>
                  <a:lnTo>
                    <a:pt x="305" y="86"/>
                  </a:lnTo>
                  <a:lnTo>
                    <a:pt x="304" y="84"/>
                  </a:lnTo>
                  <a:lnTo>
                    <a:pt x="305" y="83"/>
                  </a:lnTo>
                  <a:lnTo>
                    <a:pt x="305" y="79"/>
                  </a:lnTo>
                  <a:lnTo>
                    <a:pt x="305" y="77"/>
                  </a:lnTo>
                  <a:lnTo>
                    <a:pt x="306" y="71"/>
                  </a:lnTo>
                  <a:lnTo>
                    <a:pt x="307" y="71"/>
                  </a:lnTo>
                  <a:lnTo>
                    <a:pt x="310" y="70"/>
                  </a:lnTo>
                  <a:lnTo>
                    <a:pt x="315" y="71"/>
                  </a:lnTo>
                  <a:lnTo>
                    <a:pt x="321" y="71"/>
                  </a:lnTo>
                  <a:lnTo>
                    <a:pt x="324" y="70"/>
                  </a:lnTo>
                  <a:lnTo>
                    <a:pt x="326" y="71"/>
                  </a:lnTo>
                  <a:lnTo>
                    <a:pt x="329" y="71"/>
                  </a:lnTo>
                  <a:lnTo>
                    <a:pt x="332" y="72"/>
                  </a:lnTo>
                  <a:lnTo>
                    <a:pt x="333" y="73"/>
                  </a:lnTo>
                  <a:lnTo>
                    <a:pt x="332" y="76"/>
                  </a:lnTo>
                  <a:lnTo>
                    <a:pt x="330" y="81"/>
                  </a:lnTo>
                  <a:lnTo>
                    <a:pt x="329" y="84"/>
                  </a:lnTo>
                  <a:lnTo>
                    <a:pt x="327" y="86"/>
                  </a:lnTo>
                  <a:lnTo>
                    <a:pt x="324" y="88"/>
                  </a:lnTo>
                  <a:lnTo>
                    <a:pt x="321" y="89"/>
                  </a:lnTo>
                  <a:lnTo>
                    <a:pt x="318" y="89"/>
                  </a:lnTo>
                  <a:lnTo>
                    <a:pt x="313" y="89"/>
                  </a:lnTo>
                  <a:lnTo>
                    <a:pt x="309" y="9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5" name="Freeform 67">
              <a:extLst>
                <a:ext uri="{FF2B5EF4-FFF2-40B4-BE49-F238E27FC236}">
                  <a16:creationId xmlns:a16="http://schemas.microsoft.com/office/drawing/2014/main" id="{9F3FC4C9-F301-58D3-3B27-0B8B7E76CFEE}"/>
                </a:ext>
              </a:extLst>
            </p:cNvPr>
            <p:cNvSpPr>
              <a:spLocks/>
            </p:cNvSpPr>
            <p:nvPr/>
          </p:nvSpPr>
          <p:spPr bwMode="auto">
            <a:xfrm>
              <a:off x="4973221" y="4973638"/>
              <a:ext cx="157163" cy="115888"/>
            </a:xfrm>
            <a:custGeom>
              <a:avLst/>
              <a:gdLst/>
              <a:ahLst/>
              <a:cxnLst>
                <a:cxn ang="0">
                  <a:pos x="90" y="36"/>
                </a:cxn>
                <a:cxn ang="0">
                  <a:pos x="90" y="42"/>
                </a:cxn>
                <a:cxn ang="0">
                  <a:pos x="95" y="47"/>
                </a:cxn>
                <a:cxn ang="0">
                  <a:pos x="93" y="50"/>
                </a:cxn>
                <a:cxn ang="0">
                  <a:pos x="98" y="56"/>
                </a:cxn>
                <a:cxn ang="0">
                  <a:pos x="97" y="58"/>
                </a:cxn>
                <a:cxn ang="0">
                  <a:pos x="92" y="57"/>
                </a:cxn>
                <a:cxn ang="0">
                  <a:pos x="90" y="58"/>
                </a:cxn>
                <a:cxn ang="0">
                  <a:pos x="91" y="62"/>
                </a:cxn>
                <a:cxn ang="0">
                  <a:pos x="91" y="65"/>
                </a:cxn>
                <a:cxn ang="0">
                  <a:pos x="87" y="69"/>
                </a:cxn>
                <a:cxn ang="0">
                  <a:pos x="83" y="67"/>
                </a:cxn>
                <a:cxn ang="0">
                  <a:pos x="78" y="73"/>
                </a:cxn>
                <a:cxn ang="0">
                  <a:pos x="74" y="71"/>
                </a:cxn>
                <a:cxn ang="0">
                  <a:pos x="72" y="68"/>
                </a:cxn>
                <a:cxn ang="0">
                  <a:pos x="71" y="59"/>
                </a:cxn>
                <a:cxn ang="0">
                  <a:pos x="68" y="56"/>
                </a:cxn>
                <a:cxn ang="0">
                  <a:pos x="63" y="57"/>
                </a:cxn>
                <a:cxn ang="0">
                  <a:pos x="60" y="61"/>
                </a:cxn>
                <a:cxn ang="0">
                  <a:pos x="58" y="49"/>
                </a:cxn>
                <a:cxn ang="0">
                  <a:pos x="54" y="41"/>
                </a:cxn>
                <a:cxn ang="0">
                  <a:pos x="48" y="37"/>
                </a:cxn>
                <a:cxn ang="0">
                  <a:pos x="39" y="37"/>
                </a:cxn>
                <a:cxn ang="0">
                  <a:pos x="34" y="38"/>
                </a:cxn>
                <a:cxn ang="0">
                  <a:pos x="24" y="51"/>
                </a:cxn>
                <a:cxn ang="0">
                  <a:pos x="22" y="45"/>
                </a:cxn>
                <a:cxn ang="0">
                  <a:pos x="17" y="36"/>
                </a:cxn>
                <a:cxn ang="0">
                  <a:pos x="7" y="31"/>
                </a:cxn>
                <a:cxn ang="0">
                  <a:pos x="6" y="27"/>
                </a:cxn>
                <a:cxn ang="0">
                  <a:pos x="2" y="25"/>
                </a:cxn>
                <a:cxn ang="0">
                  <a:pos x="0" y="23"/>
                </a:cxn>
                <a:cxn ang="0">
                  <a:pos x="0" y="21"/>
                </a:cxn>
                <a:cxn ang="0">
                  <a:pos x="6" y="15"/>
                </a:cxn>
                <a:cxn ang="0">
                  <a:pos x="11" y="14"/>
                </a:cxn>
                <a:cxn ang="0">
                  <a:pos x="16" y="12"/>
                </a:cxn>
                <a:cxn ang="0">
                  <a:pos x="16" y="5"/>
                </a:cxn>
                <a:cxn ang="0">
                  <a:pos x="24" y="0"/>
                </a:cxn>
                <a:cxn ang="0">
                  <a:pos x="32" y="4"/>
                </a:cxn>
                <a:cxn ang="0">
                  <a:pos x="40" y="4"/>
                </a:cxn>
                <a:cxn ang="0">
                  <a:pos x="46" y="3"/>
                </a:cxn>
                <a:cxn ang="0">
                  <a:pos x="48" y="5"/>
                </a:cxn>
                <a:cxn ang="0">
                  <a:pos x="57" y="11"/>
                </a:cxn>
                <a:cxn ang="0">
                  <a:pos x="61" y="6"/>
                </a:cxn>
                <a:cxn ang="0">
                  <a:pos x="65" y="8"/>
                </a:cxn>
                <a:cxn ang="0">
                  <a:pos x="71" y="7"/>
                </a:cxn>
                <a:cxn ang="0">
                  <a:pos x="77" y="3"/>
                </a:cxn>
                <a:cxn ang="0">
                  <a:pos x="80" y="5"/>
                </a:cxn>
                <a:cxn ang="0">
                  <a:pos x="82" y="12"/>
                </a:cxn>
                <a:cxn ang="0">
                  <a:pos x="86" y="17"/>
                </a:cxn>
                <a:cxn ang="0">
                  <a:pos x="89" y="28"/>
                </a:cxn>
              </a:cxnLst>
              <a:rect l="0" t="0" r="r" b="b"/>
              <a:pathLst>
                <a:path w="99" h="73">
                  <a:moveTo>
                    <a:pt x="93" y="34"/>
                  </a:moveTo>
                  <a:lnTo>
                    <a:pt x="90" y="36"/>
                  </a:lnTo>
                  <a:lnTo>
                    <a:pt x="89" y="40"/>
                  </a:lnTo>
                  <a:lnTo>
                    <a:pt x="90" y="42"/>
                  </a:lnTo>
                  <a:lnTo>
                    <a:pt x="94" y="45"/>
                  </a:lnTo>
                  <a:lnTo>
                    <a:pt x="95" y="47"/>
                  </a:lnTo>
                  <a:lnTo>
                    <a:pt x="94" y="48"/>
                  </a:lnTo>
                  <a:lnTo>
                    <a:pt x="93" y="50"/>
                  </a:lnTo>
                  <a:lnTo>
                    <a:pt x="94" y="53"/>
                  </a:lnTo>
                  <a:lnTo>
                    <a:pt x="98" y="56"/>
                  </a:lnTo>
                  <a:lnTo>
                    <a:pt x="99" y="57"/>
                  </a:lnTo>
                  <a:lnTo>
                    <a:pt x="97" y="58"/>
                  </a:lnTo>
                  <a:lnTo>
                    <a:pt x="96" y="58"/>
                  </a:lnTo>
                  <a:lnTo>
                    <a:pt x="92" y="57"/>
                  </a:lnTo>
                  <a:lnTo>
                    <a:pt x="91" y="57"/>
                  </a:lnTo>
                  <a:lnTo>
                    <a:pt x="90" y="58"/>
                  </a:lnTo>
                  <a:lnTo>
                    <a:pt x="90" y="59"/>
                  </a:lnTo>
                  <a:lnTo>
                    <a:pt x="91" y="62"/>
                  </a:lnTo>
                  <a:lnTo>
                    <a:pt x="92" y="63"/>
                  </a:lnTo>
                  <a:lnTo>
                    <a:pt x="91" y="65"/>
                  </a:lnTo>
                  <a:lnTo>
                    <a:pt x="88" y="69"/>
                  </a:lnTo>
                  <a:lnTo>
                    <a:pt x="87" y="69"/>
                  </a:lnTo>
                  <a:lnTo>
                    <a:pt x="85" y="68"/>
                  </a:lnTo>
                  <a:lnTo>
                    <a:pt x="83" y="67"/>
                  </a:lnTo>
                  <a:lnTo>
                    <a:pt x="82" y="68"/>
                  </a:lnTo>
                  <a:lnTo>
                    <a:pt x="78" y="73"/>
                  </a:lnTo>
                  <a:lnTo>
                    <a:pt x="76" y="73"/>
                  </a:lnTo>
                  <a:lnTo>
                    <a:pt x="74" y="71"/>
                  </a:lnTo>
                  <a:lnTo>
                    <a:pt x="72" y="69"/>
                  </a:lnTo>
                  <a:lnTo>
                    <a:pt x="72" y="68"/>
                  </a:lnTo>
                  <a:lnTo>
                    <a:pt x="72" y="64"/>
                  </a:lnTo>
                  <a:lnTo>
                    <a:pt x="71" y="59"/>
                  </a:lnTo>
                  <a:lnTo>
                    <a:pt x="70" y="57"/>
                  </a:lnTo>
                  <a:lnTo>
                    <a:pt x="68" y="56"/>
                  </a:lnTo>
                  <a:lnTo>
                    <a:pt x="65" y="56"/>
                  </a:lnTo>
                  <a:lnTo>
                    <a:pt x="63" y="57"/>
                  </a:lnTo>
                  <a:lnTo>
                    <a:pt x="61" y="59"/>
                  </a:lnTo>
                  <a:lnTo>
                    <a:pt x="60" y="61"/>
                  </a:lnTo>
                  <a:lnTo>
                    <a:pt x="59" y="57"/>
                  </a:lnTo>
                  <a:lnTo>
                    <a:pt x="58" y="49"/>
                  </a:lnTo>
                  <a:lnTo>
                    <a:pt x="56" y="44"/>
                  </a:lnTo>
                  <a:lnTo>
                    <a:pt x="54" y="41"/>
                  </a:lnTo>
                  <a:lnTo>
                    <a:pt x="51" y="38"/>
                  </a:lnTo>
                  <a:lnTo>
                    <a:pt x="48" y="37"/>
                  </a:lnTo>
                  <a:lnTo>
                    <a:pt x="46" y="36"/>
                  </a:lnTo>
                  <a:lnTo>
                    <a:pt x="39" y="37"/>
                  </a:lnTo>
                  <a:lnTo>
                    <a:pt x="36" y="37"/>
                  </a:lnTo>
                  <a:lnTo>
                    <a:pt x="34" y="38"/>
                  </a:lnTo>
                  <a:lnTo>
                    <a:pt x="30" y="43"/>
                  </a:lnTo>
                  <a:lnTo>
                    <a:pt x="24" y="51"/>
                  </a:lnTo>
                  <a:lnTo>
                    <a:pt x="24" y="48"/>
                  </a:lnTo>
                  <a:lnTo>
                    <a:pt x="22" y="45"/>
                  </a:lnTo>
                  <a:lnTo>
                    <a:pt x="18" y="40"/>
                  </a:lnTo>
                  <a:lnTo>
                    <a:pt x="17" y="36"/>
                  </a:lnTo>
                  <a:lnTo>
                    <a:pt x="12" y="34"/>
                  </a:lnTo>
                  <a:lnTo>
                    <a:pt x="7" y="31"/>
                  </a:lnTo>
                  <a:lnTo>
                    <a:pt x="5" y="29"/>
                  </a:lnTo>
                  <a:lnTo>
                    <a:pt x="6" y="27"/>
                  </a:lnTo>
                  <a:lnTo>
                    <a:pt x="6" y="25"/>
                  </a:lnTo>
                  <a:lnTo>
                    <a:pt x="2" y="25"/>
                  </a:lnTo>
                  <a:lnTo>
                    <a:pt x="0" y="24"/>
                  </a:lnTo>
                  <a:lnTo>
                    <a:pt x="0" y="23"/>
                  </a:lnTo>
                  <a:lnTo>
                    <a:pt x="0" y="21"/>
                  </a:lnTo>
                  <a:lnTo>
                    <a:pt x="0" y="21"/>
                  </a:lnTo>
                  <a:lnTo>
                    <a:pt x="1" y="18"/>
                  </a:lnTo>
                  <a:lnTo>
                    <a:pt x="6" y="15"/>
                  </a:lnTo>
                  <a:lnTo>
                    <a:pt x="9" y="14"/>
                  </a:lnTo>
                  <a:lnTo>
                    <a:pt x="11" y="14"/>
                  </a:lnTo>
                  <a:lnTo>
                    <a:pt x="14" y="13"/>
                  </a:lnTo>
                  <a:lnTo>
                    <a:pt x="16" y="12"/>
                  </a:lnTo>
                  <a:lnTo>
                    <a:pt x="17" y="10"/>
                  </a:lnTo>
                  <a:lnTo>
                    <a:pt x="16" y="5"/>
                  </a:lnTo>
                  <a:lnTo>
                    <a:pt x="17" y="0"/>
                  </a:lnTo>
                  <a:lnTo>
                    <a:pt x="24" y="0"/>
                  </a:lnTo>
                  <a:lnTo>
                    <a:pt x="29" y="2"/>
                  </a:lnTo>
                  <a:lnTo>
                    <a:pt x="32" y="4"/>
                  </a:lnTo>
                  <a:lnTo>
                    <a:pt x="36" y="4"/>
                  </a:lnTo>
                  <a:lnTo>
                    <a:pt x="40" y="4"/>
                  </a:lnTo>
                  <a:lnTo>
                    <a:pt x="46" y="3"/>
                  </a:lnTo>
                  <a:lnTo>
                    <a:pt x="46" y="3"/>
                  </a:lnTo>
                  <a:lnTo>
                    <a:pt x="47" y="3"/>
                  </a:lnTo>
                  <a:lnTo>
                    <a:pt x="48" y="5"/>
                  </a:lnTo>
                  <a:lnTo>
                    <a:pt x="54" y="9"/>
                  </a:lnTo>
                  <a:lnTo>
                    <a:pt x="57" y="11"/>
                  </a:lnTo>
                  <a:lnTo>
                    <a:pt x="58" y="9"/>
                  </a:lnTo>
                  <a:lnTo>
                    <a:pt x="61" y="6"/>
                  </a:lnTo>
                  <a:lnTo>
                    <a:pt x="63" y="7"/>
                  </a:lnTo>
                  <a:lnTo>
                    <a:pt x="65" y="8"/>
                  </a:lnTo>
                  <a:lnTo>
                    <a:pt x="68" y="9"/>
                  </a:lnTo>
                  <a:lnTo>
                    <a:pt x="71" y="7"/>
                  </a:lnTo>
                  <a:lnTo>
                    <a:pt x="73" y="5"/>
                  </a:lnTo>
                  <a:lnTo>
                    <a:pt x="77" y="3"/>
                  </a:lnTo>
                  <a:lnTo>
                    <a:pt x="79" y="3"/>
                  </a:lnTo>
                  <a:lnTo>
                    <a:pt x="80" y="5"/>
                  </a:lnTo>
                  <a:lnTo>
                    <a:pt x="80" y="7"/>
                  </a:lnTo>
                  <a:lnTo>
                    <a:pt x="82" y="12"/>
                  </a:lnTo>
                  <a:lnTo>
                    <a:pt x="83" y="14"/>
                  </a:lnTo>
                  <a:lnTo>
                    <a:pt x="86" y="17"/>
                  </a:lnTo>
                  <a:lnTo>
                    <a:pt x="88" y="21"/>
                  </a:lnTo>
                  <a:lnTo>
                    <a:pt x="89" y="28"/>
                  </a:lnTo>
                  <a:lnTo>
                    <a:pt x="93" y="3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6" name="Freeform 68">
              <a:extLst>
                <a:ext uri="{FF2B5EF4-FFF2-40B4-BE49-F238E27FC236}">
                  <a16:creationId xmlns:a16="http://schemas.microsoft.com/office/drawing/2014/main" id="{A94DABE4-9C6C-ED2B-982F-7DF0160DBA5D}"/>
                </a:ext>
              </a:extLst>
            </p:cNvPr>
            <p:cNvSpPr>
              <a:spLocks/>
            </p:cNvSpPr>
            <p:nvPr/>
          </p:nvSpPr>
          <p:spPr bwMode="auto">
            <a:xfrm>
              <a:off x="5031959" y="4702175"/>
              <a:ext cx="339725" cy="327025"/>
            </a:xfrm>
            <a:custGeom>
              <a:avLst/>
              <a:gdLst/>
              <a:ahLst/>
              <a:cxnLst>
                <a:cxn ang="0">
                  <a:pos x="101" y="4"/>
                </a:cxn>
                <a:cxn ang="0">
                  <a:pos x="137" y="31"/>
                </a:cxn>
                <a:cxn ang="0">
                  <a:pos x="159" y="46"/>
                </a:cxn>
                <a:cxn ang="0">
                  <a:pos x="174" y="59"/>
                </a:cxn>
                <a:cxn ang="0">
                  <a:pos x="183" y="69"/>
                </a:cxn>
                <a:cxn ang="0">
                  <a:pos x="191" y="70"/>
                </a:cxn>
                <a:cxn ang="0">
                  <a:pos x="199" y="72"/>
                </a:cxn>
                <a:cxn ang="0">
                  <a:pos x="200" y="82"/>
                </a:cxn>
                <a:cxn ang="0">
                  <a:pos x="214" y="89"/>
                </a:cxn>
                <a:cxn ang="0">
                  <a:pos x="214" y="114"/>
                </a:cxn>
                <a:cxn ang="0">
                  <a:pos x="207" y="132"/>
                </a:cxn>
                <a:cxn ang="0">
                  <a:pos x="188" y="135"/>
                </a:cxn>
                <a:cxn ang="0">
                  <a:pos x="173" y="139"/>
                </a:cxn>
                <a:cxn ang="0">
                  <a:pos x="162" y="140"/>
                </a:cxn>
                <a:cxn ang="0">
                  <a:pos x="152" y="138"/>
                </a:cxn>
                <a:cxn ang="0">
                  <a:pos x="137" y="145"/>
                </a:cxn>
                <a:cxn ang="0">
                  <a:pos x="132" y="151"/>
                </a:cxn>
                <a:cxn ang="0">
                  <a:pos x="125" y="150"/>
                </a:cxn>
                <a:cxn ang="0">
                  <a:pos x="116" y="162"/>
                </a:cxn>
                <a:cxn ang="0">
                  <a:pos x="110" y="162"/>
                </a:cxn>
                <a:cxn ang="0">
                  <a:pos x="104" y="163"/>
                </a:cxn>
                <a:cxn ang="0">
                  <a:pos x="98" y="179"/>
                </a:cxn>
                <a:cxn ang="0">
                  <a:pos x="91" y="182"/>
                </a:cxn>
                <a:cxn ang="0">
                  <a:pos x="89" y="193"/>
                </a:cxn>
                <a:cxn ang="0">
                  <a:pos x="87" y="201"/>
                </a:cxn>
                <a:cxn ang="0">
                  <a:pos x="82" y="204"/>
                </a:cxn>
                <a:cxn ang="0">
                  <a:pos x="78" y="201"/>
                </a:cxn>
                <a:cxn ang="0">
                  <a:pos x="75" y="198"/>
                </a:cxn>
                <a:cxn ang="0">
                  <a:pos x="69" y="204"/>
                </a:cxn>
                <a:cxn ang="0">
                  <a:pos x="61" y="201"/>
                </a:cxn>
                <a:cxn ang="0">
                  <a:pos x="52" y="199"/>
                </a:cxn>
                <a:cxn ang="0">
                  <a:pos x="46" y="185"/>
                </a:cxn>
                <a:cxn ang="0">
                  <a:pos x="43" y="176"/>
                </a:cxn>
                <a:cxn ang="0">
                  <a:pos x="36" y="176"/>
                </a:cxn>
                <a:cxn ang="0">
                  <a:pos x="28" y="179"/>
                </a:cxn>
                <a:cxn ang="0">
                  <a:pos x="21" y="180"/>
                </a:cxn>
                <a:cxn ang="0">
                  <a:pos x="11" y="176"/>
                </a:cxn>
                <a:cxn ang="0">
                  <a:pos x="10" y="174"/>
                </a:cxn>
                <a:cxn ang="0">
                  <a:pos x="8" y="163"/>
                </a:cxn>
                <a:cxn ang="0">
                  <a:pos x="2" y="157"/>
                </a:cxn>
                <a:cxn ang="0">
                  <a:pos x="0" y="144"/>
                </a:cxn>
                <a:cxn ang="0">
                  <a:pos x="5" y="137"/>
                </a:cxn>
                <a:cxn ang="0">
                  <a:pos x="10" y="131"/>
                </a:cxn>
                <a:cxn ang="0">
                  <a:pos x="17" y="138"/>
                </a:cxn>
                <a:cxn ang="0">
                  <a:pos x="19" y="135"/>
                </a:cxn>
                <a:cxn ang="0">
                  <a:pos x="27" y="135"/>
                </a:cxn>
                <a:cxn ang="0">
                  <a:pos x="38" y="133"/>
                </a:cxn>
                <a:cxn ang="0">
                  <a:pos x="89" y="123"/>
                </a:cxn>
                <a:cxn ang="0">
                  <a:pos x="83" y="95"/>
                </a:cxn>
                <a:cxn ang="0">
                  <a:pos x="79" y="57"/>
                </a:cxn>
                <a:cxn ang="0">
                  <a:pos x="92" y="1"/>
                </a:cxn>
              </a:cxnLst>
              <a:rect l="0" t="0" r="r" b="b"/>
              <a:pathLst>
                <a:path w="214" h="206">
                  <a:moveTo>
                    <a:pt x="95" y="0"/>
                  </a:moveTo>
                  <a:lnTo>
                    <a:pt x="96" y="1"/>
                  </a:lnTo>
                  <a:lnTo>
                    <a:pt x="101" y="4"/>
                  </a:lnTo>
                  <a:lnTo>
                    <a:pt x="113" y="13"/>
                  </a:lnTo>
                  <a:lnTo>
                    <a:pt x="118" y="17"/>
                  </a:lnTo>
                  <a:lnTo>
                    <a:pt x="137" y="31"/>
                  </a:lnTo>
                  <a:lnTo>
                    <a:pt x="149" y="39"/>
                  </a:lnTo>
                  <a:lnTo>
                    <a:pt x="156" y="44"/>
                  </a:lnTo>
                  <a:lnTo>
                    <a:pt x="159" y="46"/>
                  </a:lnTo>
                  <a:lnTo>
                    <a:pt x="173" y="55"/>
                  </a:lnTo>
                  <a:lnTo>
                    <a:pt x="174" y="57"/>
                  </a:lnTo>
                  <a:lnTo>
                    <a:pt x="174" y="59"/>
                  </a:lnTo>
                  <a:lnTo>
                    <a:pt x="174" y="60"/>
                  </a:lnTo>
                  <a:lnTo>
                    <a:pt x="176" y="62"/>
                  </a:lnTo>
                  <a:lnTo>
                    <a:pt x="183" y="69"/>
                  </a:lnTo>
                  <a:lnTo>
                    <a:pt x="184" y="69"/>
                  </a:lnTo>
                  <a:lnTo>
                    <a:pt x="187" y="67"/>
                  </a:lnTo>
                  <a:lnTo>
                    <a:pt x="191" y="70"/>
                  </a:lnTo>
                  <a:lnTo>
                    <a:pt x="193" y="71"/>
                  </a:lnTo>
                  <a:lnTo>
                    <a:pt x="197" y="71"/>
                  </a:lnTo>
                  <a:lnTo>
                    <a:pt x="199" y="72"/>
                  </a:lnTo>
                  <a:lnTo>
                    <a:pt x="200" y="74"/>
                  </a:lnTo>
                  <a:lnTo>
                    <a:pt x="201" y="78"/>
                  </a:lnTo>
                  <a:lnTo>
                    <a:pt x="200" y="82"/>
                  </a:lnTo>
                  <a:lnTo>
                    <a:pt x="201" y="86"/>
                  </a:lnTo>
                  <a:lnTo>
                    <a:pt x="214" y="83"/>
                  </a:lnTo>
                  <a:lnTo>
                    <a:pt x="214" y="89"/>
                  </a:lnTo>
                  <a:lnTo>
                    <a:pt x="214" y="103"/>
                  </a:lnTo>
                  <a:lnTo>
                    <a:pt x="214" y="109"/>
                  </a:lnTo>
                  <a:lnTo>
                    <a:pt x="214" y="114"/>
                  </a:lnTo>
                  <a:lnTo>
                    <a:pt x="213" y="120"/>
                  </a:lnTo>
                  <a:lnTo>
                    <a:pt x="210" y="128"/>
                  </a:lnTo>
                  <a:lnTo>
                    <a:pt x="207" y="132"/>
                  </a:lnTo>
                  <a:lnTo>
                    <a:pt x="205" y="134"/>
                  </a:lnTo>
                  <a:lnTo>
                    <a:pt x="203" y="135"/>
                  </a:lnTo>
                  <a:lnTo>
                    <a:pt x="188" y="135"/>
                  </a:lnTo>
                  <a:lnTo>
                    <a:pt x="178" y="136"/>
                  </a:lnTo>
                  <a:lnTo>
                    <a:pt x="177" y="137"/>
                  </a:lnTo>
                  <a:lnTo>
                    <a:pt x="173" y="139"/>
                  </a:lnTo>
                  <a:lnTo>
                    <a:pt x="170" y="141"/>
                  </a:lnTo>
                  <a:lnTo>
                    <a:pt x="166" y="140"/>
                  </a:lnTo>
                  <a:lnTo>
                    <a:pt x="162" y="140"/>
                  </a:lnTo>
                  <a:lnTo>
                    <a:pt x="156" y="139"/>
                  </a:lnTo>
                  <a:lnTo>
                    <a:pt x="154" y="138"/>
                  </a:lnTo>
                  <a:lnTo>
                    <a:pt x="152" y="138"/>
                  </a:lnTo>
                  <a:lnTo>
                    <a:pt x="150" y="138"/>
                  </a:lnTo>
                  <a:lnTo>
                    <a:pt x="143" y="143"/>
                  </a:lnTo>
                  <a:lnTo>
                    <a:pt x="137" y="145"/>
                  </a:lnTo>
                  <a:lnTo>
                    <a:pt x="135" y="147"/>
                  </a:lnTo>
                  <a:lnTo>
                    <a:pt x="134" y="152"/>
                  </a:lnTo>
                  <a:lnTo>
                    <a:pt x="132" y="151"/>
                  </a:lnTo>
                  <a:lnTo>
                    <a:pt x="130" y="150"/>
                  </a:lnTo>
                  <a:lnTo>
                    <a:pt x="127" y="149"/>
                  </a:lnTo>
                  <a:lnTo>
                    <a:pt x="125" y="150"/>
                  </a:lnTo>
                  <a:lnTo>
                    <a:pt x="122" y="153"/>
                  </a:lnTo>
                  <a:lnTo>
                    <a:pt x="119" y="158"/>
                  </a:lnTo>
                  <a:lnTo>
                    <a:pt x="116" y="162"/>
                  </a:lnTo>
                  <a:lnTo>
                    <a:pt x="115" y="164"/>
                  </a:lnTo>
                  <a:lnTo>
                    <a:pt x="113" y="164"/>
                  </a:lnTo>
                  <a:lnTo>
                    <a:pt x="110" y="162"/>
                  </a:lnTo>
                  <a:lnTo>
                    <a:pt x="108" y="161"/>
                  </a:lnTo>
                  <a:lnTo>
                    <a:pt x="106" y="161"/>
                  </a:lnTo>
                  <a:lnTo>
                    <a:pt x="104" y="163"/>
                  </a:lnTo>
                  <a:lnTo>
                    <a:pt x="102" y="170"/>
                  </a:lnTo>
                  <a:lnTo>
                    <a:pt x="100" y="177"/>
                  </a:lnTo>
                  <a:lnTo>
                    <a:pt x="98" y="179"/>
                  </a:lnTo>
                  <a:lnTo>
                    <a:pt x="95" y="181"/>
                  </a:lnTo>
                  <a:lnTo>
                    <a:pt x="92" y="182"/>
                  </a:lnTo>
                  <a:lnTo>
                    <a:pt x="91" y="182"/>
                  </a:lnTo>
                  <a:lnTo>
                    <a:pt x="90" y="183"/>
                  </a:lnTo>
                  <a:lnTo>
                    <a:pt x="90" y="188"/>
                  </a:lnTo>
                  <a:lnTo>
                    <a:pt x="89" y="193"/>
                  </a:lnTo>
                  <a:lnTo>
                    <a:pt x="88" y="198"/>
                  </a:lnTo>
                  <a:lnTo>
                    <a:pt x="87" y="200"/>
                  </a:lnTo>
                  <a:lnTo>
                    <a:pt x="87" y="201"/>
                  </a:lnTo>
                  <a:lnTo>
                    <a:pt x="86" y="201"/>
                  </a:lnTo>
                  <a:lnTo>
                    <a:pt x="85" y="202"/>
                  </a:lnTo>
                  <a:lnTo>
                    <a:pt x="82" y="204"/>
                  </a:lnTo>
                  <a:lnTo>
                    <a:pt x="80" y="205"/>
                  </a:lnTo>
                  <a:lnTo>
                    <a:pt x="79" y="204"/>
                  </a:lnTo>
                  <a:lnTo>
                    <a:pt x="78" y="201"/>
                  </a:lnTo>
                  <a:lnTo>
                    <a:pt x="78" y="200"/>
                  </a:lnTo>
                  <a:lnTo>
                    <a:pt x="77" y="198"/>
                  </a:lnTo>
                  <a:lnTo>
                    <a:pt x="75" y="198"/>
                  </a:lnTo>
                  <a:lnTo>
                    <a:pt x="74" y="199"/>
                  </a:lnTo>
                  <a:lnTo>
                    <a:pt x="71" y="201"/>
                  </a:lnTo>
                  <a:lnTo>
                    <a:pt x="69" y="204"/>
                  </a:lnTo>
                  <a:lnTo>
                    <a:pt x="67" y="206"/>
                  </a:lnTo>
                  <a:lnTo>
                    <a:pt x="64" y="203"/>
                  </a:lnTo>
                  <a:lnTo>
                    <a:pt x="61" y="201"/>
                  </a:lnTo>
                  <a:lnTo>
                    <a:pt x="59" y="201"/>
                  </a:lnTo>
                  <a:lnTo>
                    <a:pt x="56" y="205"/>
                  </a:lnTo>
                  <a:lnTo>
                    <a:pt x="52" y="199"/>
                  </a:lnTo>
                  <a:lnTo>
                    <a:pt x="51" y="192"/>
                  </a:lnTo>
                  <a:lnTo>
                    <a:pt x="49" y="188"/>
                  </a:lnTo>
                  <a:lnTo>
                    <a:pt x="46" y="185"/>
                  </a:lnTo>
                  <a:lnTo>
                    <a:pt x="45" y="183"/>
                  </a:lnTo>
                  <a:lnTo>
                    <a:pt x="43" y="178"/>
                  </a:lnTo>
                  <a:lnTo>
                    <a:pt x="43" y="176"/>
                  </a:lnTo>
                  <a:lnTo>
                    <a:pt x="42" y="174"/>
                  </a:lnTo>
                  <a:lnTo>
                    <a:pt x="40" y="174"/>
                  </a:lnTo>
                  <a:lnTo>
                    <a:pt x="36" y="176"/>
                  </a:lnTo>
                  <a:lnTo>
                    <a:pt x="34" y="178"/>
                  </a:lnTo>
                  <a:lnTo>
                    <a:pt x="31" y="180"/>
                  </a:lnTo>
                  <a:lnTo>
                    <a:pt x="28" y="179"/>
                  </a:lnTo>
                  <a:lnTo>
                    <a:pt x="26" y="178"/>
                  </a:lnTo>
                  <a:lnTo>
                    <a:pt x="24" y="177"/>
                  </a:lnTo>
                  <a:lnTo>
                    <a:pt x="21" y="180"/>
                  </a:lnTo>
                  <a:lnTo>
                    <a:pt x="20" y="182"/>
                  </a:lnTo>
                  <a:lnTo>
                    <a:pt x="17" y="180"/>
                  </a:lnTo>
                  <a:lnTo>
                    <a:pt x="11" y="176"/>
                  </a:lnTo>
                  <a:lnTo>
                    <a:pt x="10" y="174"/>
                  </a:lnTo>
                  <a:lnTo>
                    <a:pt x="9" y="174"/>
                  </a:lnTo>
                  <a:lnTo>
                    <a:pt x="10" y="174"/>
                  </a:lnTo>
                  <a:lnTo>
                    <a:pt x="10" y="170"/>
                  </a:lnTo>
                  <a:lnTo>
                    <a:pt x="9" y="165"/>
                  </a:lnTo>
                  <a:lnTo>
                    <a:pt x="8" y="163"/>
                  </a:lnTo>
                  <a:lnTo>
                    <a:pt x="5" y="161"/>
                  </a:lnTo>
                  <a:lnTo>
                    <a:pt x="3" y="160"/>
                  </a:lnTo>
                  <a:lnTo>
                    <a:pt x="2" y="157"/>
                  </a:lnTo>
                  <a:lnTo>
                    <a:pt x="2" y="153"/>
                  </a:lnTo>
                  <a:lnTo>
                    <a:pt x="0" y="146"/>
                  </a:lnTo>
                  <a:lnTo>
                    <a:pt x="0" y="144"/>
                  </a:lnTo>
                  <a:lnTo>
                    <a:pt x="3" y="142"/>
                  </a:lnTo>
                  <a:lnTo>
                    <a:pt x="5" y="140"/>
                  </a:lnTo>
                  <a:lnTo>
                    <a:pt x="5" y="137"/>
                  </a:lnTo>
                  <a:lnTo>
                    <a:pt x="6" y="133"/>
                  </a:lnTo>
                  <a:lnTo>
                    <a:pt x="8" y="132"/>
                  </a:lnTo>
                  <a:lnTo>
                    <a:pt x="10" y="131"/>
                  </a:lnTo>
                  <a:lnTo>
                    <a:pt x="12" y="132"/>
                  </a:lnTo>
                  <a:lnTo>
                    <a:pt x="15" y="137"/>
                  </a:lnTo>
                  <a:lnTo>
                    <a:pt x="17" y="138"/>
                  </a:lnTo>
                  <a:lnTo>
                    <a:pt x="19" y="138"/>
                  </a:lnTo>
                  <a:lnTo>
                    <a:pt x="20" y="137"/>
                  </a:lnTo>
                  <a:lnTo>
                    <a:pt x="19" y="135"/>
                  </a:lnTo>
                  <a:lnTo>
                    <a:pt x="20" y="134"/>
                  </a:lnTo>
                  <a:lnTo>
                    <a:pt x="23" y="134"/>
                  </a:lnTo>
                  <a:lnTo>
                    <a:pt x="27" y="135"/>
                  </a:lnTo>
                  <a:lnTo>
                    <a:pt x="30" y="135"/>
                  </a:lnTo>
                  <a:lnTo>
                    <a:pt x="32" y="135"/>
                  </a:lnTo>
                  <a:lnTo>
                    <a:pt x="38" y="133"/>
                  </a:lnTo>
                  <a:lnTo>
                    <a:pt x="49" y="133"/>
                  </a:lnTo>
                  <a:lnTo>
                    <a:pt x="87" y="133"/>
                  </a:lnTo>
                  <a:lnTo>
                    <a:pt x="89" y="123"/>
                  </a:lnTo>
                  <a:lnTo>
                    <a:pt x="85" y="119"/>
                  </a:lnTo>
                  <a:lnTo>
                    <a:pt x="84" y="109"/>
                  </a:lnTo>
                  <a:lnTo>
                    <a:pt x="83" y="95"/>
                  </a:lnTo>
                  <a:lnTo>
                    <a:pt x="81" y="78"/>
                  </a:lnTo>
                  <a:lnTo>
                    <a:pt x="80" y="67"/>
                  </a:lnTo>
                  <a:lnTo>
                    <a:pt x="79" y="57"/>
                  </a:lnTo>
                  <a:lnTo>
                    <a:pt x="74" y="7"/>
                  </a:lnTo>
                  <a:lnTo>
                    <a:pt x="73" y="2"/>
                  </a:lnTo>
                  <a:lnTo>
                    <a:pt x="92" y="1"/>
                  </a:lnTo>
                  <a:lnTo>
                    <a:pt x="9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7" name="Freeform 69">
              <a:extLst>
                <a:ext uri="{FF2B5EF4-FFF2-40B4-BE49-F238E27FC236}">
                  <a16:creationId xmlns:a16="http://schemas.microsoft.com/office/drawing/2014/main" id="{7C757576-E018-AFB2-129A-6D7E81309689}"/>
                </a:ext>
              </a:extLst>
            </p:cNvPr>
            <p:cNvSpPr>
              <a:spLocks/>
            </p:cNvSpPr>
            <p:nvPr/>
          </p:nvSpPr>
          <p:spPr bwMode="auto">
            <a:xfrm>
              <a:off x="5611396" y="4183063"/>
              <a:ext cx="79375" cy="77788"/>
            </a:xfrm>
            <a:custGeom>
              <a:avLst/>
              <a:gdLst/>
              <a:ahLst/>
              <a:cxnLst>
                <a:cxn ang="0">
                  <a:pos x="23" y="42"/>
                </a:cxn>
                <a:cxn ang="0">
                  <a:pos x="23" y="39"/>
                </a:cxn>
                <a:cxn ang="0">
                  <a:pos x="20" y="36"/>
                </a:cxn>
                <a:cxn ang="0">
                  <a:pos x="19" y="33"/>
                </a:cxn>
                <a:cxn ang="0">
                  <a:pos x="14" y="28"/>
                </a:cxn>
                <a:cxn ang="0">
                  <a:pos x="12" y="26"/>
                </a:cxn>
                <a:cxn ang="0">
                  <a:pos x="8" y="22"/>
                </a:cxn>
                <a:cxn ang="0">
                  <a:pos x="6" y="20"/>
                </a:cxn>
                <a:cxn ang="0">
                  <a:pos x="6" y="18"/>
                </a:cxn>
                <a:cxn ang="0">
                  <a:pos x="5" y="15"/>
                </a:cxn>
                <a:cxn ang="0">
                  <a:pos x="2" y="11"/>
                </a:cxn>
                <a:cxn ang="0">
                  <a:pos x="1" y="9"/>
                </a:cxn>
                <a:cxn ang="0">
                  <a:pos x="0" y="8"/>
                </a:cxn>
                <a:cxn ang="0">
                  <a:pos x="0" y="4"/>
                </a:cxn>
                <a:cxn ang="0">
                  <a:pos x="1" y="1"/>
                </a:cxn>
                <a:cxn ang="0">
                  <a:pos x="5" y="3"/>
                </a:cxn>
                <a:cxn ang="0">
                  <a:pos x="8" y="3"/>
                </a:cxn>
                <a:cxn ang="0">
                  <a:pos x="11" y="1"/>
                </a:cxn>
                <a:cxn ang="0">
                  <a:pos x="14" y="1"/>
                </a:cxn>
                <a:cxn ang="0">
                  <a:pos x="16" y="1"/>
                </a:cxn>
                <a:cxn ang="0">
                  <a:pos x="18" y="2"/>
                </a:cxn>
                <a:cxn ang="0">
                  <a:pos x="21" y="2"/>
                </a:cxn>
                <a:cxn ang="0">
                  <a:pos x="24" y="3"/>
                </a:cxn>
                <a:cxn ang="0">
                  <a:pos x="27" y="4"/>
                </a:cxn>
                <a:cxn ang="0">
                  <a:pos x="30" y="2"/>
                </a:cxn>
                <a:cxn ang="0">
                  <a:pos x="32" y="3"/>
                </a:cxn>
                <a:cxn ang="0">
                  <a:pos x="34" y="3"/>
                </a:cxn>
                <a:cxn ang="0">
                  <a:pos x="36" y="4"/>
                </a:cxn>
                <a:cxn ang="0">
                  <a:pos x="39" y="4"/>
                </a:cxn>
                <a:cxn ang="0">
                  <a:pos x="39" y="6"/>
                </a:cxn>
                <a:cxn ang="0">
                  <a:pos x="41" y="8"/>
                </a:cxn>
                <a:cxn ang="0">
                  <a:pos x="44" y="6"/>
                </a:cxn>
                <a:cxn ang="0">
                  <a:pos x="47" y="7"/>
                </a:cxn>
                <a:cxn ang="0">
                  <a:pos x="46" y="9"/>
                </a:cxn>
                <a:cxn ang="0">
                  <a:pos x="44" y="13"/>
                </a:cxn>
                <a:cxn ang="0">
                  <a:pos x="44" y="15"/>
                </a:cxn>
                <a:cxn ang="0">
                  <a:pos x="44" y="18"/>
                </a:cxn>
                <a:cxn ang="0">
                  <a:pos x="46" y="19"/>
                </a:cxn>
                <a:cxn ang="0">
                  <a:pos x="48" y="21"/>
                </a:cxn>
                <a:cxn ang="0">
                  <a:pos x="50" y="23"/>
                </a:cxn>
                <a:cxn ang="0">
                  <a:pos x="49" y="24"/>
                </a:cxn>
                <a:cxn ang="0">
                  <a:pos x="46" y="23"/>
                </a:cxn>
                <a:cxn ang="0">
                  <a:pos x="47" y="26"/>
                </a:cxn>
                <a:cxn ang="0">
                  <a:pos x="49" y="30"/>
                </a:cxn>
                <a:cxn ang="0">
                  <a:pos x="48" y="31"/>
                </a:cxn>
                <a:cxn ang="0">
                  <a:pos x="46" y="30"/>
                </a:cxn>
                <a:cxn ang="0">
                  <a:pos x="45" y="32"/>
                </a:cxn>
                <a:cxn ang="0">
                  <a:pos x="43" y="32"/>
                </a:cxn>
                <a:cxn ang="0">
                  <a:pos x="42" y="33"/>
                </a:cxn>
                <a:cxn ang="0">
                  <a:pos x="43" y="36"/>
                </a:cxn>
                <a:cxn ang="0">
                  <a:pos x="42" y="36"/>
                </a:cxn>
                <a:cxn ang="0">
                  <a:pos x="40" y="35"/>
                </a:cxn>
                <a:cxn ang="0">
                  <a:pos x="39" y="37"/>
                </a:cxn>
                <a:cxn ang="0">
                  <a:pos x="38" y="39"/>
                </a:cxn>
                <a:cxn ang="0">
                  <a:pos x="37" y="41"/>
                </a:cxn>
                <a:cxn ang="0">
                  <a:pos x="35" y="42"/>
                </a:cxn>
                <a:cxn ang="0">
                  <a:pos x="36" y="45"/>
                </a:cxn>
                <a:cxn ang="0">
                  <a:pos x="37" y="47"/>
                </a:cxn>
                <a:cxn ang="0">
                  <a:pos x="35" y="48"/>
                </a:cxn>
                <a:cxn ang="0">
                  <a:pos x="33" y="48"/>
                </a:cxn>
                <a:cxn ang="0">
                  <a:pos x="29" y="45"/>
                </a:cxn>
                <a:cxn ang="0">
                  <a:pos x="27" y="44"/>
                </a:cxn>
                <a:cxn ang="0">
                  <a:pos x="25" y="42"/>
                </a:cxn>
              </a:cxnLst>
              <a:rect l="0" t="0" r="r" b="b"/>
              <a:pathLst>
                <a:path w="50" h="49">
                  <a:moveTo>
                    <a:pt x="24" y="44"/>
                  </a:moveTo>
                  <a:lnTo>
                    <a:pt x="24" y="43"/>
                  </a:lnTo>
                  <a:lnTo>
                    <a:pt x="23" y="42"/>
                  </a:lnTo>
                  <a:lnTo>
                    <a:pt x="25" y="42"/>
                  </a:lnTo>
                  <a:lnTo>
                    <a:pt x="24" y="40"/>
                  </a:lnTo>
                  <a:lnTo>
                    <a:pt x="23" y="39"/>
                  </a:lnTo>
                  <a:lnTo>
                    <a:pt x="22" y="38"/>
                  </a:lnTo>
                  <a:lnTo>
                    <a:pt x="21" y="37"/>
                  </a:lnTo>
                  <a:lnTo>
                    <a:pt x="20" y="36"/>
                  </a:lnTo>
                  <a:lnTo>
                    <a:pt x="19" y="34"/>
                  </a:lnTo>
                  <a:lnTo>
                    <a:pt x="19" y="33"/>
                  </a:lnTo>
                  <a:lnTo>
                    <a:pt x="19" y="33"/>
                  </a:lnTo>
                  <a:lnTo>
                    <a:pt x="18" y="32"/>
                  </a:lnTo>
                  <a:lnTo>
                    <a:pt x="16" y="31"/>
                  </a:lnTo>
                  <a:lnTo>
                    <a:pt x="14" y="28"/>
                  </a:lnTo>
                  <a:lnTo>
                    <a:pt x="13" y="27"/>
                  </a:lnTo>
                  <a:lnTo>
                    <a:pt x="12" y="27"/>
                  </a:lnTo>
                  <a:lnTo>
                    <a:pt x="12" y="26"/>
                  </a:lnTo>
                  <a:lnTo>
                    <a:pt x="10" y="23"/>
                  </a:lnTo>
                  <a:lnTo>
                    <a:pt x="9" y="23"/>
                  </a:lnTo>
                  <a:lnTo>
                    <a:pt x="8" y="22"/>
                  </a:lnTo>
                  <a:lnTo>
                    <a:pt x="7" y="21"/>
                  </a:lnTo>
                  <a:lnTo>
                    <a:pt x="7" y="20"/>
                  </a:lnTo>
                  <a:lnTo>
                    <a:pt x="6" y="20"/>
                  </a:lnTo>
                  <a:lnTo>
                    <a:pt x="6" y="20"/>
                  </a:lnTo>
                  <a:lnTo>
                    <a:pt x="5" y="18"/>
                  </a:lnTo>
                  <a:lnTo>
                    <a:pt x="6" y="18"/>
                  </a:lnTo>
                  <a:lnTo>
                    <a:pt x="6" y="17"/>
                  </a:lnTo>
                  <a:lnTo>
                    <a:pt x="5" y="16"/>
                  </a:lnTo>
                  <a:lnTo>
                    <a:pt x="5" y="15"/>
                  </a:lnTo>
                  <a:lnTo>
                    <a:pt x="4" y="14"/>
                  </a:lnTo>
                  <a:lnTo>
                    <a:pt x="3" y="12"/>
                  </a:lnTo>
                  <a:lnTo>
                    <a:pt x="2" y="11"/>
                  </a:lnTo>
                  <a:lnTo>
                    <a:pt x="2" y="10"/>
                  </a:lnTo>
                  <a:lnTo>
                    <a:pt x="1" y="10"/>
                  </a:lnTo>
                  <a:lnTo>
                    <a:pt x="1" y="9"/>
                  </a:lnTo>
                  <a:lnTo>
                    <a:pt x="0" y="9"/>
                  </a:lnTo>
                  <a:lnTo>
                    <a:pt x="0" y="8"/>
                  </a:lnTo>
                  <a:lnTo>
                    <a:pt x="0" y="8"/>
                  </a:lnTo>
                  <a:lnTo>
                    <a:pt x="0" y="6"/>
                  </a:lnTo>
                  <a:lnTo>
                    <a:pt x="0" y="5"/>
                  </a:lnTo>
                  <a:lnTo>
                    <a:pt x="0" y="4"/>
                  </a:lnTo>
                  <a:lnTo>
                    <a:pt x="0" y="2"/>
                  </a:lnTo>
                  <a:lnTo>
                    <a:pt x="1" y="1"/>
                  </a:lnTo>
                  <a:lnTo>
                    <a:pt x="1" y="1"/>
                  </a:lnTo>
                  <a:lnTo>
                    <a:pt x="3" y="1"/>
                  </a:lnTo>
                  <a:lnTo>
                    <a:pt x="4" y="2"/>
                  </a:lnTo>
                  <a:lnTo>
                    <a:pt x="5" y="3"/>
                  </a:lnTo>
                  <a:lnTo>
                    <a:pt x="6" y="5"/>
                  </a:lnTo>
                  <a:lnTo>
                    <a:pt x="7" y="5"/>
                  </a:lnTo>
                  <a:lnTo>
                    <a:pt x="8" y="3"/>
                  </a:lnTo>
                  <a:lnTo>
                    <a:pt x="9" y="2"/>
                  </a:lnTo>
                  <a:lnTo>
                    <a:pt x="10" y="1"/>
                  </a:lnTo>
                  <a:lnTo>
                    <a:pt x="11" y="1"/>
                  </a:lnTo>
                  <a:lnTo>
                    <a:pt x="12" y="1"/>
                  </a:lnTo>
                  <a:lnTo>
                    <a:pt x="13" y="1"/>
                  </a:lnTo>
                  <a:lnTo>
                    <a:pt x="14" y="1"/>
                  </a:lnTo>
                  <a:lnTo>
                    <a:pt x="15" y="0"/>
                  </a:lnTo>
                  <a:lnTo>
                    <a:pt x="15" y="0"/>
                  </a:lnTo>
                  <a:lnTo>
                    <a:pt x="16" y="1"/>
                  </a:lnTo>
                  <a:lnTo>
                    <a:pt x="17" y="1"/>
                  </a:lnTo>
                  <a:lnTo>
                    <a:pt x="18" y="2"/>
                  </a:lnTo>
                  <a:lnTo>
                    <a:pt x="18" y="2"/>
                  </a:lnTo>
                  <a:lnTo>
                    <a:pt x="19" y="2"/>
                  </a:lnTo>
                  <a:lnTo>
                    <a:pt x="20" y="2"/>
                  </a:lnTo>
                  <a:lnTo>
                    <a:pt x="21" y="2"/>
                  </a:lnTo>
                  <a:lnTo>
                    <a:pt x="22" y="2"/>
                  </a:lnTo>
                  <a:lnTo>
                    <a:pt x="23" y="3"/>
                  </a:lnTo>
                  <a:lnTo>
                    <a:pt x="24" y="3"/>
                  </a:lnTo>
                  <a:lnTo>
                    <a:pt x="25" y="3"/>
                  </a:lnTo>
                  <a:lnTo>
                    <a:pt x="26" y="3"/>
                  </a:lnTo>
                  <a:lnTo>
                    <a:pt x="27" y="4"/>
                  </a:lnTo>
                  <a:lnTo>
                    <a:pt x="28" y="3"/>
                  </a:lnTo>
                  <a:lnTo>
                    <a:pt x="29" y="2"/>
                  </a:lnTo>
                  <a:lnTo>
                    <a:pt x="30" y="2"/>
                  </a:lnTo>
                  <a:lnTo>
                    <a:pt x="30" y="3"/>
                  </a:lnTo>
                  <a:lnTo>
                    <a:pt x="31" y="3"/>
                  </a:lnTo>
                  <a:lnTo>
                    <a:pt x="32" y="3"/>
                  </a:lnTo>
                  <a:lnTo>
                    <a:pt x="33" y="2"/>
                  </a:lnTo>
                  <a:lnTo>
                    <a:pt x="33" y="3"/>
                  </a:lnTo>
                  <a:lnTo>
                    <a:pt x="34" y="3"/>
                  </a:lnTo>
                  <a:lnTo>
                    <a:pt x="34" y="3"/>
                  </a:lnTo>
                  <a:lnTo>
                    <a:pt x="36" y="4"/>
                  </a:lnTo>
                  <a:lnTo>
                    <a:pt x="36" y="4"/>
                  </a:lnTo>
                  <a:lnTo>
                    <a:pt x="37" y="3"/>
                  </a:lnTo>
                  <a:lnTo>
                    <a:pt x="37" y="3"/>
                  </a:lnTo>
                  <a:lnTo>
                    <a:pt x="39" y="4"/>
                  </a:lnTo>
                  <a:lnTo>
                    <a:pt x="39" y="5"/>
                  </a:lnTo>
                  <a:lnTo>
                    <a:pt x="39" y="5"/>
                  </a:lnTo>
                  <a:lnTo>
                    <a:pt x="39" y="6"/>
                  </a:lnTo>
                  <a:lnTo>
                    <a:pt x="39" y="6"/>
                  </a:lnTo>
                  <a:lnTo>
                    <a:pt x="40" y="8"/>
                  </a:lnTo>
                  <a:lnTo>
                    <a:pt x="41" y="8"/>
                  </a:lnTo>
                  <a:lnTo>
                    <a:pt x="42" y="8"/>
                  </a:lnTo>
                  <a:lnTo>
                    <a:pt x="43" y="8"/>
                  </a:lnTo>
                  <a:lnTo>
                    <a:pt x="44" y="6"/>
                  </a:lnTo>
                  <a:lnTo>
                    <a:pt x="45" y="6"/>
                  </a:lnTo>
                  <a:lnTo>
                    <a:pt x="46" y="6"/>
                  </a:lnTo>
                  <a:lnTo>
                    <a:pt x="47" y="7"/>
                  </a:lnTo>
                  <a:lnTo>
                    <a:pt x="47" y="7"/>
                  </a:lnTo>
                  <a:lnTo>
                    <a:pt x="46" y="8"/>
                  </a:lnTo>
                  <a:lnTo>
                    <a:pt x="46" y="9"/>
                  </a:lnTo>
                  <a:lnTo>
                    <a:pt x="45" y="11"/>
                  </a:lnTo>
                  <a:lnTo>
                    <a:pt x="45" y="13"/>
                  </a:lnTo>
                  <a:lnTo>
                    <a:pt x="44" y="13"/>
                  </a:lnTo>
                  <a:lnTo>
                    <a:pt x="44" y="14"/>
                  </a:lnTo>
                  <a:lnTo>
                    <a:pt x="44" y="15"/>
                  </a:lnTo>
                  <a:lnTo>
                    <a:pt x="44" y="15"/>
                  </a:lnTo>
                  <a:lnTo>
                    <a:pt x="43" y="16"/>
                  </a:lnTo>
                  <a:lnTo>
                    <a:pt x="44" y="17"/>
                  </a:lnTo>
                  <a:lnTo>
                    <a:pt x="44" y="18"/>
                  </a:lnTo>
                  <a:lnTo>
                    <a:pt x="45" y="18"/>
                  </a:lnTo>
                  <a:lnTo>
                    <a:pt x="46" y="18"/>
                  </a:lnTo>
                  <a:lnTo>
                    <a:pt x="46" y="19"/>
                  </a:lnTo>
                  <a:lnTo>
                    <a:pt x="47" y="20"/>
                  </a:lnTo>
                  <a:lnTo>
                    <a:pt x="48" y="21"/>
                  </a:lnTo>
                  <a:lnTo>
                    <a:pt x="48" y="21"/>
                  </a:lnTo>
                  <a:lnTo>
                    <a:pt x="49" y="22"/>
                  </a:lnTo>
                  <a:lnTo>
                    <a:pt x="50" y="22"/>
                  </a:lnTo>
                  <a:lnTo>
                    <a:pt x="50" y="23"/>
                  </a:lnTo>
                  <a:lnTo>
                    <a:pt x="50" y="23"/>
                  </a:lnTo>
                  <a:lnTo>
                    <a:pt x="49" y="24"/>
                  </a:lnTo>
                  <a:lnTo>
                    <a:pt x="49" y="24"/>
                  </a:lnTo>
                  <a:lnTo>
                    <a:pt x="47" y="24"/>
                  </a:lnTo>
                  <a:lnTo>
                    <a:pt x="46" y="23"/>
                  </a:lnTo>
                  <a:lnTo>
                    <a:pt x="46" y="23"/>
                  </a:lnTo>
                  <a:lnTo>
                    <a:pt x="45" y="23"/>
                  </a:lnTo>
                  <a:lnTo>
                    <a:pt x="46" y="24"/>
                  </a:lnTo>
                  <a:lnTo>
                    <a:pt x="47" y="26"/>
                  </a:lnTo>
                  <a:lnTo>
                    <a:pt x="48" y="27"/>
                  </a:lnTo>
                  <a:lnTo>
                    <a:pt x="49" y="28"/>
                  </a:lnTo>
                  <a:lnTo>
                    <a:pt x="49" y="30"/>
                  </a:lnTo>
                  <a:lnTo>
                    <a:pt x="49" y="31"/>
                  </a:lnTo>
                  <a:lnTo>
                    <a:pt x="48" y="31"/>
                  </a:lnTo>
                  <a:lnTo>
                    <a:pt x="48" y="31"/>
                  </a:lnTo>
                  <a:lnTo>
                    <a:pt x="48" y="30"/>
                  </a:lnTo>
                  <a:lnTo>
                    <a:pt x="47" y="30"/>
                  </a:lnTo>
                  <a:lnTo>
                    <a:pt x="46" y="30"/>
                  </a:lnTo>
                  <a:lnTo>
                    <a:pt x="46" y="31"/>
                  </a:lnTo>
                  <a:lnTo>
                    <a:pt x="45" y="32"/>
                  </a:lnTo>
                  <a:lnTo>
                    <a:pt x="45" y="32"/>
                  </a:lnTo>
                  <a:lnTo>
                    <a:pt x="44" y="32"/>
                  </a:lnTo>
                  <a:lnTo>
                    <a:pt x="43" y="32"/>
                  </a:lnTo>
                  <a:lnTo>
                    <a:pt x="43" y="32"/>
                  </a:lnTo>
                  <a:lnTo>
                    <a:pt x="42" y="32"/>
                  </a:lnTo>
                  <a:lnTo>
                    <a:pt x="42" y="32"/>
                  </a:lnTo>
                  <a:lnTo>
                    <a:pt x="42" y="33"/>
                  </a:lnTo>
                  <a:lnTo>
                    <a:pt x="42" y="34"/>
                  </a:lnTo>
                  <a:lnTo>
                    <a:pt x="43" y="35"/>
                  </a:lnTo>
                  <a:lnTo>
                    <a:pt x="43" y="36"/>
                  </a:lnTo>
                  <a:lnTo>
                    <a:pt x="43" y="37"/>
                  </a:lnTo>
                  <a:lnTo>
                    <a:pt x="42" y="37"/>
                  </a:lnTo>
                  <a:lnTo>
                    <a:pt x="42" y="36"/>
                  </a:lnTo>
                  <a:lnTo>
                    <a:pt x="42" y="36"/>
                  </a:lnTo>
                  <a:lnTo>
                    <a:pt x="41" y="35"/>
                  </a:lnTo>
                  <a:lnTo>
                    <a:pt x="40" y="35"/>
                  </a:lnTo>
                  <a:lnTo>
                    <a:pt x="40" y="36"/>
                  </a:lnTo>
                  <a:lnTo>
                    <a:pt x="39" y="36"/>
                  </a:lnTo>
                  <a:lnTo>
                    <a:pt x="39" y="37"/>
                  </a:lnTo>
                  <a:lnTo>
                    <a:pt x="38" y="38"/>
                  </a:lnTo>
                  <a:lnTo>
                    <a:pt x="37" y="39"/>
                  </a:lnTo>
                  <a:lnTo>
                    <a:pt x="38" y="39"/>
                  </a:lnTo>
                  <a:lnTo>
                    <a:pt x="38" y="40"/>
                  </a:lnTo>
                  <a:lnTo>
                    <a:pt x="37" y="41"/>
                  </a:lnTo>
                  <a:lnTo>
                    <a:pt x="37" y="41"/>
                  </a:lnTo>
                  <a:lnTo>
                    <a:pt x="36" y="41"/>
                  </a:lnTo>
                  <a:lnTo>
                    <a:pt x="35" y="41"/>
                  </a:lnTo>
                  <a:lnTo>
                    <a:pt x="35" y="42"/>
                  </a:lnTo>
                  <a:lnTo>
                    <a:pt x="35" y="44"/>
                  </a:lnTo>
                  <a:lnTo>
                    <a:pt x="36" y="45"/>
                  </a:lnTo>
                  <a:lnTo>
                    <a:pt x="36" y="45"/>
                  </a:lnTo>
                  <a:lnTo>
                    <a:pt x="36" y="46"/>
                  </a:lnTo>
                  <a:lnTo>
                    <a:pt x="36" y="47"/>
                  </a:lnTo>
                  <a:lnTo>
                    <a:pt x="37" y="47"/>
                  </a:lnTo>
                  <a:lnTo>
                    <a:pt x="36" y="48"/>
                  </a:lnTo>
                  <a:lnTo>
                    <a:pt x="35" y="49"/>
                  </a:lnTo>
                  <a:lnTo>
                    <a:pt x="35" y="48"/>
                  </a:lnTo>
                  <a:lnTo>
                    <a:pt x="34" y="48"/>
                  </a:lnTo>
                  <a:lnTo>
                    <a:pt x="33" y="48"/>
                  </a:lnTo>
                  <a:lnTo>
                    <a:pt x="33" y="48"/>
                  </a:lnTo>
                  <a:lnTo>
                    <a:pt x="32" y="48"/>
                  </a:lnTo>
                  <a:lnTo>
                    <a:pt x="31" y="46"/>
                  </a:lnTo>
                  <a:lnTo>
                    <a:pt x="29" y="45"/>
                  </a:lnTo>
                  <a:lnTo>
                    <a:pt x="28" y="45"/>
                  </a:lnTo>
                  <a:lnTo>
                    <a:pt x="27" y="44"/>
                  </a:lnTo>
                  <a:lnTo>
                    <a:pt x="27" y="44"/>
                  </a:lnTo>
                  <a:lnTo>
                    <a:pt x="27" y="43"/>
                  </a:lnTo>
                  <a:lnTo>
                    <a:pt x="26" y="43"/>
                  </a:lnTo>
                  <a:lnTo>
                    <a:pt x="25" y="42"/>
                  </a:lnTo>
                  <a:lnTo>
                    <a:pt x="24" y="4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8" name="Freeform 70">
              <a:extLst>
                <a:ext uri="{FF2B5EF4-FFF2-40B4-BE49-F238E27FC236}">
                  <a16:creationId xmlns:a16="http://schemas.microsoft.com/office/drawing/2014/main" id="{96BE33AF-0763-3B0A-AC26-32CB2F92CB1F}"/>
                </a:ext>
              </a:extLst>
            </p:cNvPr>
            <p:cNvSpPr>
              <a:spLocks/>
            </p:cNvSpPr>
            <p:nvPr/>
          </p:nvSpPr>
          <p:spPr bwMode="auto">
            <a:xfrm>
              <a:off x="5765384" y="3824288"/>
              <a:ext cx="196850" cy="171450"/>
            </a:xfrm>
            <a:custGeom>
              <a:avLst/>
              <a:gdLst/>
              <a:ahLst/>
              <a:cxnLst>
                <a:cxn ang="0">
                  <a:pos x="9" y="51"/>
                </a:cxn>
                <a:cxn ang="0">
                  <a:pos x="15" y="52"/>
                </a:cxn>
                <a:cxn ang="0">
                  <a:pos x="21" y="48"/>
                </a:cxn>
                <a:cxn ang="0">
                  <a:pos x="26" y="45"/>
                </a:cxn>
                <a:cxn ang="0">
                  <a:pos x="30" y="43"/>
                </a:cxn>
                <a:cxn ang="0">
                  <a:pos x="33" y="44"/>
                </a:cxn>
                <a:cxn ang="0">
                  <a:pos x="31" y="39"/>
                </a:cxn>
                <a:cxn ang="0">
                  <a:pos x="33" y="31"/>
                </a:cxn>
                <a:cxn ang="0">
                  <a:pos x="39" y="27"/>
                </a:cxn>
                <a:cxn ang="0">
                  <a:pos x="43" y="23"/>
                </a:cxn>
                <a:cxn ang="0">
                  <a:pos x="46" y="21"/>
                </a:cxn>
                <a:cxn ang="0">
                  <a:pos x="43" y="17"/>
                </a:cxn>
                <a:cxn ang="0">
                  <a:pos x="45" y="10"/>
                </a:cxn>
                <a:cxn ang="0">
                  <a:pos x="49" y="8"/>
                </a:cxn>
                <a:cxn ang="0">
                  <a:pos x="57" y="9"/>
                </a:cxn>
                <a:cxn ang="0">
                  <a:pos x="61" y="2"/>
                </a:cxn>
                <a:cxn ang="0">
                  <a:pos x="67" y="2"/>
                </a:cxn>
                <a:cxn ang="0">
                  <a:pos x="72" y="4"/>
                </a:cxn>
                <a:cxn ang="0">
                  <a:pos x="80" y="4"/>
                </a:cxn>
                <a:cxn ang="0">
                  <a:pos x="80" y="9"/>
                </a:cxn>
                <a:cxn ang="0">
                  <a:pos x="86" y="9"/>
                </a:cxn>
                <a:cxn ang="0">
                  <a:pos x="92" y="7"/>
                </a:cxn>
                <a:cxn ang="0">
                  <a:pos x="98" y="13"/>
                </a:cxn>
                <a:cxn ang="0">
                  <a:pos x="100" y="16"/>
                </a:cxn>
                <a:cxn ang="0">
                  <a:pos x="102" y="25"/>
                </a:cxn>
                <a:cxn ang="0">
                  <a:pos x="99" y="28"/>
                </a:cxn>
                <a:cxn ang="0">
                  <a:pos x="102" y="35"/>
                </a:cxn>
                <a:cxn ang="0">
                  <a:pos x="103" y="38"/>
                </a:cxn>
                <a:cxn ang="0">
                  <a:pos x="110" y="46"/>
                </a:cxn>
                <a:cxn ang="0">
                  <a:pos x="112" y="53"/>
                </a:cxn>
                <a:cxn ang="0">
                  <a:pos x="121" y="55"/>
                </a:cxn>
                <a:cxn ang="0">
                  <a:pos x="122" y="60"/>
                </a:cxn>
                <a:cxn ang="0">
                  <a:pos x="121" y="64"/>
                </a:cxn>
                <a:cxn ang="0">
                  <a:pos x="111" y="67"/>
                </a:cxn>
                <a:cxn ang="0">
                  <a:pos x="106" y="71"/>
                </a:cxn>
                <a:cxn ang="0">
                  <a:pos x="109" y="79"/>
                </a:cxn>
                <a:cxn ang="0">
                  <a:pos x="110" y="86"/>
                </a:cxn>
                <a:cxn ang="0">
                  <a:pos x="109" y="90"/>
                </a:cxn>
                <a:cxn ang="0">
                  <a:pos x="101" y="91"/>
                </a:cxn>
                <a:cxn ang="0">
                  <a:pos x="95" y="100"/>
                </a:cxn>
                <a:cxn ang="0">
                  <a:pos x="95" y="107"/>
                </a:cxn>
                <a:cxn ang="0">
                  <a:pos x="90" y="103"/>
                </a:cxn>
                <a:cxn ang="0">
                  <a:pos x="83" y="104"/>
                </a:cxn>
                <a:cxn ang="0">
                  <a:pos x="78" y="102"/>
                </a:cxn>
                <a:cxn ang="0">
                  <a:pos x="73" y="103"/>
                </a:cxn>
                <a:cxn ang="0">
                  <a:pos x="68" y="102"/>
                </a:cxn>
                <a:cxn ang="0">
                  <a:pos x="62" y="102"/>
                </a:cxn>
                <a:cxn ang="0">
                  <a:pos x="58" y="103"/>
                </a:cxn>
                <a:cxn ang="0">
                  <a:pos x="53" y="100"/>
                </a:cxn>
                <a:cxn ang="0">
                  <a:pos x="46" y="97"/>
                </a:cxn>
                <a:cxn ang="0">
                  <a:pos x="36" y="94"/>
                </a:cxn>
                <a:cxn ang="0">
                  <a:pos x="23" y="94"/>
                </a:cxn>
                <a:cxn ang="0">
                  <a:pos x="14" y="98"/>
                </a:cxn>
                <a:cxn ang="0">
                  <a:pos x="5" y="100"/>
                </a:cxn>
                <a:cxn ang="0">
                  <a:pos x="6" y="91"/>
                </a:cxn>
                <a:cxn ang="0">
                  <a:pos x="0" y="84"/>
                </a:cxn>
                <a:cxn ang="0">
                  <a:pos x="10" y="73"/>
                </a:cxn>
              </a:cxnLst>
              <a:rect l="0" t="0" r="r" b="b"/>
              <a:pathLst>
                <a:path w="124" h="108">
                  <a:moveTo>
                    <a:pt x="4" y="51"/>
                  </a:moveTo>
                  <a:lnTo>
                    <a:pt x="5" y="51"/>
                  </a:lnTo>
                  <a:lnTo>
                    <a:pt x="6" y="51"/>
                  </a:lnTo>
                  <a:lnTo>
                    <a:pt x="8" y="51"/>
                  </a:lnTo>
                  <a:lnTo>
                    <a:pt x="9" y="51"/>
                  </a:lnTo>
                  <a:lnTo>
                    <a:pt x="11" y="51"/>
                  </a:lnTo>
                  <a:lnTo>
                    <a:pt x="12" y="50"/>
                  </a:lnTo>
                  <a:lnTo>
                    <a:pt x="13" y="51"/>
                  </a:lnTo>
                  <a:lnTo>
                    <a:pt x="14" y="52"/>
                  </a:lnTo>
                  <a:lnTo>
                    <a:pt x="15" y="52"/>
                  </a:lnTo>
                  <a:lnTo>
                    <a:pt x="18" y="50"/>
                  </a:lnTo>
                  <a:lnTo>
                    <a:pt x="19" y="49"/>
                  </a:lnTo>
                  <a:lnTo>
                    <a:pt x="20" y="50"/>
                  </a:lnTo>
                  <a:lnTo>
                    <a:pt x="21" y="49"/>
                  </a:lnTo>
                  <a:lnTo>
                    <a:pt x="21" y="48"/>
                  </a:lnTo>
                  <a:lnTo>
                    <a:pt x="20" y="47"/>
                  </a:lnTo>
                  <a:lnTo>
                    <a:pt x="22" y="46"/>
                  </a:lnTo>
                  <a:lnTo>
                    <a:pt x="23" y="46"/>
                  </a:lnTo>
                  <a:lnTo>
                    <a:pt x="24" y="46"/>
                  </a:lnTo>
                  <a:lnTo>
                    <a:pt x="26" y="45"/>
                  </a:lnTo>
                  <a:lnTo>
                    <a:pt x="26" y="43"/>
                  </a:lnTo>
                  <a:lnTo>
                    <a:pt x="27" y="44"/>
                  </a:lnTo>
                  <a:lnTo>
                    <a:pt x="28" y="43"/>
                  </a:lnTo>
                  <a:lnTo>
                    <a:pt x="29" y="42"/>
                  </a:lnTo>
                  <a:lnTo>
                    <a:pt x="30" y="43"/>
                  </a:lnTo>
                  <a:lnTo>
                    <a:pt x="30" y="44"/>
                  </a:lnTo>
                  <a:lnTo>
                    <a:pt x="30" y="45"/>
                  </a:lnTo>
                  <a:lnTo>
                    <a:pt x="31" y="46"/>
                  </a:lnTo>
                  <a:lnTo>
                    <a:pt x="33" y="46"/>
                  </a:lnTo>
                  <a:lnTo>
                    <a:pt x="33" y="44"/>
                  </a:lnTo>
                  <a:lnTo>
                    <a:pt x="33" y="42"/>
                  </a:lnTo>
                  <a:lnTo>
                    <a:pt x="32" y="42"/>
                  </a:lnTo>
                  <a:lnTo>
                    <a:pt x="30" y="42"/>
                  </a:lnTo>
                  <a:lnTo>
                    <a:pt x="31" y="40"/>
                  </a:lnTo>
                  <a:lnTo>
                    <a:pt x="31" y="39"/>
                  </a:lnTo>
                  <a:lnTo>
                    <a:pt x="31" y="38"/>
                  </a:lnTo>
                  <a:lnTo>
                    <a:pt x="33" y="36"/>
                  </a:lnTo>
                  <a:lnTo>
                    <a:pt x="33" y="35"/>
                  </a:lnTo>
                  <a:lnTo>
                    <a:pt x="32" y="33"/>
                  </a:lnTo>
                  <a:lnTo>
                    <a:pt x="33" y="31"/>
                  </a:lnTo>
                  <a:lnTo>
                    <a:pt x="33" y="30"/>
                  </a:lnTo>
                  <a:lnTo>
                    <a:pt x="34" y="29"/>
                  </a:lnTo>
                  <a:lnTo>
                    <a:pt x="35" y="27"/>
                  </a:lnTo>
                  <a:lnTo>
                    <a:pt x="37" y="27"/>
                  </a:lnTo>
                  <a:lnTo>
                    <a:pt x="39" y="27"/>
                  </a:lnTo>
                  <a:lnTo>
                    <a:pt x="39" y="25"/>
                  </a:lnTo>
                  <a:lnTo>
                    <a:pt x="40" y="24"/>
                  </a:lnTo>
                  <a:lnTo>
                    <a:pt x="41" y="23"/>
                  </a:lnTo>
                  <a:lnTo>
                    <a:pt x="42" y="24"/>
                  </a:lnTo>
                  <a:lnTo>
                    <a:pt x="43" y="23"/>
                  </a:lnTo>
                  <a:lnTo>
                    <a:pt x="44" y="24"/>
                  </a:lnTo>
                  <a:lnTo>
                    <a:pt x="45" y="24"/>
                  </a:lnTo>
                  <a:lnTo>
                    <a:pt x="45" y="22"/>
                  </a:lnTo>
                  <a:lnTo>
                    <a:pt x="45" y="21"/>
                  </a:lnTo>
                  <a:lnTo>
                    <a:pt x="46" y="21"/>
                  </a:lnTo>
                  <a:lnTo>
                    <a:pt x="47" y="20"/>
                  </a:lnTo>
                  <a:lnTo>
                    <a:pt x="46" y="19"/>
                  </a:lnTo>
                  <a:lnTo>
                    <a:pt x="44" y="19"/>
                  </a:lnTo>
                  <a:lnTo>
                    <a:pt x="42" y="19"/>
                  </a:lnTo>
                  <a:lnTo>
                    <a:pt x="43" y="17"/>
                  </a:lnTo>
                  <a:lnTo>
                    <a:pt x="44" y="16"/>
                  </a:lnTo>
                  <a:lnTo>
                    <a:pt x="44" y="15"/>
                  </a:lnTo>
                  <a:lnTo>
                    <a:pt x="44" y="13"/>
                  </a:lnTo>
                  <a:lnTo>
                    <a:pt x="44" y="11"/>
                  </a:lnTo>
                  <a:lnTo>
                    <a:pt x="45" y="10"/>
                  </a:lnTo>
                  <a:lnTo>
                    <a:pt x="45" y="11"/>
                  </a:lnTo>
                  <a:lnTo>
                    <a:pt x="46" y="11"/>
                  </a:lnTo>
                  <a:lnTo>
                    <a:pt x="48" y="10"/>
                  </a:lnTo>
                  <a:lnTo>
                    <a:pt x="48" y="9"/>
                  </a:lnTo>
                  <a:lnTo>
                    <a:pt x="49" y="8"/>
                  </a:lnTo>
                  <a:lnTo>
                    <a:pt x="51" y="8"/>
                  </a:lnTo>
                  <a:lnTo>
                    <a:pt x="53" y="8"/>
                  </a:lnTo>
                  <a:lnTo>
                    <a:pt x="55" y="9"/>
                  </a:lnTo>
                  <a:lnTo>
                    <a:pt x="56" y="9"/>
                  </a:lnTo>
                  <a:lnTo>
                    <a:pt x="57" y="9"/>
                  </a:lnTo>
                  <a:lnTo>
                    <a:pt x="57" y="6"/>
                  </a:lnTo>
                  <a:lnTo>
                    <a:pt x="58" y="5"/>
                  </a:lnTo>
                  <a:lnTo>
                    <a:pt x="59" y="4"/>
                  </a:lnTo>
                  <a:lnTo>
                    <a:pt x="60" y="3"/>
                  </a:lnTo>
                  <a:lnTo>
                    <a:pt x="61" y="2"/>
                  </a:lnTo>
                  <a:lnTo>
                    <a:pt x="62" y="1"/>
                  </a:lnTo>
                  <a:lnTo>
                    <a:pt x="63" y="1"/>
                  </a:lnTo>
                  <a:lnTo>
                    <a:pt x="65" y="0"/>
                  </a:lnTo>
                  <a:lnTo>
                    <a:pt x="65" y="1"/>
                  </a:lnTo>
                  <a:lnTo>
                    <a:pt x="67" y="2"/>
                  </a:lnTo>
                  <a:lnTo>
                    <a:pt x="68" y="1"/>
                  </a:lnTo>
                  <a:lnTo>
                    <a:pt x="69" y="1"/>
                  </a:lnTo>
                  <a:lnTo>
                    <a:pt x="71" y="1"/>
                  </a:lnTo>
                  <a:lnTo>
                    <a:pt x="72" y="3"/>
                  </a:lnTo>
                  <a:lnTo>
                    <a:pt x="72" y="4"/>
                  </a:lnTo>
                  <a:lnTo>
                    <a:pt x="73" y="4"/>
                  </a:lnTo>
                  <a:lnTo>
                    <a:pt x="75" y="3"/>
                  </a:lnTo>
                  <a:lnTo>
                    <a:pt x="77" y="3"/>
                  </a:lnTo>
                  <a:lnTo>
                    <a:pt x="78" y="3"/>
                  </a:lnTo>
                  <a:lnTo>
                    <a:pt x="80" y="4"/>
                  </a:lnTo>
                  <a:lnTo>
                    <a:pt x="81" y="4"/>
                  </a:lnTo>
                  <a:lnTo>
                    <a:pt x="81" y="6"/>
                  </a:lnTo>
                  <a:lnTo>
                    <a:pt x="80" y="7"/>
                  </a:lnTo>
                  <a:lnTo>
                    <a:pt x="80" y="8"/>
                  </a:lnTo>
                  <a:lnTo>
                    <a:pt x="80" y="9"/>
                  </a:lnTo>
                  <a:lnTo>
                    <a:pt x="81" y="11"/>
                  </a:lnTo>
                  <a:lnTo>
                    <a:pt x="83" y="11"/>
                  </a:lnTo>
                  <a:lnTo>
                    <a:pt x="84" y="9"/>
                  </a:lnTo>
                  <a:lnTo>
                    <a:pt x="86" y="9"/>
                  </a:lnTo>
                  <a:lnTo>
                    <a:pt x="86" y="9"/>
                  </a:lnTo>
                  <a:lnTo>
                    <a:pt x="87" y="7"/>
                  </a:lnTo>
                  <a:lnTo>
                    <a:pt x="89" y="7"/>
                  </a:lnTo>
                  <a:lnTo>
                    <a:pt x="89" y="7"/>
                  </a:lnTo>
                  <a:lnTo>
                    <a:pt x="90" y="8"/>
                  </a:lnTo>
                  <a:lnTo>
                    <a:pt x="92" y="7"/>
                  </a:lnTo>
                  <a:lnTo>
                    <a:pt x="95" y="8"/>
                  </a:lnTo>
                  <a:lnTo>
                    <a:pt x="95" y="10"/>
                  </a:lnTo>
                  <a:lnTo>
                    <a:pt x="97" y="11"/>
                  </a:lnTo>
                  <a:lnTo>
                    <a:pt x="98" y="12"/>
                  </a:lnTo>
                  <a:lnTo>
                    <a:pt x="98" y="13"/>
                  </a:lnTo>
                  <a:lnTo>
                    <a:pt x="99" y="13"/>
                  </a:lnTo>
                  <a:lnTo>
                    <a:pt x="100" y="13"/>
                  </a:lnTo>
                  <a:lnTo>
                    <a:pt x="101" y="14"/>
                  </a:lnTo>
                  <a:lnTo>
                    <a:pt x="100" y="15"/>
                  </a:lnTo>
                  <a:lnTo>
                    <a:pt x="100" y="16"/>
                  </a:lnTo>
                  <a:lnTo>
                    <a:pt x="100" y="18"/>
                  </a:lnTo>
                  <a:lnTo>
                    <a:pt x="99" y="19"/>
                  </a:lnTo>
                  <a:lnTo>
                    <a:pt x="101" y="22"/>
                  </a:lnTo>
                  <a:lnTo>
                    <a:pt x="101" y="23"/>
                  </a:lnTo>
                  <a:lnTo>
                    <a:pt x="102" y="25"/>
                  </a:lnTo>
                  <a:lnTo>
                    <a:pt x="101" y="26"/>
                  </a:lnTo>
                  <a:lnTo>
                    <a:pt x="101" y="26"/>
                  </a:lnTo>
                  <a:lnTo>
                    <a:pt x="101" y="27"/>
                  </a:lnTo>
                  <a:lnTo>
                    <a:pt x="100" y="28"/>
                  </a:lnTo>
                  <a:lnTo>
                    <a:pt x="99" y="28"/>
                  </a:lnTo>
                  <a:lnTo>
                    <a:pt x="99" y="30"/>
                  </a:lnTo>
                  <a:lnTo>
                    <a:pt x="99" y="31"/>
                  </a:lnTo>
                  <a:lnTo>
                    <a:pt x="101" y="32"/>
                  </a:lnTo>
                  <a:lnTo>
                    <a:pt x="102" y="34"/>
                  </a:lnTo>
                  <a:lnTo>
                    <a:pt x="102" y="35"/>
                  </a:lnTo>
                  <a:lnTo>
                    <a:pt x="103" y="34"/>
                  </a:lnTo>
                  <a:lnTo>
                    <a:pt x="104" y="35"/>
                  </a:lnTo>
                  <a:lnTo>
                    <a:pt x="103" y="36"/>
                  </a:lnTo>
                  <a:lnTo>
                    <a:pt x="103" y="37"/>
                  </a:lnTo>
                  <a:lnTo>
                    <a:pt x="103" y="38"/>
                  </a:lnTo>
                  <a:lnTo>
                    <a:pt x="104" y="39"/>
                  </a:lnTo>
                  <a:lnTo>
                    <a:pt x="105" y="41"/>
                  </a:lnTo>
                  <a:lnTo>
                    <a:pt x="106" y="43"/>
                  </a:lnTo>
                  <a:lnTo>
                    <a:pt x="108" y="46"/>
                  </a:lnTo>
                  <a:lnTo>
                    <a:pt x="110" y="46"/>
                  </a:lnTo>
                  <a:lnTo>
                    <a:pt x="111" y="47"/>
                  </a:lnTo>
                  <a:lnTo>
                    <a:pt x="113" y="48"/>
                  </a:lnTo>
                  <a:lnTo>
                    <a:pt x="113" y="49"/>
                  </a:lnTo>
                  <a:lnTo>
                    <a:pt x="112" y="51"/>
                  </a:lnTo>
                  <a:lnTo>
                    <a:pt x="112" y="53"/>
                  </a:lnTo>
                  <a:lnTo>
                    <a:pt x="113" y="54"/>
                  </a:lnTo>
                  <a:lnTo>
                    <a:pt x="115" y="53"/>
                  </a:lnTo>
                  <a:lnTo>
                    <a:pt x="117" y="54"/>
                  </a:lnTo>
                  <a:lnTo>
                    <a:pt x="119" y="55"/>
                  </a:lnTo>
                  <a:lnTo>
                    <a:pt x="121" y="55"/>
                  </a:lnTo>
                  <a:lnTo>
                    <a:pt x="121" y="56"/>
                  </a:lnTo>
                  <a:lnTo>
                    <a:pt x="120" y="57"/>
                  </a:lnTo>
                  <a:lnTo>
                    <a:pt x="120" y="57"/>
                  </a:lnTo>
                  <a:lnTo>
                    <a:pt x="120" y="59"/>
                  </a:lnTo>
                  <a:lnTo>
                    <a:pt x="122" y="60"/>
                  </a:lnTo>
                  <a:lnTo>
                    <a:pt x="124" y="61"/>
                  </a:lnTo>
                  <a:lnTo>
                    <a:pt x="124" y="62"/>
                  </a:lnTo>
                  <a:lnTo>
                    <a:pt x="124" y="64"/>
                  </a:lnTo>
                  <a:lnTo>
                    <a:pt x="122" y="64"/>
                  </a:lnTo>
                  <a:lnTo>
                    <a:pt x="121" y="64"/>
                  </a:lnTo>
                  <a:lnTo>
                    <a:pt x="121" y="65"/>
                  </a:lnTo>
                  <a:lnTo>
                    <a:pt x="118" y="67"/>
                  </a:lnTo>
                  <a:lnTo>
                    <a:pt x="115" y="69"/>
                  </a:lnTo>
                  <a:lnTo>
                    <a:pt x="112" y="69"/>
                  </a:lnTo>
                  <a:lnTo>
                    <a:pt x="111" y="67"/>
                  </a:lnTo>
                  <a:lnTo>
                    <a:pt x="109" y="67"/>
                  </a:lnTo>
                  <a:lnTo>
                    <a:pt x="107" y="67"/>
                  </a:lnTo>
                  <a:lnTo>
                    <a:pt x="106" y="69"/>
                  </a:lnTo>
                  <a:lnTo>
                    <a:pt x="105" y="70"/>
                  </a:lnTo>
                  <a:lnTo>
                    <a:pt x="106" y="71"/>
                  </a:lnTo>
                  <a:lnTo>
                    <a:pt x="107" y="74"/>
                  </a:lnTo>
                  <a:lnTo>
                    <a:pt x="109" y="75"/>
                  </a:lnTo>
                  <a:lnTo>
                    <a:pt x="109" y="77"/>
                  </a:lnTo>
                  <a:lnTo>
                    <a:pt x="108" y="78"/>
                  </a:lnTo>
                  <a:lnTo>
                    <a:pt x="109" y="79"/>
                  </a:lnTo>
                  <a:lnTo>
                    <a:pt x="110" y="81"/>
                  </a:lnTo>
                  <a:lnTo>
                    <a:pt x="109" y="81"/>
                  </a:lnTo>
                  <a:lnTo>
                    <a:pt x="110" y="83"/>
                  </a:lnTo>
                  <a:lnTo>
                    <a:pt x="110" y="85"/>
                  </a:lnTo>
                  <a:lnTo>
                    <a:pt x="110" y="86"/>
                  </a:lnTo>
                  <a:lnTo>
                    <a:pt x="110" y="87"/>
                  </a:lnTo>
                  <a:lnTo>
                    <a:pt x="111" y="88"/>
                  </a:lnTo>
                  <a:lnTo>
                    <a:pt x="112" y="88"/>
                  </a:lnTo>
                  <a:lnTo>
                    <a:pt x="112" y="90"/>
                  </a:lnTo>
                  <a:lnTo>
                    <a:pt x="109" y="90"/>
                  </a:lnTo>
                  <a:lnTo>
                    <a:pt x="106" y="90"/>
                  </a:lnTo>
                  <a:lnTo>
                    <a:pt x="105" y="92"/>
                  </a:lnTo>
                  <a:lnTo>
                    <a:pt x="104" y="91"/>
                  </a:lnTo>
                  <a:lnTo>
                    <a:pt x="103" y="91"/>
                  </a:lnTo>
                  <a:lnTo>
                    <a:pt x="101" y="91"/>
                  </a:lnTo>
                  <a:lnTo>
                    <a:pt x="101" y="93"/>
                  </a:lnTo>
                  <a:lnTo>
                    <a:pt x="100" y="94"/>
                  </a:lnTo>
                  <a:lnTo>
                    <a:pt x="98" y="96"/>
                  </a:lnTo>
                  <a:lnTo>
                    <a:pt x="97" y="98"/>
                  </a:lnTo>
                  <a:lnTo>
                    <a:pt x="95" y="100"/>
                  </a:lnTo>
                  <a:lnTo>
                    <a:pt x="95" y="102"/>
                  </a:lnTo>
                  <a:lnTo>
                    <a:pt x="96" y="104"/>
                  </a:lnTo>
                  <a:lnTo>
                    <a:pt x="97" y="106"/>
                  </a:lnTo>
                  <a:lnTo>
                    <a:pt x="96" y="108"/>
                  </a:lnTo>
                  <a:lnTo>
                    <a:pt x="95" y="107"/>
                  </a:lnTo>
                  <a:lnTo>
                    <a:pt x="93" y="107"/>
                  </a:lnTo>
                  <a:lnTo>
                    <a:pt x="93" y="105"/>
                  </a:lnTo>
                  <a:lnTo>
                    <a:pt x="92" y="104"/>
                  </a:lnTo>
                  <a:lnTo>
                    <a:pt x="91" y="103"/>
                  </a:lnTo>
                  <a:lnTo>
                    <a:pt x="90" y="103"/>
                  </a:lnTo>
                  <a:lnTo>
                    <a:pt x="88" y="103"/>
                  </a:lnTo>
                  <a:lnTo>
                    <a:pt x="87" y="104"/>
                  </a:lnTo>
                  <a:lnTo>
                    <a:pt x="85" y="105"/>
                  </a:lnTo>
                  <a:lnTo>
                    <a:pt x="84" y="103"/>
                  </a:lnTo>
                  <a:lnTo>
                    <a:pt x="83" y="104"/>
                  </a:lnTo>
                  <a:lnTo>
                    <a:pt x="82" y="105"/>
                  </a:lnTo>
                  <a:lnTo>
                    <a:pt x="80" y="105"/>
                  </a:lnTo>
                  <a:lnTo>
                    <a:pt x="79" y="105"/>
                  </a:lnTo>
                  <a:lnTo>
                    <a:pt x="78" y="103"/>
                  </a:lnTo>
                  <a:lnTo>
                    <a:pt x="78" y="102"/>
                  </a:lnTo>
                  <a:lnTo>
                    <a:pt x="77" y="100"/>
                  </a:lnTo>
                  <a:lnTo>
                    <a:pt x="76" y="101"/>
                  </a:lnTo>
                  <a:lnTo>
                    <a:pt x="75" y="102"/>
                  </a:lnTo>
                  <a:lnTo>
                    <a:pt x="74" y="102"/>
                  </a:lnTo>
                  <a:lnTo>
                    <a:pt x="73" y="103"/>
                  </a:lnTo>
                  <a:lnTo>
                    <a:pt x="72" y="104"/>
                  </a:lnTo>
                  <a:lnTo>
                    <a:pt x="71" y="104"/>
                  </a:lnTo>
                  <a:lnTo>
                    <a:pt x="71" y="103"/>
                  </a:lnTo>
                  <a:lnTo>
                    <a:pt x="69" y="102"/>
                  </a:lnTo>
                  <a:lnTo>
                    <a:pt x="68" y="102"/>
                  </a:lnTo>
                  <a:lnTo>
                    <a:pt x="67" y="103"/>
                  </a:lnTo>
                  <a:lnTo>
                    <a:pt x="66" y="101"/>
                  </a:lnTo>
                  <a:lnTo>
                    <a:pt x="65" y="100"/>
                  </a:lnTo>
                  <a:lnTo>
                    <a:pt x="64" y="101"/>
                  </a:lnTo>
                  <a:lnTo>
                    <a:pt x="62" y="102"/>
                  </a:lnTo>
                  <a:lnTo>
                    <a:pt x="60" y="101"/>
                  </a:lnTo>
                  <a:lnTo>
                    <a:pt x="60" y="101"/>
                  </a:lnTo>
                  <a:lnTo>
                    <a:pt x="60" y="103"/>
                  </a:lnTo>
                  <a:lnTo>
                    <a:pt x="59" y="103"/>
                  </a:lnTo>
                  <a:lnTo>
                    <a:pt x="58" y="103"/>
                  </a:lnTo>
                  <a:lnTo>
                    <a:pt x="59" y="101"/>
                  </a:lnTo>
                  <a:lnTo>
                    <a:pt x="57" y="100"/>
                  </a:lnTo>
                  <a:lnTo>
                    <a:pt x="56" y="100"/>
                  </a:lnTo>
                  <a:lnTo>
                    <a:pt x="53" y="101"/>
                  </a:lnTo>
                  <a:lnTo>
                    <a:pt x="53" y="100"/>
                  </a:lnTo>
                  <a:lnTo>
                    <a:pt x="52" y="100"/>
                  </a:lnTo>
                  <a:lnTo>
                    <a:pt x="52" y="97"/>
                  </a:lnTo>
                  <a:lnTo>
                    <a:pt x="50" y="97"/>
                  </a:lnTo>
                  <a:lnTo>
                    <a:pt x="49" y="98"/>
                  </a:lnTo>
                  <a:lnTo>
                    <a:pt x="46" y="97"/>
                  </a:lnTo>
                  <a:lnTo>
                    <a:pt x="42" y="96"/>
                  </a:lnTo>
                  <a:lnTo>
                    <a:pt x="42" y="96"/>
                  </a:lnTo>
                  <a:lnTo>
                    <a:pt x="39" y="96"/>
                  </a:lnTo>
                  <a:lnTo>
                    <a:pt x="38" y="94"/>
                  </a:lnTo>
                  <a:lnTo>
                    <a:pt x="36" y="94"/>
                  </a:lnTo>
                  <a:lnTo>
                    <a:pt x="33" y="93"/>
                  </a:lnTo>
                  <a:lnTo>
                    <a:pt x="30" y="94"/>
                  </a:lnTo>
                  <a:lnTo>
                    <a:pt x="27" y="94"/>
                  </a:lnTo>
                  <a:lnTo>
                    <a:pt x="25" y="94"/>
                  </a:lnTo>
                  <a:lnTo>
                    <a:pt x="23" y="94"/>
                  </a:lnTo>
                  <a:lnTo>
                    <a:pt x="21" y="95"/>
                  </a:lnTo>
                  <a:lnTo>
                    <a:pt x="18" y="94"/>
                  </a:lnTo>
                  <a:lnTo>
                    <a:pt x="15" y="94"/>
                  </a:lnTo>
                  <a:lnTo>
                    <a:pt x="14" y="96"/>
                  </a:lnTo>
                  <a:lnTo>
                    <a:pt x="14" y="98"/>
                  </a:lnTo>
                  <a:lnTo>
                    <a:pt x="12" y="100"/>
                  </a:lnTo>
                  <a:lnTo>
                    <a:pt x="10" y="102"/>
                  </a:lnTo>
                  <a:lnTo>
                    <a:pt x="9" y="100"/>
                  </a:lnTo>
                  <a:lnTo>
                    <a:pt x="8" y="100"/>
                  </a:lnTo>
                  <a:lnTo>
                    <a:pt x="5" y="100"/>
                  </a:lnTo>
                  <a:lnTo>
                    <a:pt x="5" y="102"/>
                  </a:lnTo>
                  <a:lnTo>
                    <a:pt x="5" y="102"/>
                  </a:lnTo>
                  <a:lnTo>
                    <a:pt x="4" y="100"/>
                  </a:lnTo>
                  <a:lnTo>
                    <a:pt x="6" y="93"/>
                  </a:lnTo>
                  <a:lnTo>
                    <a:pt x="6" y="91"/>
                  </a:lnTo>
                  <a:lnTo>
                    <a:pt x="5" y="90"/>
                  </a:lnTo>
                  <a:lnTo>
                    <a:pt x="4" y="88"/>
                  </a:lnTo>
                  <a:lnTo>
                    <a:pt x="2" y="87"/>
                  </a:lnTo>
                  <a:lnTo>
                    <a:pt x="0" y="87"/>
                  </a:lnTo>
                  <a:lnTo>
                    <a:pt x="0" y="84"/>
                  </a:lnTo>
                  <a:lnTo>
                    <a:pt x="2" y="81"/>
                  </a:lnTo>
                  <a:lnTo>
                    <a:pt x="6" y="78"/>
                  </a:lnTo>
                  <a:lnTo>
                    <a:pt x="8" y="78"/>
                  </a:lnTo>
                  <a:lnTo>
                    <a:pt x="10" y="76"/>
                  </a:lnTo>
                  <a:lnTo>
                    <a:pt x="10" y="73"/>
                  </a:lnTo>
                  <a:lnTo>
                    <a:pt x="9" y="69"/>
                  </a:lnTo>
                  <a:lnTo>
                    <a:pt x="5" y="54"/>
                  </a:lnTo>
                  <a:lnTo>
                    <a:pt x="4" y="5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599" name="Freeform 71">
              <a:extLst>
                <a:ext uri="{FF2B5EF4-FFF2-40B4-BE49-F238E27FC236}">
                  <a16:creationId xmlns:a16="http://schemas.microsoft.com/office/drawing/2014/main" id="{F139BF5E-31F0-E08A-153D-47D0EE0B041C}"/>
                </a:ext>
              </a:extLst>
            </p:cNvPr>
            <p:cNvSpPr>
              <a:spLocks/>
            </p:cNvSpPr>
            <p:nvPr/>
          </p:nvSpPr>
          <p:spPr bwMode="auto">
            <a:xfrm>
              <a:off x="5009734" y="5030788"/>
              <a:ext cx="58738" cy="65088"/>
            </a:xfrm>
            <a:custGeom>
              <a:avLst/>
              <a:gdLst/>
              <a:ahLst/>
              <a:cxnLst>
                <a:cxn ang="0">
                  <a:pos x="1" y="15"/>
                </a:cxn>
                <a:cxn ang="0">
                  <a:pos x="7" y="7"/>
                </a:cxn>
                <a:cxn ang="0">
                  <a:pos x="11" y="2"/>
                </a:cxn>
                <a:cxn ang="0">
                  <a:pos x="13" y="1"/>
                </a:cxn>
                <a:cxn ang="0">
                  <a:pos x="16" y="1"/>
                </a:cxn>
                <a:cxn ang="0">
                  <a:pos x="23" y="0"/>
                </a:cxn>
                <a:cxn ang="0">
                  <a:pos x="25" y="1"/>
                </a:cxn>
                <a:cxn ang="0">
                  <a:pos x="28" y="2"/>
                </a:cxn>
                <a:cxn ang="0">
                  <a:pos x="31" y="5"/>
                </a:cxn>
                <a:cxn ang="0">
                  <a:pos x="33" y="8"/>
                </a:cxn>
                <a:cxn ang="0">
                  <a:pos x="35" y="13"/>
                </a:cxn>
                <a:cxn ang="0">
                  <a:pos x="36" y="21"/>
                </a:cxn>
                <a:cxn ang="0">
                  <a:pos x="37" y="25"/>
                </a:cxn>
                <a:cxn ang="0">
                  <a:pos x="36" y="28"/>
                </a:cxn>
                <a:cxn ang="0">
                  <a:pos x="29" y="35"/>
                </a:cxn>
                <a:cxn ang="0">
                  <a:pos x="25" y="39"/>
                </a:cxn>
                <a:cxn ang="0">
                  <a:pos x="23" y="41"/>
                </a:cxn>
                <a:cxn ang="0">
                  <a:pos x="23" y="41"/>
                </a:cxn>
                <a:cxn ang="0">
                  <a:pos x="19" y="38"/>
                </a:cxn>
                <a:cxn ang="0">
                  <a:pos x="16" y="36"/>
                </a:cxn>
                <a:cxn ang="0">
                  <a:pos x="13" y="34"/>
                </a:cxn>
                <a:cxn ang="0">
                  <a:pos x="13" y="33"/>
                </a:cxn>
                <a:cxn ang="0">
                  <a:pos x="13" y="32"/>
                </a:cxn>
                <a:cxn ang="0">
                  <a:pos x="13" y="31"/>
                </a:cxn>
                <a:cxn ang="0">
                  <a:pos x="9" y="29"/>
                </a:cxn>
                <a:cxn ang="0">
                  <a:pos x="5" y="26"/>
                </a:cxn>
                <a:cxn ang="0">
                  <a:pos x="2" y="24"/>
                </a:cxn>
                <a:cxn ang="0">
                  <a:pos x="0" y="21"/>
                </a:cxn>
                <a:cxn ang="0">
                  <a:pos x="3" y="20"/>
                </a:cxn>
                <a:cxn ang="0">
                  <a:pos x="4" y="18"/>
                </a:cxn>
                <a:cxn ang="0">
                  <a:pos x="4" y="18"/>
                </a:cxn>
                <a:cxn ang="0">
                  <a:pos x="1" y="16"/>
                </a:cxn>
                <a:cxn ang="0">
                  <a:pos x="1" y="15"/>
                </a:cxn>
                <a:cxn ang="0">
                  <a:pos x="1" y="15"/>
                </a:cxn>
              </a:cxnLst>
              <a:rect l="0" t="0" r="r" b="b"/>
              <a:pathLst>
                <a:path w="37" h="41">
                  <a:moveTo>
                    <a:pt x="1" y="15"/>
                  </a:moveTo>
                  <a:lnTo>
                    <a:pt x="7" y="7"/>
                  </a:lnTo>
                  <a:lnTo>
                    <a:pt x="11" y="2"/>
                  </a:lnTo>
                  <a:lnTo>
                    <a:pt x="13" y="1"/>
                  </a:lnTo>
                  <a:lnTo>
                    <a:pt x="16" y="1"/>
                  </a:lnTo>
                  <a:lnTo>
                    <a:pt x="23" y="0"/>
                  </a:lnTo>
                  <a:lnTo>
                    <a:pt x="25" y="1"/>
                  </a:lnTo>
                  <a:lnTo>
                    <a:pt x="28" y="2"/>
                  </a:lnTo>
                  <a:lnTo>
                    <a:pt x="31" y="5"/>
                  </a:lnTo>
                  <a:lnTo>
                    <a:pt x="33" y="8"/>
                  </a:lnTo>
                  <a:lnTo>
                    <a:pt x="35" y="13"/>
                  </a:lnTo>
                  <a:lnTo>
                    <a:pt x="36" y="21"/>
                  </a:lnTo>
                  <a:lnTo>
                    <a:pt x="37" y="25"/>
                  </a:lnTo>
                  <a:lnTo>
                    <a:pt x="36" y="28"/>
                  </a:lnTo>
                  <a:lnTo>
                    <a:pt x="29" y="35"/>
                  </a:lnTo>
                  <a:lnTo>
                    <a:pt x="25" y="39"/>
                  </a:lnTo>
                  <a:lnTo>
                    <a:pt x="23" y="41"/>
                  </a:lnTo>
                  <a:lnTo>
                    <a:pt x="23" y="41"/>
                  </a:lnTo>
                  <a:lnTo>
                    <a:pt x="19" y="38"/>
                  </a:lnTo>
                  <a:lnTo>
                    <a:pt x="16" y="36"/>
                  </a:lnTo>
                  <a:lnTo>
                    <a:pt x="13" y="34"/>
                  </a:lnTo>
                  <a:lnTo>
                    <a:pt x="13" y="33"/>
                  </a:lnTo>
                  <a:lnTo>
                    <a:pt x="13" y="32"/>
                  </a:lnTo>
                  <a:lnTo>
                    <a:pt x="13" y="31"/>
                  </a:lnTo>
                  <a:lnTo>
                    <a:pt x="9" y="29"/>
                  </a:lnTo>
                  <a:lnTo>
                    <a:pt x="5" y="26"/>
                  </a:lnTo>
                  <a:lnTo>
                    <a:pt x="2" y="24"/>
                  </a:lnTo>
                  <a:lnTo>
                    <a:pt x="0" y="21"/>
                  </a:lnTo>
                  <a:lnTo>
                    <a:pt x="3" y="20"/>
                  </a:lnTo>
                  <a:lnTo>
                    <a:pt x="4" y="18"/>
                  </a:lnTo>
                  <a:lnTo>
                    <a:pt x="4" y="18"/>
                  </a:lnTo>
                  <a:lnTo>
                    <a:pt x="1" y="16"/>
                  </a:lnTo>
                  <a:lnTo>
                    <a:pt x="1" y="15"/>
                  </a:lnTo>
                  <a:lnTo>
                    <a:pt x="1" y="1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0" name="Freeform 72">
              <a:extLst>
                <a:ext uri="{FF2B5EF4-FFF2-40B4-BE49-F238E27FC236}">
                  <a16:creationId xmlns:a16="http://schemas.microsoft.com/office/drawing/2014/main" id="{71D9A3B4-86C8-A361-4919-5D92C7894FE5}"/>
                </a:ext>
              </a:extLst>
            </p:cNvPr>
            <p:cNvSpPr>
              <a:spLocks/>
            </p:cNvSpPr>
            <p:nvPr/>
          </p:nvSpPr>
          <p:spPr bwMode="auto">
            <a:xfrm>
              <a:off x="5439946" y="4403725"/>
              <a:ext cx="82550" cy="176213"/>
            </a:xfrm>
            <a:custGeom>
              <a:avLst/>
              <a:gdLst/>
              <a:ahLst/>
              <a:cxnLst>
                <a:cxn ang="0">
                  <a:pos x="51" y="73"/>
                </a:cxn>
                <a:cxn ang="0">
                  <a:pos x="51" y="79"/>
                </a:cxn>
                <a:cxn ang="0">
                  <a:pos x="43" y="84"/>
                </a:cxn>
                <a:cxn ang="0">
                  <a:pos x="33" y="94"/>
                </a:cxn>
                <a:cxn ang="0">
                  <a:pos x="34" y="105"/>
                </a:cxn>
                <a:cxn ang="0">
                  <a:pos x="28" y="110"/>
                </a:cxn>
                <a:cxn ang="0">
                  <a:pos x="24" y="101"/>
                </a:cxn>
                <a:cxn ang="0">
                  <a:pos x="18" y="82"/>
                </a:cxn>
                <a:cxn ang="0">
                  <a:pos x="13" y="79"/>
                </a:cxn>
                <a:cxn ang="0">
                  <a:pos x="9" y="70"/>
                </a:cxn>
                <a:cxn ang="0">
                  <a:pos x="4" y="67"/>
                </a:cxn>
                <a:cxn ang="0">
                  <a:pos x="0" y="56"/>
                </a:cxn>
                <a:cxn ang="0">
                  <a:pos x="7" y="46"/>
                </a:cxn>
                <a:cxn ang="0">
                  <a:pos x="10" y="41"/>
                </a:cxn>
                <a:cxn ang="0">
                  <a:pos x="10" y="32"/>
                </a:cxn>
                <a:cxn ang="0">
                  <a:pos x="10" y="16"/>
                </a:cxn>
                <a:cxn ang="0">
                  <a:pos x="15" y="8"/>
                </a:cxn>
                <a:cxn ang="0">
                  <a:pos x="18" y="5"/>
                </a:cxn>
                <a:cxn ang="0">
                  <a:pos x="25" y="0"/>
                </a:cxn>
                <a:cxn ang="0">
                  <a:pos x="33" y="1"/>
                </a:cxn>
                <a:cxn ang="0">
                  <a:pos x="34" y="5"/>
                </a:cxn>
                <a:cxn ang="0">
                  <a:pos x="38" y="9"/>
                </a:cxn>
                <a:cxn ang="0">
                  <a:pos x="43" y="5"/>
                </a:cxn>
                <a:cxn ang="0">
                  <a:pos x="46" y="6"/>
                </a:cxn>
                <a:cxn ang="0">
                  <a:pos x="41" y="14"/>
                </a:cxn>
                <a:cxn ang="0">
                  <a:pos x="39" y="19"/>
                </a:cxn>
                <a:cxn ang="0">
                  <a:pos x="43" y="26"/>
                </a:cxn>
                <a:cxn ang="0">
                  <a:pos x="47" y="33"/>
                </a:cxn>
                <a:cxn ang="0">
                  <a:pos x="43" y="40"/>
                </a:cxn>
                <a:cxn ang="0">
                  <a:pos x="34" y="49"/>
                </a:cxn>
                <a:cxn ang="0">
                  <a:pos x="34" y="55"/>
                </a:cxn>
                <a:cxn ang="0">
                  <a:pos x="41" y="61"/>
                </a:cxn>
                <a:cxn ang="0">
                  <a:pos x="45" y="59"/>
                </a:cxn>
                <a:cxn ang="0">
                  <a:pos x="48" y="64"/>
                </a:cxn>
              </a:cxnLst>
              <a:rect l="0" t="0" r="r" b="b"/>
              <a:pathLst>
                <a:path w="52" h="111">
                  <a:moveTo>
                    <a:pt x="52" y="66"/>
                  </a:moveTo>
                  <a:lnTo>
                    <a:pt x="51" y="73"/>
                  </a:lnTo>
                  <a:lnTo>
                    <a:pt x="52" y="77"/>
                  </a:lnTo>
                  <a:lnTo>
                    <a:pt x="51" y="79"/>
                  </a:lnTo>
                  <a:lnTo>
                    <a:pt x="46" y="82"/>
                  </a:lnTo>
                  <a:lnTo>
                    <a:pt x="43" y="84"/>
                  </a:lnTo>
                  <a:lnTo>
                    <a:pt x="34" y="92"/>
                  </a:lnTo>
                  <a:lnTo>
                    <a:pt x="33" y="94"/>
                  </a:lnTo>
                  <a:lnTo>
                    <a:pt x="35" y="101"/>
                  </a:lnTo>
                  <a:lnTo>
                    <a:pt x="34" y="105"/>
                  </a:lnTo>
                  <a:lnTo>
                    <a:pt x="33" y="106"/>
                  </a:lnTo>
                  <a:lnTo>
                    <a:pt x="28" y="110"/>
                  </a:lnTo>
                  <a:lnTo>
                    <a:pt x="27" y="111"/>
                  </a:lnTo>
                  <a:lnTo>
                    <a:pt x="24" y="101"/>
                  </a:lnTo>
                  <a:lnTo>
                    <a:pt x="19" y="85"/>
                  </a:lnTo>
                  <a:lnTo>
                    <a:pt x="18" y="82"/>
                  </a:lnTo>
                  <a:lnTo>
                    <a:pt x="15" y="80"/>
                  </a:lnTo>
                  <a:lnTo>
                    <a:pt x="13" y="79"/>
                  </a:lnTo>
                  <a:lnTo>
                    <a:pt x="10" y="73"/>
                  </a:lnTo>
                  <a:lnTo>
                    <a:pt x="9" y="70"/>
                  </a:lnTo>
                  <a:lnTo>
                    <a:pt x="7" y="68"/>
                  </a:lnTo>
                  <a:lnTo>
                    <a:pt x="4" y="67"/>
                  </a:lnTo>
                  <a:lnTo>
                    <a:pt x="2" y="62"/>
                  </a:lnTo>
                  <a:lnTo>
                    <a:pt x="0" y="56"/>
                  </a:lnTo>
                  <a:lnTo>
                    <a:pt x="1" y="52"/>
                  </a:lnTo>
                  <a:lnTo>
                    <a:pt x="7" y="46"/>
                  </a:lnTo>
                  <a:lnTo>
                    <a:pt x="9" y="44"/>
                  </a:lnTo>
                  <a:lnTo>
                    <a:pt x="10" y="41"/>
                  </a:lnTo>
                  <a:lnTo>
                    <a:pt x="10" y="37"/>
                  </a:lnTo>
                  <a:lnTo>
                    <a:pt x="10" y="32"/>
                  </a:lnTo>
                  <a:lnTo>
                    <a:pt x="10" y="26"/>
                  </a:lnTo>
                  <a:lnTo>
                    <a:pt x="10" y="16"/>
                  </a:lnTo>
                  <a:lnTo>
                    <a:pt x="10" y="13"/>
                  </a:lnTo>
                  <a:lnTo>
                    <a:pt x="15" y="8"/>
                  </a:lnTo>
                  <a:lnTo>
                    <a:pt x="15" y="7"/>
                  </a:lnTo>
                  <a:lnTo>
                    <a:pt x="18" y="5"/>
                  </a:lnTo>
                  <a:lnTo>
                    <a:pt x="21" y="2"/>
                  </a:lnTo>
                  <a:lnTo>
                    <a:pt x="25" y="0"/>
                  </a:lnTo>
                  <a:lnTo>
                    <a:pt x="29" y="0"/>
                  </a:lnTo>
                  <a:lnTo>
                    <a:pt x="33" y="1"/>
                  </a:lnTo>
                  <a:lnTo>
                    <a:pt x="34" y="3"/>
                  </a:lnTo>
                  <a:lnTo>
                    <a:pt x="34" y="5"/>
                  </a:lnTo>
                  <a:lnTo>
                    <a:pt x="36" y="8"/>
                  </a:lnTo>
                  <a:lnTo>
                    <a:pt x="38" y="9"/>
                  </a:lnTo>
                  <a:lnTo>
                    <a:pt x="40" y="8"/>
                  </a:lnTo>
                  <a:lnTo>
                    <a:pt x="43" y="5"/>
                  </a:lnTo>
                  <a:lnTo>
                    <a:pt x="46" y="4"/>
                  </a:lnTo>
                  <a:lnTo>
                    <a:pt x="46" y="6"/>
                  </a:lnTo>
                  <a:lnTo>
                    <a:pt x="45" y="10"/>
                  </a:lnTo>
                  <a:lnTo>
                    <a:pt x="41" y="14"/>
                  </a:lnTo>
                  <a:lnTo>
                    <a:pt x="39" y="17"/>
                  </a:lnTo>
                  <a:lnTo>
                    <a:pt x="39" y="19"/>
                  </a:lnTo>
                  <a:lnTo>
                    <a:pt x="40" y="23"/>
                  </a:lnTo>
                  <a:lnTo>
                    <a:pt x="43" y="26"/>
                  </a:lnTo>
                  <a:lnTo>
                    <a:pt x="45" y="27"/>
                  </a:lnTo>
                  <a:lnTo>
                    <a:pt x="47" y="33"/>
                  </a:lnTo>
                  <a:lnTo>
                    <a:pt x="47" y="35"/>
                  </a:lnTo>
                  <a:lnTo>
                    <a:pt x="43" y="40"/>
                  </a:lnTo>
                  <a:lnTo>
                    <a:pt x="40" y="43"/>
                  </a:lnTo>
                  <a:lnTo>
                    <a:pt x="34" y="49"/>
                  </a:lnTo>
                  <a:lnTo>
                    <a:pt x="33" y="52"/>
                  </a:lnTo>
                  <a:lnTo>
                    <a:pt x="34" y="55"/>
                  </a:lnTo>
                  <a:lnTo>
                    <a:pt x="38" y="59"/>
                  </a:lnTo>
                  <a:lnTo>
                    <a:pt x="41" y="61"/>
                  </a:lnTo>
                  <a:lnTo>
                    <a:pt x="43" y="61"/>
                  </a:lnTo>
                  <a:lnTo>
                    <a:pt x="45" y="59"/>
                  </a:lnTo>
                  <a:lnTo>
                    <a:pt x="47" y="60"/>
                  </a:lnTo>
                  <a:lnTo>
                    <a:pt x="48" y="64"/>
                  </a:lnTo>
                  <a:lnTo>
                    <a:pt x="52" y="6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1" name="Freeform 73">
              <a:extLst>
                <a:ext uri="{FF2B5EF4-FFF2-40B4-BE49-F238E27FC236}">
                  <a16:creationId xmlns:a16="http://schemas.microsoft.com/office/drawing/2014/main" id="{971B0157-5521-A056-0DDF-0EFA1EE7A59B}"/>
                </a:ext>
              </a:extLst>
            </p:cNvPr>
            <p:cNvSpPr>
              <a:spLocks/>
            </p:cNvSpPr>
            <p:nvPr/>
          </p:nvSpPr>
          <p:spPr bwMode="auto">
            <a:xfrm>
              <a:off x="5666959" y="4233863"/>
              <a:ext cx="39688" cy="47625"/>
            </a:xfrm>
            <a:custGeom>
              <a:avLst/>
              <a:gdLst/>
              <a:ahLst/>
              <a:cxnLst>
                <a:cxn ang="0">
                  <a:pos x="11" y="29"/>
                </a:cxn>
                <a:cxn ang="0">
                  <a:pos x="9" y="27"/>
                </a:cxn>
                <a:cxn ang="0">
                  <a:pos x="1" y="21"/>
                </a:cxn>
                <a:cxn ang="0">
                  <a:pos x="1" y="20"/>
                </a:cxn>
                <a:cxn ang="0">
                  <a:pos x="0" y="18"/>
                </a:cxn>
                <a:cxn ang="0">
                  <a:pos x="0" y="17"/>
                </a:cxn>
                <a:cxn ang="0">
                  <a:pos x="1" y="16"/>
                </a:cxn>
                <a:cxn ang="0">
                  <a:pos x="1" y="15"/>
                </a:cxn>
                <a:cxn ang="0">
                  <a:pos x="1" y="13"/>
                </a:cxn>
                <a:cxn ang="0">
                  <a:pos x="0" y="12"/>
                </a:cxn>
                <a:cxn ang="0">
                  <a:pos x="0" y="9"/>
                </a:cxn>
                <a:cxn ang="0">
                  <a:pos x="2" y="9"/>
                </a:cxn>
                <a:cxn ang="0">
                  <a:pos x="3" y="8"/>
                </a:cxn>
                <a:cxn ang="0">
                  <a:pos x="2" y="7"/>
                </a:cxn>
                <a:cxn ang="0">
                  <a:pos x="4" y="5"/>
                </a:cxn>
                <a:cxn ang="0">
                  <a:pos x="5" y="4"/>
                </a:cxn>
                <a:cxn ang="0">
                  <a:pos x="6" y="3"/>
                </a:cxn>
                <a:cxn ang="0">
                  <a:pos x="7" y="4"/>
                </a:cxn>
                <a:cxn ang="0">
                  <a:pos x="8" y="5"/>
                </a:cxn>
                <a:cxn ang="0">
                  <a:pos x="8" y="3"/>
                </a:cxn>
                <a:cxn ang="0">
                  <a:pos x="7" y="1"/>
                </a:cxn>
                <a:cxn ang="0">
                  <a:pos x="7" y="0"/>
                </a:cxn>
                <a:cxn ang="0">
                  <a:pos x="8" y="0"/>
                </a:cxn>
                <a:cxn ang="0">
                  <a:pos x="10" y="0"/>
                </a:cxn>
                <a:cxn ang="0">
                  <a:pos x="10" y="1"/>
                </a:cxn>
                <a:cxn ang="0">
                  <a:pos x="12" y="2"/>
                </a:cxn>
                <a:cxn ang="0">
                  <a:pos x="14" y="4"/>
                </a:cxn>
                <a:cxn ang="0">
                  <a:pos x="16" y="6"/>
                </a:cxn>
                <a:cxn ang="0">
                  <a:pos x="16" y="6"/>
                </a:cxn>
                <a:cxn ang="0">
                  <a:pos x="19" y="7"/>
                </a:cxn>
                <a:cxn ang="0">
                  <a:pos x="19" y="7"/>
                </a:cxn>
                <a:cxn ang="0">
                  <a:pos x="20" y="8"/>
                </a:cxn>
                <a:cxn ang="0">
                  <a:pos x="21" y="9"/>
                </a:cxn>
                <a:cxn ang="0">
                  <a:pos x="22" y="10"/>
                </a:cxn>
                <a:cxn ang="0">
                  <a:pos x="23" y="10"/>
                </a:cxn>
                <a:cxn ang="0">
                  <a:pos x="25" y="12"/>
                </a:cxn>
                <a:cxn ang="0">
                  <a:pos x="25" y="12"/>
                </a:cxn>
                <a:cxn ang="0">
                  <a:pos x="23" y="13"/>
                </a:cxn>
                <a:cxn ang="0">
                  <a:pos x="23" y="14"/>
                </a:cxn>
                <a:cxn ang="0">
                  <a:pos x="21" y="13"/>
                </a:cxn>
                <a:cxn ang="0">
                  <a:pos x="20" y="15"/>
                </a:cxn>
                <a:cxn ang="0">
                  <a:pos x="21" y="15"/>
                </a:cxn>
                <a:cxn ang="0">
                  <a:pos x="22" y="16"/>
                </a:cxn>
                <a:cxn ang="0">
                  <a:pos x="19" y="18"/>
                </a:cxn>
                <a:cxn ang="0">
                  <a:pos x="13" y="19"/>
                </a:cxn>
                <a:cxn ang="0">
                  <a:pos x="12" y="27"/>
                </a:cxn>
              </a:cxnLst>
              <a:rect l="0" t="0" r="r" b="b"/>
              <a:pathLst>
                <a:path w="25" h="30">
                  <a:moveTo>
                    <a:pt x="12" y="30"/>
                  </a:moveTo>
                  <a:lnTo>
                    <a:pt x="11" y="29"/>
                  </a:lnTo>
                  <a:lnTo>
                    <a:pt x="9" y="28"/>
                  </a:lnTo>
                  <a:lnTo>
                    <a:pt x="9" y="27"/>
                  </a:lnTo>
                  <a:lnTo>
                    <a:pt x="6" y="23"/>
                  </a:lnTo>
                  <a:lnTo>
                    <a:pt x="1" y="21"/>
                  </a:lnTo>
                  <a:lnTo>
                    <a:pt x="1" y="21"/>
                  </a:lnTo>
                  <a:lnTo>
                    <a:pt x="1" y="20"/>
                  </a:lnTo>
                  <a:lnTo>
                    <a:pt x="1" y="19"/>
                  </a:lnTo>
                  <a:lnTo>
                    <a:pt x="0" y="18"/>
                  </a:lnTo>
                  <a:lnTo>
                    <a:pt x="0" y="18"/>
                  </a:lnTo>
                  <a:lnTo>
                    <a:pt x="0" y="17"/>
                  </a:lnTo>
                  <a:lnTo>
                    <a:pt x="0" y="17"/>
                  </a:lnTo>
                  <a:lnTo>
                    <a:pt x="1" y="16"/>
                  </a:lnTo>
                  <a:lnTo>
                    <a:pt x="2" y="15"/>
                  </a:lnTo>
                  <a:lnTo>
                    <a:pt x="1" y="15"/>
                  </a:lnTo>
                  <a:lnTo>
                    <a:pt x="1" y="14"/>
                  </a:lnTo>
                  <a:lnTo>
                    <a:pt x="1" y="13"/>
                  </a:lnTo>
                  <a:lnTo>
                    <a:pt x="1" y="13"/>
                  </a:lnTo>
                  <a:lnTo>
                    <a:pt x="0" y="12"/>
                  </a:lnTo>
                  <a:lnTo>
                    <a:pt x="0" y="10"/>
                  </a:lnTo>
                  <a:lnTo>
                    <a:pt x="0" y="9"/>
                  </a:lnTo>
                  <a:lnTo>
                    <a:pt x="1" y="9"/>
                  </a:lnTo>
                  <a:lnTo>
                    <a:pt x="2" y="9"/>
                  </a:lnTo>
                  <a:lnTo>
                    <a:pt x="2" y="9"/>
                  </a:lnTo>
                  <a:lnTo>
                    <a:pt x="3" y="8"/>
                  </a:lnTo>
                  <a:lnTo>
                    <a:pt x="3" y="7"/>
                  </a:lnTo>
                  <a:lnTo>
                    <a:pt x="2" y="7"/>
                  </a:lnTo>
                  <a:lnTo>
                    <a:pt x="3" y="6"/>
                  </a:lnTo>
                  <a:lnTo>
                    <a:pt x="4" y="5"/>
                  </a:lnTo>
                  <a:lnTo>
                    <a:pt x="4" y="4"/>
                  </a:lnTo>
                  <a:lnTo>
                    <a:pt x="5" y="4"/>
                  </a:lnTo>
                  <a:lnTo>
                    <a:pt x="5" y="3"/>
                  </a:lnTo>
                  <a:lnTo>
                    <a:pt x="6" y="3"/>
                  </a:lnTo>
                  <a:lnTo>
                    <a:pt x="7" y="4"/>
                  </a:lnTo>
                  <a:lnTo>
                    <a:pt x="7" y="4"/>
                  </a:lnTo>
                  <a:lnTo>
                    <a:pt x="7" y="5"/>
                  </a:lnTo>
                  <a:lnTo>
                    <a:pt x="8" y="5"/>
                  </a:lnTo>
                  <a:lnTo>
                    <a:pt x="8" y="4"/>
                  </a:lnTo>
                  <a:lnTo>
                    <a:pt x="8" y="3"/>
                  </a:lnTo>
                  <a:lnTo>
                    <a:pt x="7" y="2"/>
                  </a:lnTo>
                  <a:lnTo>
                    <a:pt x="7" y="1"/>
                  </a:lnTo>
                  <a:lnTo>
                    <a:pt x="7" y="0"/>
                  </a:lnTo>
                  <a:lnTo>
                    <a:pt x="7" y="0"/>
                  </a:lnTo>
                  <a:lnTo>
                    <a:pt x="8" y="0"/>
                  </a:lnTo>
                  <a:lnTo>
                    <a:pt x="8" y="0"/>
                  </a:lnTo>
                  <a:lnTo>
                    <a:pt x="9" y="0"/>
                  </a:lnTo>
                  <a:lnTo>
                    <a:pt x="10" y="0"/>
                  </a:lnTo>
                  <a:lnTo>
                    <a:pt x="10" y="0"/>
                  </a:lnTo>
                  <a:lnTo>
                    <a:pt x="10" y="1"/>
                  </a:lnTo>
                  <a:lnTo>
                    <a:pt x="11" y="1"/>
                  </a:lnTo>
                  <a:lnTo>
                    <a:pt x="12" y="2"/>
                  </a:lnTo>
                  <a:lnTo>
                    <a:pt x="13" y="3"/>
                  </a:lnTo>
                  <a:lnTo>
                    <a:pt x="14" y="4"/>
                  </a:lnTo>
                  <a:lnTo>
                    <a:pt x="14" y="5"/>
                  </a:lnTo>
                  <a:lnTo>
                    <a:pt x="16" y="6"/>
                  </a:lnTo>
                  <a:lnTo>
                    <a:pt x="16" y="6"/>
                  </a:lnTo>
                  <a:lnTo>
                    <a:pt x="16" y="6"/>
                  </a:lnTo>
                  <a:lnTo>
                    <a:pt x="18" y="7"/>
                  </a:lnTo>
                  <a:lnTo>
                    <a:pt x="19" y="7"/>
                  </a:lnTo>
                  <a:lnTo>
                    <a:pt x="19" y="7"/>
                  </a:lnTo>
                  <a:lnTo>
                    <a:pt x="19" y="7"/>
                  </a:lnTo>
                  <a:lnTo>
                    <a:pt x="20" y="7"/>
                  </a:lnTo>
                  <a:lnTo>
                    <a:pt x="20" y="8"/>
                  </a:lnTo>
                  <a:lnTo>
                    <a:pt x="21" y="9"/>
                  </a:lnTo>
                  <a:lnTo>
                    <a:pt x="21" y="9"/>
                  </a:lnTo>
                  <a:lnTo>
                    <a:pt x="22" y="10"/>
                  </a:lnTo>
                  <a:lnTo>
                    <a:pt x="22" y="10"/>
                  </a:lnTo>
                  <a:lnTo>
                    <a:pt x="23" y="10"/>
                  </a:lnTo>
                  <a:lnTo>
                    <a:pt x="23" y="10"/>
                  </a:lnTo>
                  <a:lnTo>
                    <a:pt x="24" y="11"/>
                  </a:lnTo>
                  <a:lnTo>
                    <a:pt x="25" y="12"/>
                  </a:lnTo>
                  <a:lnTo>
                    <a:pt x="25" y="12"/>
                  </a:lnTo>
                  <a:lnTo>
                    <a:pt x="25" y="12"/>
                  </a:lnTo>
                  <a:lnTo>
                    <a:pt x="24" y="13"/>
                  </a:lnTo>
                  <a:lnTo>
                    <a:pt x="23" y="13"/>
                  </a:lnTo>
                  <a:lnTo>
                    <a:pt x="23" y="13"/>
                  </a:lnTo>
                  <a:lnTo>
                    <a:pt x="23" y="14"/>
                  </a:lnTo>
                  <a:lnTo>
                    <a:pt x="22" y="13"/>
                  </a:lnTo>
                  <a:lnTo>
                    <a:pt x="21" y="13"/>
                  </a:lnTo>
                  <a:lnTo>
                    <a:pt x="20" y="14"/>
                  </a:lnTo>
                  <a:lnTo>
                    <a:pt x="20" y="15"/>
                  </a:lnTo>
                  <a:lnTo>
                    <a:pt x="20" y="15"/>
                  </a:lnTo>
                  <a:lnTo>
                    <a:pt x="21" y="15"/>
                  </a:lnTo>
                  <a:lnTo>
                    <a:pt x="22" y="15"/>
                  </a:lnTo>
                  <a:lnTo>
                    <a:pt x="22" y="16"/>
                  </a:lnTo>
                  <a:lnTo>
                    <a:pt x="21" y="18"/>
                  </a:lnTo>
                  <a:lnTo>
                    <a:pt x="19" y="18"/>
                  </a:lnTo>
                  <a:lnTo>
                    <a:pt x="14" y="17"/>
                  </a:lnTo>
                  <a:lnTo>
                    <a:pt x="13" y="19"/>
                  </a:lnTo>
                  <a:lnTo>
                    <a:pt x="11" y="24"/>
                  </a:lnTo>
                  <a:lnTo>
                    <a:pt x="12" y="27"/>
                  </a:lnTo>
                  <a:lnTo>
                    <a:pt x="12" y="3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2" name="Freeform 74">
              <a:extLst>
                <a:ext uri="{FF2B5EF4-FFF2-40B4-BE49-F238E27FC236}">
                  <a16:creationId xmlns:a16="http://schemas.microsoft.com/office/drawing/2014/main" id="{D2CB6D16-0165-6B99-47E8-1615A9849EF7}"/>
                </a:ext>
              </a:extLst>
            </p:cNvPr>
            <p:cNvSpPr>
              <a:spLocks/>
            </p:cNvSpPr>
            <p:nvPr/>
          </p:nvSpPr>
          <p:spPr bwMode="auto">
            <a:xfrm>
              <a:off x="5705059" y="4090988"/>
              <a:ext cx="195263" cy="136525"/>
            </a:xfrm>
            <a:custGeom>
              <a:avLst/>
              <a:gdLst/>
              <a:ahLst/>
              <a:cxnLst>
                <a:cxn ang="0">
                  <a:pos x="1" y="42"/>
                </a:cxn>
                <a:cxn ang="0">
                  <a:pos x="7" y="40"/>
                </a:cxn>
                <a:cxn ang="0">
                  <a:pos x="14" y="34"/>
                </a:cxn>
                <a:cxn ang="0">
                  <a:pos x="23" y="15"/>
                </a:cxn>
                <a:cxn ang="0">
                  <a:pos x="33" y="9"/>
                </a:cxn>
                <a:cxn ang="0">
                  <a:pos x="37" y="5"/>
                </a:cxn>
                <a:cxn ang="0">
                  <a:pos x="43" y="5"/>
                </a:cxn>
                <a:cxn ang="0">
                  <a:pos x="55" y="7"/>
                </a:cxn>
                <a:cxn ang="0">
                  <a:pos x="57" y="9"/>
                </a:cxn>
                <a:cxn ang="0">
                  <a:pos x="60" y="11"/>
                </a:cxn>
                <a:cxn ang="0">
                  <a:pos x="64" y="9"/>
                </a:cxn>
                <a:cxn ang="0">
                  <a:pos x="76" y="6"/>
                </a:cxn>
                <a:cxn ang="0">
                  <a:pos x="79" y="1"/>
                </a:cxn>
                <a:cxn ang="0">
                  <a:pos x="84" y="0"/>
                </a:cxn>
                <a:cxn ang="0">
                  <a:pos x="92" y="12"/>
                </a:cxn>
                <a:cxn ang="0">
                  <a:pos x="102" y="25"/>
                </a:cxn>
                <a:cxn ang="0">
                  <a:pos x="104" y="35"/>
                </a:cxn>
                <a:cxn ang="0">
                  <a:pos x="102" y="48"/>
                </a:cxn>
                <a:cxn ang="0">
                  <a:pos x="101" y="51"/>
                </a:cxn>
                <a:cxn ang="0">
                  <a:pos x="103" y="54"/>
                </a:cxn>
                <a:cxn ang="0">
                  <a:pos x="104" y="54"/>
                </a:cxn>
                <a:cxn ang="0">
                  <a:pos x="107" y="57"/>
                </a:cxn>
                <a:cxn ang="0">
                  <a:pos x="111" y="56"/>
                </a:cxn>
                <a:cxn ang="0">
                  <a:pos x="118" y="54"/>
                </a:cxn>
                <a:cxn ang="0">
                  <a:pos x="123" y="56"/>
                </a:cxn>
                <a:cxn ang="0">
                  <a:pos x="121" y="62"/>
                </a:cxn>
                <a:cxn ang="0">
                  <a:pos x="117" y="65"/>
                </a:cxn>
                <a:cxn ang="0">
                  <a:pos x="113" y="67"/>
                </a:cxn>
                <a:cxn ang="0">
                  <a:pos x="108" y="78"/>
                </a:cxn>
                <a:cxn ang="0">
                  <a:pos x="107" y="86"/>
                </a:cxn>
                <a:cxn ang="0">
                  <a:pos x="95" y="82"/>
                </a:cxn>
                <a:cxn ang="0">
                  <a:pos x="91" y="80"/>
                </a:cxn>
                <a:cxn ang="0">
                  <a:pos x="83" y="76"/>
                </a:cxn>
                <a:cxn ang="0">
                  <a:pos x="69" y="85"/>
                </a:cxn>
                <a:cxn ang="0">
                  <a:pos x="58" y="82"/>
                </a:cxn>
                <a:cxn ang="0">
                  <a:pos x="52" y="84"/>
                </a:cxn>
                <a:cxn ang="0">
                  <a:pos x="44" y="81"/>
                </a:cxn>
                <a:cxn ang="0">
                  <a:pos x="36" y="83"/>
                </a:cxn>
                <a:cxn ang="0">
                  <a:pos x="34" y="81"/>
                </a:cxn>
                <a:cxn ang="0">
                  <a:pos x="34" y="78"/>
                </a:cxn>
                <a:cxn ang="0">
                  <a:pos x="29" y="75"/>
                </a:cxn>
                <a:cxn ang="0">
                  <a:pos x="30" y="70"/>
                </a:cxn>
                <a:cxn ang="0">
                  <a:pos x="31" y="69"/>
                </a:cxn>
                <a:cxn ang="0">
                  <a:pos x="26" y="69"/>
                </a:cxn>
                <a:cxn ang="0">
                  <a:pos x="24" y="72"/>
                </a:cxn>
                <a:cxn ang="0">
                  <a:pos x="20" y="69"/>
                </a:cxn>
                <a:cxn ang="0">
                  <a:pos x="17" y="67"/>
                </a:cxn>
                <a:cxn ang="0">
                  <a:pos x="14" y="66"/>
                </a:cxn>
                <a:cxn ang="0">
                  <a:pos x="15" y="64"/>
                </a:cxn>
                <a:cxn ang="0">
                  <a:pos x="15" y="63"/>
                </a:cxn>
                <a:cxn ang="0">
                  <a:pos x="14" y="61"/>
                </a:cxn>
                <a:cxn ang="0">
                  <a:pos x="15" y="59"/>
                </a:cxn>
                <a:cxn ang="0">
                  <a:pos x="10" y="57"/>
                </a:cxn>
                <a:cxn ang="0">
                  <a:pos x="7" y="52"/>
                </a:cxn>
                <a:cxn ang="0">
                  <a:pos x="6" y="48"/>
                </a:cxn>
                <a:cxn ang="0">
                  <a:pos x="4" y="46"/>
                </a:cxn>
                <a:cxn ang="0">
                  <a:pos x="0" y="42"/>
                </a:cxn>
              </a:cxnLst>
              <a:rect l="0" t="0" r="r" b="b"/>
              <a:pathLst>
                <a:path w="123" h="86">
                  <a:moveTo>
                    <a:pt x="0" y="42"/>
                  </a:moveTo>
                  <a:lnTo>
                    <a:pt x="1" y="42"/>
                  </a:lnTo>
                  <a:lnTo>
                    <a:pt x="3" y="41"/>
                  </a:lnTo>
                  <a:lnTo>
                    <a:pt x="7" y="40"/>
                  </a:lnTo>
                  <a:lnTo>
                    <a:pt x="9" y="39"/>
                  </a:lnTo>
                  <a:lnTo>
                    <a:pt x="14" y="34"/>
                  </a:lnTo>
                  <a:lnTo>
                    <a:pt x="17" y="27"/>
                  </a:lnTo>
                  <a:lnTo>
                    <a:pt x="23" y="15"/>
                  </a:lnTo>
                  <a:lnTo>
                    <a:pt x="26" y="11"/>
                  </a:lnTo>
                  <a:lnTo>
                    <a:pt x="33" y="9"/>
                  </a:lnTo>
                  <a:lnTo>
                    <a:pt x="36" y="6"/>
                  </a:lnTo>
                  <a:lnTo>
                    <a:pt x="37" y="5"/>
                  </a:lnTo>
                  <a:lnTo>
                    <a:pt x="41" y="6"/>
                  </a:lnTo>
                  <a:lnTo>
                    <a:pt x="43" y="5"/>
                  </a:lnTo>
                  <a:lnTo>
                    <a:pt x="48" y="7"/>
                  </a:lnTo>
                  <a:lnTo>
                    <a:pt x="55" y="7"/>
                  </a:lnTo>
                  <a:lnTo>
                    <a:pt x="57" y="7"/>
                  </a:lnTo>
                  <a:lnTo>
                    <a:pt x="57" y="9"/>
                  </a:lnTo>
                  <a:lnTo>
                    <a:pt x="59" y="9"/>
                  </a:lnTo>
                  <a:lnTo>
                    <a:pt x="60" y="11"/>
                  </a:lnTo>
                  <a:lnTo>
                    <a:pt x="62" y="10"/>
                  </a:lnTo>
                  <a:lnTo>
                    <a:pt x="64" y="9"/>
                  </a:lnTo>
                  <a:lnTo>
                    <a:pt x="65" y="7"/>
                  </a:lnTo>
                  <a:lnTo>
                    <a:pt x="76" y="6"/>
                  </a:lnTo>
                  <a:lnTo>
                    <a:pt x="78" y="4"/>
                  </a:lnTo>
                  <a:lnTo>
                    <a:pt x="79" y="1"/>
                  </a:lnTo>
                  <a:lnTo>
                    <a:pt x="83" y="1"/>
                  </a:lnTo>
                  <a:lnTo>
                    <a:pt x="84" y="0"/>
                  </a:lnTo>
                  <a:lnTo>
                    <a:pt x="88" y="2"/>
                  </a:lnTo>
                  <a:lnTo>
                    <a:pt x="92" y="12"/>
                  </a:lnTo>
                  <a:lnTo>
                    <a:pt x="98" y="22"/>
                  </a:lnTo>
                  <a:lnTo>
                    <a:pt x="102" y="25"/>
                  </a:lnTo>
                  <a:lnTo>
                    <a:pt x="104" y="32"/>
                  </a:lnTo>
                  <a:lnTo>
                    <a:pt x="104" y="35"/>
                  </a:lnTo>
                  <a:lnTo>
                    <a:pt x="102" y="44"/>
                  </a:lnTo>
                  <a:lnTo>
                    <a:pt x="102" y="48"/>
                  </a:lnTo>
                  <a:lnTo>
                    <a:pt x="103" y="51"/>
                  </a:lnTo>
                  <a:lnTo>
                    <a:pt x="101" y="51"/>
                  </a:lnTo>
                  <a:lnTo>
                    <a:pt x="103" y="52"/>
                  </a:lnTo>
                  <a:lnTo>
                    <a:pt x="103" y="54"/>
                  </a:lnTo>
                  <a:lnTo>
                    <a:pt x="103" y="54"/>
                  </a:lnTo>
                  <a:lnTo>
                    <a:pt x="104" y="54"/>
                  </a:lnTo>
                  <a:lnTo>
                    <a:pt x="105" y="56"/>
                  </a:lnTo>
                  <a:lnTo>
                    <a:pt x="107" y="57"/>
                  </a:lnTo>
                  <a:lnTo>
                    <a:pt x="111" y="58"/>
                  </a:lnTo>
                  <a:lnTo>
                    <a:pt x="111" y="56"/>
                  </a:lnTo>
                  <a:lnTo>
                    <a:pt x="114" y="56"/>
                  </a:lnTo>
                  <a:lnTo>
                    <a:pt x="118" y="54"/>
                  </a:lnTo>
                  <a:lnTo>
                    <a:pt x="122" y="55"/>
                  </a:lnTo>
                  <a:lnTo>
                    <a:pt x="123" y="56"/>
                  </a:lnTo>
                  <a:lnTo>
                    <a:pt x="123" y="58"/>
                  </a:lnTo>
                  <a:lnTo>
                    <a:pt x="121" y="62"/>
                  </a:lnTo>
                  <a:lnTo>
                    <a:pt x="120" y="64"/>
                  </a:lnTo>
                  <a:lnTo>
                    <a:pt x="117" y="65"/>
                  </a:lnTo>
                  <a:lnTo>
                    <a:pt x="115" y="65"/>
                  </a:lnTo>
                  <a:lnTo>
                    <a:pt x="113" y="67"/>
                  </a:lnTo>
                  <a:lnTo>
                    <a:pt x="110" y="72"/>
                  </a:lnTo>
                  <a:lnTo>
                    <a:pt x="108" y="78"/>
                  </a:lnTo>
                  <a:lnTo>
                    <a:pt x="107" y="84"/>
                  </a:lnTo>
                  <a:lnTo>
                    <a:pt x="107" y="86"/>
                  </a:lnTo>
                  <a:lnTo>
                    <a:pt x="103" y="85"/>
                  </a:lnTo>
                  <a:lnTo>
                    <a:pt x="95" y="82"/>
                  </a:lnTo>
                  <a:lnTo>
                    <a:pt x="92" y="80"/>
                  </a:lnTo>
                  <a:lnTo>
                    <a:pt x="91" y="80"/>
                  </a:lnTo>
                  <a:lnTo>
                    <a:pt x="87" y="77"/>
                  </a:lnTo>
                  <a:lnTo>
                    <a:pt x="83" y="76"/>
                  </a:lnTo>
                  <a:lnTo>
                    <a:pt x="80" y="78"/>
                  </a:lnTo>
                  <a:lnTo>
                    <a:pt x="69" y="85"/>
                  </a:lnTo>
                  <a:lnTo>
                    <a:pt x="67" y="85"/>
                  </a:lnTo>
                  <a:lnTo>
                    <a:pt x="58" y="82"/>
                  </a:lnTo>
                  <a:lnTo>
                    <a:pt x="56" y="82"/>
                  </a:lnTo>
                  <a:lnTo>
                    <a:pt x="52" y="84"/>
                  </a:lnTo>
                  <a:lnTo>
                    <a:pt x="50" y="84"/>
                  </a:lnTo>
                  <a:lnTo>
                    <a:pt x="44" y="81"/>
                  </a:lnTo>
                  <a:lnTo>
                    <a:pt x="41" y="81"/>
                  </a:lnTo>
                  <a:lnTo>
                    <a:pt x="36" y="83"/>
                  </a:lnTo>
                  <a:lnTo>
                    <a:pt x="35" y="83"/>
                  </a:lnTo>
                  <a:lnTo>
                    <a:pt x="34" y="81"/>
                  </a:lnTo>
                  <a:lnTo>
                    <a:pt x="36" y="79"/>
                  </a:lnTo>
                  <a:lnTo>
                    <a:pt x="34" y="78"/>
                  </a:lnTo>
                  <a:lnTo>
                    <a:pt x="31" y="76"/>
                  </a:lnTo>
                  <a:lnTo>
                    <a:pt x="29" y="75"/>
                  </a:lnTo>
                  <a:lnTo>
                    <a:pt x="28" y="72"/>
                  </a:lnTo>
                  <a:lnTo>
                    <a:pt x="30" y="70"/>
                  </a:lnTo>
                  <a:lnTo>
                    <a:pt x="32" y="70"/>
                  </a:lnTo>
                  <a:lnTo>
                    <a:pt x="31" y="69"/>
                  </a:lnTo>
                  <a:lnTo>
                    <a:pt x="28" y="67"/>
                  </a:lnTo>
                  <a:lnTo>
                    <a:pt x="26" y="69"/>
                  </a:lnTo>
                  <a:lnTo>
                    <a:pt x="25" y="71"/>
                  </a:lnTo>
                  <a:lnTo>
                    <a:pt x="24" y="72"/>
                  </a:lnTo>
                  <a:lnTo>
                    <a:pt x="22" y="70"/>
                  </a:lnTo>
                  <a:lnTo>
                    <a:pt x="20" y="69"/>
                  </a:lnTo>
                  <a:lnTo>
                    <a:pt x="17" y="68"/>
                  </a:lnTo>
                  <a:lnTo>
                    <a:pt x="17" y="67"/>
                  </a:lnTo>
                  <a:lnTo>
                    <a:pt x="16" y="67"/>
                  </a:lnTo>
                  <a:lnTo>
                    <a:pt x="14" y="66"/>
                  </a:lnTo>
                  <a:lnTo>
                    <a:pt x="14" y="65"/>
                  </a:lnTo>
                  <a:lnTo>
                    <a:pt x="15" y="64"/>
                  </a:lnTo>
                  <a:lnTo>
                    <a:pt x="16" y="64"/>
                  </a:lnTo>
                  <a:lnTo>
                    <a:pt x="15" y="63"/>
                  </a:lnTo>
                  <a:lnTo>
                    <a:pt x="14" y="62"/>
                  </a:lnTo>
                  <a:lnTo>
                    <a:pt x="14" y="61"/>
                  </a:lnTo>
                  <a:lnTo>
                    <a:pt x="16" y="60"/>
                  </a:lnTo>
                  <a:lnTo>
                    <a:pt x="15" y="59"/>
                  </a:lnTo>
                  <a:lnTo>
                    <a:pt x="14" y="58"/>
                  </a:lnTo>
                  <a:lnTo>
                    <a:pt x="10" y="57"/>
                  </a:lnTo>
                  <a:lnTo>
                    <a:pt x="6" y="53"/>
                  </a:lnTo>
                  <a:lnTo>
                    <a:pt x="7" y="52"/>
                  </a:lnTo>
                  <a:lnTo>
                    <a:pt x="6" y="51"/>
                  </a:lnTo>
                  <a:lnTo>
                    <a:pt x="6" y="48"/>
                  </a:lnTo>
                  <a:lnTo>
                    <a:pt x="5" y="48"/>
                  </a:lnTo>
                  <a:lnTo>
                    <a:pt x="4" y="46"/>
                  </a:lnTo>
                  <a:lnTo>
                    <a:pt x="1" y="44"/>
                  </a:lnTo>
                  <a:lnTo>
                    <a:pt x="0" y="4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3" name="Freeform 75">
              <a:extLst>
                <a:ext uri="{FF2B5EF4-FFF2-40B4-BE49-F238E27FC236}">
                  <a16:creationId xmlns:a16="http://schemas.microsoft.com/office/drawing/2014/main" id="{09687912-4E3D-53A3-246A-2FB013F7EABE}"/>
                </a:ext>
              </a:extLst>
            </p:cNvPr>
            <p:cNvSpPr>
              <a:spLocks/>
            </p:cNvSpPr>
            <p:nvPr/>
          </p:nvSpPr>
          <p:spPr bwMode="auto">
            <a:xfrm>
              <a:off x="5674896" y="4156075"/>
              <a:ext cx="84138" cy="123825"/>
            </a:xfrm>
            <a:custGeom>
              <a:avLst/>
              <a:gdLst/>
              <a:ahLst/>
              <a:cxnLst>
                <a:cxn ang="0">
                  <a:pos x="45" y="44"/>
                </a:cxn>
                <a:cxn ang="0">
                  <a:pos x="52" y="59"/>
                </a:cxn>
                <a:cxn ang="0">
                  <a:pos x="45" y="70"/>
                </a:cxn>
                <a:cxn ang="0">
                  <a:pos x="43" y="70"/>
                </a:cxn>
                <a:cxn ang="0">
                  <a:pos x="41" y="70"/>
                </a:cxn>
                <a:cxn ang="0">
                  <a:pos x="39" y="71"/>
                </a:cxn>
                <a:cxn ang="0">
                  <a:pos x="36" y="71"/>
                </a:cxn>
                <a:cxn ang="0">
                  <a:pos x="32" y="73"/>
                </a:cxn>
                <a:cxn ang="0">
                  <a:pos x="31" y="73"/>
                </a:cxn>
                <a:cxn ang="0">
                  <a:pos x="29" y="73"/>
                </a:cxn>
                <a:cxn ang="0">
                  <a:pos x="25" y="76"/>
                </a:cxn>
                <a:cxn ang="0">
                  <a:pos x="24" y="78"/>
                </a:cxn>
                <a:cxn ang="0">
                  <a:pos x="16" y="67"/>
                </a:cxn>
                <a:cxn ang="0">
                  <a:pos x="16" y="64"/>
                </a:cxn>
                <a:cxn ang="0">
                  <a:pos x="16" y="62"/>
                </a:cxn>
                <a:cxn ang="0">
                  <a:pos x="18" y="62"/>
                </a:cxn>
                <a:cxn ang="0">
                  <a:pos x="20" y="61"/>
                </a:cxn>
                <a:cxn ang="0">
                  <a:pos x="17" y="59"/>
                </a:cxn>
                <a:cxn ang="0">
                  <a:pos x="15" y="57"/>
                </a:cxn>
                <a:cxn ang="0">
                  <a:pos x="14" y="56"/>
                </a:cxn>
                <a:cxn ang="0">
                  <a:pos x="11" y="55"/>
                </a:cxn>
                <a:cxn ang="0">
                  <a:pos x="7" y="51"/>
                </a:cxn>
                <a:cxn ang="0">
                  <a:pos x="6" y="48"/>
                </a:cxn>
                <a:cxn ang="0">
                  <a:pos x="8" y="48"/>
                </a:cxn>
                <a:cxn ang="0">
                  <a:pos x="9" y="45"/>
                </a:cxn>
                <a:cxn ang="0">
                  <a:pos x="5" y="40"/>
                </a:cxn>
                <a:cxn ang="0">
                  <a:pos x="9" y="41"/>
                </a:cxn>
                <a:cxn ang="0">
                  <a:pos x="10" y="39"/>
                </a:cxn>
                <a:cxn ang="0">
                  <a:pos x="7" y="37"/>
                </a:cxn>
                <a:cxn ang="0">
                  <a:pos x="4" y="35"/>
                </a:cxn>
                <a:cxn ang="0">
                  <a:pos x="4" y="32"/>
                </a:cxn>
                <a:cxn ang="0">
                  <a:pos x="5" y="28"/>
                </a:cxn>
                <a:cxn ang="0">
                  <a:pos x="7" y="24"/>
                </a:cxn>
                <a:cxn ang="0">
                  <a:pos x="3" y="25"/>
                </a:cxn>
                <a:cxn ang="0">
                  <a:pos x="4" y="23"/>
                </a:cxn>
                <a:cxn ang="0">
                  <a:pos x="3" y="20"/>
                </a:cxn>
                <a:cxn ang="0">
                  <a:pos x="4" y="18"/>
                </a:cxn>
                <a:cxn ang="0">
                  <a:pos x="6" y="19"/>
                </a:cxn>
                <a:cxn ang="0">
                  <a:pos x="8" y="18"/>
                </a:cxn>
                <a:cxn ang="0">
                  <a:pos x="6" y="17"/>
                </a:cxn>
                <a:cxn ang="0">
                  <a:pos x="3" y="15"/>
                </a:cxn>
                <a:cxn ang="0">
                  <a:pos x="2" y="14"/>
                </a:cxn>
                <a:cxn ang="0">
                  <a:pos x="3" y="13"/>
                </a:cxn>
                <a:cxn ang="0">
                  <a:pos x="1" y="11"/>
                </a:cxn>
                <a:cxn ang="0">
                  <a:pos x="1" y="9"/>
                </a:cxn>
                <a:cxn ang="0">
                  <a:pos x="0" y="5"/>
                </a:cxn>
                <a:cxn ang="0">
                  <a:pos x="20" y="3"/>
                </a:cxn>
                <a:cxn ang="0">
                  <a:pos x="25" y="10"/>
                </a:cxn>
                <a:cxn ang="0">
                  <a:pos x="33" y="17"/>
                </a:cxn>
                <a:cxn ang="0">
                  <a:pos x="33" y="21"/>
                </a:cxn>
                <a:cxn ang="0">
                  <a:pos x="33" y="24"/>
                </a:cxn>
                <a:cxn ang="0">
                  <a:pos x="36" y="27"/>
                </a:cxn>
                <a:cxn ang="0">
                  <a:pos x="44" y="30"/>
                </a:cxn>
                <a:cxn ang="0">
                  <a:pos x="51" y="29"/>
                </a:cxn>
                <a:cxn ang="0">
                  <a:pos x="50" y="35"/>
                </a:cxn>
              </a:cxnLst>
              <a:rect l="0" t="0" r="r" b="b"/>
              <a:pathLst>
                <a:path w="53" h="78">
                  <a:moveTo>
                    <a:pt x="50" y="35"/>
                  </a:moveTo>
                  <a:lnTo>
                    <a:pt x="48" y="38"/>
                  </a:lnTo>
                  <a:lnTo>
                    <a:pt x="46" y="41"/>
                  </a:lnTo>
                  <a:lnTo>
                    <a:pt x="45" y="44"/>
                  </a:lnTo>
                  <a:lnTo>
                    <a:pt x="45" y="46"/>
                  </a:lnTo>
                  <a:lnTo>
                    <a:pt x="53" y="55"/>
                  </a:lnTo>
                  <a:lnTo>
                    <a:pt x="53" y="56"/>
                  </a:lnTo>
                  <a:lnTo>
                    <a:pt x="52" y="59"/>
                  </a:lnTo>
                  <a:lnTo>
                    <a:pt x="47" y="62"/>
                  </a:lnTo>
                  <a:lnTo>
                    <a:pt x="46" y="64"/>
                  </a:lnTo>
                  <a:lnTo>
                    <a:pt x="46" y="68"/>
                  </a:lnTo>
                  <a:lnTo>
                    <a:pt x="45" y="70"/>
                  </a:lnTo>
                  <a:lnTo>
                    <a:pt x="45" y="70"/>
                  </a:lnTo>
                  <a:lnTo>
                    <a:pt x="45" y="70"/>
                  </a:lnTo>
                  <a:lnTo>
                    <a:pt x="44" y="70"/>
                  </a:lnTo>
                  <a:lnTo>
                    <a:pt x="43" y="70"/>
                  </a:lnTo>
                  <a:lnTo>
                    <a:pt x="42" y="70"/>
                  </a:lnTo>
                  <a:lnTo>
                    <a:pt x="42" y="71"/>
                  </a:lnTo>
                  <a:lnTo>
                    <a:pt x="41" y="70"/>
                  </a:lnTo>
                  <a:lnTo>
                    <a:pt x="41" y="70"/>
                  </a:lnTo>
                  <a:lnTo>
                    <a:pt x="41" y="71"/>
                  </a:lnTo>
                  <a:lnTo>
                    <a:pt x="40" y="70"/>
                  </a:lnTo>
                  <a:lnTo>
                    <a:pt x="39" y="70"/>
                  </a:lnTo>
                  <a:lnTo>
                    <a:pt x="39" y="71"/>
                  </a:lnTo>
                  <a:lnTo>
                    <a:pt x="38" y="72"/>
                  </a:lnTo>
                  <a:lnTo>
                    <a:pt x="37" y="71"/>
                  </a:lnTo>
                  <a:lnTo>
                    <a:pt x="36" y="71"/>
                  </a:lnTo>
                  <a:lnTo>
                    <a:pt x="36" y="71"/>
                  </a:lnTo>
                  <a:lnTo>
                    <a:pt x="35" y="71"/>
                  </a:lnTo>
                  <a:lnTo>
                    <a:pt x="34" y="72"/>
                  </a:lnTo>
                  <a:lnTo>
                    <a:pt x="33" y="73"/>
                  </a:lnTo>
                  <a:lnTo>
                    <a:pt x="32" y="73"/>
                  </a:lnTo>
                  <a:lnTo>
                    <a:pt x="33" y="74"/>
                  </a:lnTo>
                  <a:lnTo>
                    <a:pt x="32" y="74"/>
                  </a:lnTo>
                  <a:lnTo>
                    <a:pt x="32" y="74"/>
                  </a:lnTo>
                  <a:lnTo>
                    <a:pt x="31" y="73"/>
                  </a:lnTo>
                  <a:lnTo>
                    <a:pt x="30" y="73"/>
                  </a:lnTo>
                  <a:lnTo>
                    <a:pt x="30" y="72"/>
                  </a:lnTo>
                  <a:lnTo>
                    <a:pt x="29" y="73"/>
                  </a:lnTo>
                  <a:lnTo>
                    <a:pt x="29" y="73"/>
                  </a:lnTo>
                  <a:lnTo>
                    <a:pt x="27" y="74"/>
                  </a:lnTo>
                  <a:lnTo>
                    <a:pt x="26" y="74"/>
                  </a:lnTo>
                  <a:lnTo>
                    <a:pt x="26" y="75"/>
                  </a:lnTo>
                  <a:lnTo>
                    <a:pt x="25" y="76"/>
                  </a:lnTo>
                  <a:lnTo>
                    <a:pt x="25" y="77"/>
                  </a:lnTo>
                  <a:lnTo>
                    <a:pt x="25" y="77"/>
                  </a:lnTo>
                  <a:lnTo>
                    <a:pt x="25" y="78"/>
                  </a:lnTo>
                  <a:lnTo>
                    <a:pt x="24" y="78"/>
                  </a:lnTo>
                  <a:lnTo>
                    <a:pt x="23" y="78"/>
                  </a:lnTo>
                  <a:lnTo>
                    <a:pt x="23" y="77"/>
                  </a:lnTo>
                  <a:lnTo>
                    <a:pt x="18" y="70"/>
                  </a:lnTo>
                  <a:lnTo>
                    <a:pt x="16" y="67"/>
                  </a:lnTo>
                  <a:lnTo>
                    <a:pt x="16" y="67"/>
                  </a:lnTo>
                  <a:lnTo>
                    <a:pt x="17" y="65"/>
                  </a:lnTo>
                  <a:lnTo>
                    <a:pt x="17" y="64"/>
                  </a:lnTo>
                  <a:lnTo>
                    <a:pt x="16" y="64"/>
                  </a:lnTo>
                  <a:lnTo>
                    <a:pt x="15" y="64"/>
                  </a:lnTo>
                  <a:lnTo>
                    <a:pt x="15" y="64"/>
                  </a:lnTo>
                  <a:lnTo>
                    <a:pt x="15" y="63"/>
                  </a:lnTo>
                  <a:lnTo>
                    <a:pt x="16" y="62"/>
                  </a:lnTo>
                  <a:lnTo>
                    <a:pt x="17" y="62"/>
                  </a:lnTo>
                  <a:lnTo>
                    <a:pt x="18" y="63"/>
                  </a:lnTo>
                  <a:lnTo>
                    <a:pt x="18" y="62"/>
                  </a:lnTo>
                  <a:lnTo>
                    <a:pt x="18" y="62"/>
                  </a:lnTo>
                  <a:lnTo>
                    <a:pt x="19" y="62"/>
                  </a:lnTo>
                  <a:lnTo>
                    <a:pt x="20" y="61"/>
                  </a:lnTo>
                  <a:lnTo>
                    <a:pt x="20" y="61"/>
                  </a:lnTo>
                  <a:lnTo>
                    <a:pt x="20" y="61"/>
                  </a:lnTo>
                  <a:lnTo>
                    <a:pt x="19" y="60"/>
                  </a:lnTo>
                  <a:lnTo>
                    <a:pt x="18" y="59"/>
                  </a:lnTo>
                  <a:lnTo>
                    <a:pt x="18" y="59"/>
                  </a:lnTo>
                  <a:lnTo>
                    <a:pt x="17" y="59"/>
                  </a:lnTo>
                  <a:lnTo>
                    <a:pt x="17" y="59"/>
                  </a:lnTo>
                  <a:lnTo>
                    <a:pt x="16" y="58"/>
                  </a:lnTo>
                  <a:lnTo>
                    <a:pt x="16" y="58"/>
                  </a:lnTo>
                  <a:lnTo>
                    <a:pt x="15" y="57"/>
                  </a:lnTo>
                  <a:lnTo>
                    <a:pt x="15" y="56"/>
                  </a:lnTo>
                  <a:lnTo>
                    <a:pt x="14" y="56"/>
                  </a:lnTo>
                  <a:lnTo>
                    <a:pt x="14" y="56"/>
                  </a:lnTo>
                  <a:lnTo>
                    <a:pt x="14" y="56"/>
                  </a:lnTo>
                  <a:lnTo>
                    <a:pt x="13" y="56"/>
                  </a:lnTo>
                  <a:lnTo>
                    <a:pt x="11" y="55"/>
                  </a:lnTo>
                  <a:lnTo>
                    <a:pt x="11" y="55"/>
                  </a:lnTo>
                  <a:lnTo>
                    <a:pt x="11" y="55"/>
                  </a:lnTo>
                  <a:lnTo>
                    <a:pt x="9" y="54"/>
                  </a:lnTo>
                  <a:lnTo>
                    <a:pt x="9" y="53"/>
                  </a:lnTo>
                  <a:lnTo>
                    <a:pt x="8" y="52"/>
                  </a:lnTo>
                  <a:lnTo>
                    <a:pt x="7" y="51"/>
                  </a:lnTo>
                  <a:lnTo>
                    <a:pt x="6" y="50"/>
                  </a:lnTo>
                  <a:lnTo>
                    <a:pt x="5" y="50"/>
                  </a:lnTo>
                  <a:lnTo>
                    <a:pt x="5" y="49"/>
                  </a:lnTo>
                  <a:lnTo>
                    <a:pt x="6" y="48"/>
                  </a:lnTo>
                  <a:lnTo>
                    <a:pt x="6" y="47"/>
                  </a:lnTo>
                  <a:lnTo>
                    <a:pt x="7" y="47"/>
                  </a:lnTo>
                  <a:lnTo>
                    <a:pt x="8" y="47"/>
                  </a:lnTo>
                  <a:lnTo>
                    <a:pt x="8" y="48"/>
                  </a:lnTo>
                  <a:lnTo>
                    <a:pt x="8" y="48"/>
                  </a:lnTo>
                  <a:lnTo>
                    <a:pt x="9" y="48"/>
                  </a:lnTo>
                  <a:lnTo>
                    <a:pt x="9" y="47"/>
                  </a:lnTo>
                  <a:lnTo>
                    <a:pt x="9" y="45"/>
                  </a:lnTo>
                  <a:lnTo>
                    <a:pt x="8" y="44"/>
                  </a:lnTo>
                  <a:lnTo>
                    <a:pt x="7" y="43"/>
                  </a:lnTo>
                  <a:lnTo>
                    <a:pt x="6" y="41"/>
                  </a:lnTo>
                  <a:lnTo>
                    <a:pt x="5" y="40"/>
                  </a:lnTo>
                  <a:lnTo>
                    <a:pt x="6" y="40"/>
                  </a:lnTo>
                  <a:lnTo>
                    <a:pt x="6" y="40"/>
                  </a:lnTo>
                  <a:lnTo>
                    <a:pt x="7" y="41"/>
                  </a:lnTo>
                  <a:lnTo>
                    <a:pt x="9" y="41"/>
                  </a:lnTo>
                  <a:lnTo>
                    <a:pt x="9" y="41"/>
                  </a:lnTo>
                  <a:lnTo>
                    <a:pt x="10" y="40"/>
                  </a:lnTo>
                  <a:lnTo>
                    <a:pt x="10" y="40"/>
                  </a:lnTo>
                  <a:lnTo>
                    <a:pt x="10" y="39"/>
                  </a:lnTo>
                  <a:lnTo>
                    <a:pt x="9" y="39"/>
                  </a:lnTo>
                  <a:lnTo>
                    <a:pt x="8" y="38"/>
                  </a:lnTo>
                  <a:lnTo>
                    <a:pt x="8" y="38"/>
                  </a:lnTo>
                  <a:lnTo>
                    <a:pt x="7" y="37"/>
                  </a:lnTo>
                  <a:lnTo>
                    <a:pt x="6" y="36"/>
                  </a:lnTo>
                  <a:lnTo>
                    <a:pt x="6" y="35"/>
                  </a:lnTo>
                  <a:lnTo>
                    <a:pt x="5" y="35"/>
                  </a:lnTo>
                  <a:lnTo>
                    <a:pt x="4" y="35"/>
                  </a:lnTo>
                  <a:lnTo>
                    <a:pt x="4" y="34"/>
                  </a:lnTo>
                  <a:lnTo>
                    <a:pt x="3" y="33"/>
                  </a:lnTo>
                  <a:lnTo>
                    <a:pt x="4" y="32"/>
                  </a:lnTo>
                  <a:lnTo>
                    <a:pt x="4" y="32"/>
                  </a:lnTo>
                  <a:lnTo>
                    <a:pt x="4" y="31"/>
                  </a:lnTo>
                  <a:lnTo>
                    <a:pt x="4" y="30"/>
                  </a:lnTo>
                  <a:lnTo>
                    <a:pt x="5" y="30"/>
                  </a:lnTo>
                  <a:lnTo>
                    <a:pt x="5" y="28"/>
                  </a:lnTo>
                  <a:lnTo>
                    <a:pt x="6" y="26"/>
                  </a:lnTo>
                  <a:lnTo>
                    <a:pt x="6" y="25"/>
                  </a:lnTo>
                  <a:lnTo>
                    <a:pt x="7" y="24"/>
                  </a:lnTo>
                  <a:lnTo>
                    <a:pt x="7" y="24"/>
                  </a:lnTo>
                  <a:lnTo>
                    <a:pt x="6" y="23"/>
                  </a:lnTo>
                  <a:lnTo>
                    <a:pt x="5" y="23"/>
                  </a:lnTo>
                  <a:lnTo>
                    <a:pt x="4" y="23"/>
                  </a:lnTo>
                  <a:lnTo>
                    <a:pt x="3" y="25"/>
                  </a:lnTo>
                  <a:lnTo>
                    <a:pt x="2" y="24"/>
                  </a:lnTo>
                  <a:lnTo>
                    <a:pt x="3" y="23"/>
                  </a:lnTo>
                  <a:lnTo>
                    <a:pt x="3" y="23"/>
                  </a:lnTo>
                  <a:lnTo>
                    <a:pt x="4" y="23"/>
                  </a:lnTo>
                  <a:lnTo>
                    <a:pt x="4" y="22"/>
                  </a:lnTo>
                  <a:lnTo>
                    <a:pt x="3" y="22"/>
                  </a:lnTo>
                  <a:lnTo>
                    <a:pt x="4" y="21"/>
                  </a:lnTo>
                  <a:lnTo>
                    <a:pt x="3" y="20"/>
                  </a:lnTo>
                  <a:lnTo>
                    <a:pt x="3" y="19"/>
                  </a:lnTo>
                  <a:lnTo>
                    <a:pt x="4" y="19"/>
                  </a:lnTo>
                  <a:lnTo>
                    <a:pt x="5" y="19"/>
                  </a:lnTo>
                  <a:lnTo>
                    <a:pt x="4" y="18"/>
                  </a:lnTo>
                  <a:lnTo>
                    <a:pt x="5" y="18"/>
                  </a:lnTo>
                  <a:lnTo>
                    <a:pt x="5" y="18"/>
                  </a:lnTo>
                  <a:lnTo>
                    <a:pt x="5" y="18"/>
                  </a:lnTo>
                  <a:lnTo>
                    <a:pt x="6" y="19"/>
                  </a:lnTo>
                  <a:lnTo>
                    <a:pt x="6" y="18"/>
                  </a:lnTo>
                  <a:lnTo>
                    <a:pt x="7" y="19"/>
                  </a:lnTo>
                  <a:lnTo>
                    <a:pt x="8" y="19"/>
                  </a:lnTo>
                  <a:lnTo>
                    <a:pt x="8" y="18"/>
                  </a:lnTo>
                  <a:lnTo>
                    <a:pt x="8" y="17"/>
                  </a:lnTo>
                  <a:lnTo>
                    <a:pt x="7" y="17"/>
                  </a:lnTo>
                  <a:lnTo>
                    <a:pt x="6" y="17"/>
                  </a:lnTo>
                  <a:lnTo>
                    <a:pt x="6" y="17"/>
                  </a:lnTo>
                  <a:lnTo>
                    <a:pt x="5" y="17"/>
                  </a:lnTo>
                  <a:lnTo>
                    <a:pt x="4" y="17"/>
                  </a:lnTo>
                  <a:lnTo>
                    <a:pt x="3" y="16"/>
                  </a:lnTo>
                  <a:lnTo>
                    <a:pt x="3" y="15"/>
                  </a:lnTo>
                  <a:lnTo>
                    <a:pt x="2" y="16"/>
                  </a:lnTo>
                  <a:lnTo>
                    <a:pt x="2" y="14"/>
                  </a:lnTo>
                  <a:lnTo>
                    <a:pt x="2" y="14"/>
                  </a:lnTo>
                  <a:lnTo>
                    <a:pt x="2" y="14"/>
                  </a:lnTo>
                  <a:lnTo>
                    <a:pt x="2" y="13"/>
                  </a:lnTo>
                  <a:lnTo>
                    <a:pt x="2" y="13"/>
                  </a:lnTo>
                  <a:lnTo>
                    <a:pt x="3" y="13"/>
                  </a:lnTo>
                  <a:lnTo>
                    <a:pt x="3" y="13"/>
                  </a:lnTo>
                  <a:lnTo>
                    <a:pt x="3" y="12"/>
                  </a:lnTo>
                  <a:lnTo>
                    <a:pt x="2" y="12"/>
                  </a:lnTo>
                  <a:lnTo>
                    <a:pt x="2" y="12"/>
                  </a:lnTo>
                  <a:lnTo>
                    <a:pt x="1" y="11"/>
                  </a:lnTo>
                  <a:lnTo>
                    <a:pt x="1" y="10"/>
                  </a:lnTo>
                  <a:lnTo>
                    <a:pt x="2" y="10"/>
                  </a:lnTo>
                  <a:lnTo>
                    <a:pt x="2" y="9"/>
                  </a:lnTo>
                  <a:lnTo>
                    <a:pt x="1" y="9"/>
                  </a:lnTo>
                  <a:lnTo>
                    <a:pt x="1" y="8"/>
                  </a:lnTo>
                  <a:lnTo>
                    <a:pt x="1" y="7"/>
                  </a:lnTo>
                  <a:lnTo>
                    <a:pt x="1" y="7"/>
                  </a:lnTo>
                  <a:lnTo>
                    <a:pt x="0" y="5"/>
                  </a:lnTo>
                  <a:lnTo>
                    <a:pt x="9" y="1"/>
                  </a:lnTo>
                  <a:lnTo>
                    <a:pt x="14" y="0"/>
                  </a:lnTo>
                  <a:lnTo>
                    <a:pt x="19" y="1"/>
                  </a:lnTo>
                  <a:lnTo>
                    <a:pt x="20" y="3"/>
                  </a:lnTo>
                  <a:lnTo>
                    <a:pt x="23" y="5"/>
                  </a:lnTo>
                  <a:lnTo>
                    <a:pt x="24" y="7"/>
                  </a:lnTo>
                  <a:lnTo>
                    <a:pt x="25" y="7"/>
                  </a:lnTo>
                  <a:lnTo>
                    <a:pt x="25" y="10"/>
                  </a:lnTo>
                  <a:lnTo>
                    <a:pt x="26" y="11"/>
                  </a:lnTo>
                  <a:lnTo>
                    <a:pt x="25" y="12"/>
                  </a:lnTo>
                  <a:lnTo>
                    <a:pt x="29" y="16"/>
                  </a:lnTo>
                  <a:lnTo>
                    <a:pt x="33" y="17"/>
                  </a:lnTo>
                  <a:lnTo>
                    <a:pt x="34" y="18"/>
                  </a:lnTo>
                  <a:lnTo>
                    <a:pt x="35" y="19"/>
                  </a:lnTo>
                  <a:lnTo>
                    <a:pt x="33" y="20"/>
                  </a:lnTo>
                  <a:lnTo>
                    <a:pt x="33" y="21"/>
                  </a:lnTo>
                  <a:lnTo>
                    <a:pt x="34" y="22"/>
                  </a:lnTo>
                  <a:lnTo>
                    <a:pt x="35" y="23"/>
                  </a:lnTo>
                  <a:lnTo>
                    <a:pt x="34" y="23"/>
                  </a:lnTo>
                  <a:lnTo>
                    <a:pt x="33" y="24"/>
                  </a:lnTo>
                  <a:lnTo>
                    <a:pt x="33" y="25"/>
                  </a:lnTo>
                  <a:lnTo>
                    <a:pt x="35" y="26"/>
                  </a:lnTo>
                  <a:lnTo>
                    <a:pt x="36" y="26"/>
                  </a:lnTo>
                  <a:lnTo>
                    <a:pt x="36" y="27"/>
                  </a:lnTo>
                  <a:lnTo>
                    <a:pt x="39" y="28"/>
                  </a:lnTo>
                  <a:lnTo>
                    <a:pt x="41" y="29"/>
                  </a:lnTo>
                  <a:lnTo>
                    <a:pt x="43" y="31"/>
                  </a:lnTo>
                  <a:lnTo>
                    <a:pt x="44" y="30"/>
                  </a:lnTo>
                  <a:lnTo>
                    <a:pt x="45" y="28"/>
                  </a:lnTo>
                  <a:lnTo>
                    <a:pt x="47" y="26"/>
                  </a:lnTo>
                  <a:lnTo>
                    <a:pt x="50" y="28"/>
                  </a:lnTo>
                  <a:lnTo>
                    <a:pt x="51" y="29"/>
                  </a:lnTo>
                  <a:lnTo>
                    <a:pt x="49" y="29"/>
                  </a:lnTo>
                  <a:lnTo>
                    <a:pt x="47" y="31"/>
                  </a:lnTo>
                  <a:lnTo>
                    <a:pt x="48" y="34"/>
                  </a:lnTo>
                  <a:lnTo>
                    <a:pt x="50" y="3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4" name="Freeform 76">
              <a:extLst>
                <a:ext uri="{FF2B5EF4-FFF2-40B4-BE49-F238E27FC236}">
                  <a16:creationId xmlns:a16="http://schemas.microsoft.com/office/drawing/2014/main" id="{21EC373B-0B75-05EA-7553-834BB8382EFF}"/>
                </a:ext>
              </a:extLst>
            </p:cNvPr>
            <p:cNvSpPr>
              <a:spLocks/>
            </p:cNvSpPr>
            <p:nvPr/>
          </p:nvSpPr>
          <p:spPr bwMode="auto">
            <a:xfrm>
              <a:off x="5741571" y="3957638"/>
              <a:ext cx="374650" cy="247650"/>
            </a:xfrm>
            <a:custGeom>
              <a:avLst/>
              <a:gdLst/>
              <a:ahLst/>
              <a:cxnLst>
                <a:cxn ang="0">
                  <a:pos x="29" y="14"/>
                </a:cxn>
                <a:cxn ang="0">
                  <a:pos x="45" y="10"/>
                </a:cxn>
                <a:cxn ang="0">
                  <a:pos x="64" y="14"/>
                </a:cxn>
                <a:cxn ang="0">
                  <a:pos x="74" y="17"/>
                </a:cxn>
                <a:cxn ang="0">
                  <a:pos x="80" y="16"/>
                </a:cxn>
                <a:cxn ang="0">
                  <a:pos x="88" y="19"/>
                </a:cxn>
                <a:cxn ang="0">
                  <a:pos x="95" y="21"/>
                </a:cxn>
                <a:cxn ang="0">
                  <a:pos x="106" y="19"/>
                </a:cxn>
                <a:cxn ang="0">
                  <a:pos x="110" y="18"/>
                </a:cxn>
                <a:cxn ang="0">
                  <a:pos x="119" y="7"/>
                </a:cxn>
                <a:cxn ang="0">
                  <a:pos x="135" y="3"/>
                </a:cxn>
                <a:cxn ang="0">
                  <a:pos x="156" y="4"/>
                </a:cxn>
                <a:cxn ang="0">
                  <a:pos x="158" y="18"/>
                </a:cxn>
                <a:cxn ang="0">
                  <a:pos x="173" y="28"/>
                </a:cxn>
                <a:cxn ang="0">
                  <a:pos x="179" y="42"/>
                </a:cxn>
                <a:cxn ang="0">
                  <a:pos x="194" y="43"/>
                </a:cxn>
                <a:cxn ang="0">
                  <a:pos x="204" y="49"/>
                </a:cxn>
                <a:cxn ang="0">
                  <a:pos x="216" y="52"/>
                </a:cxn>
                <a:cxn ang="0">
                  <a:pos x="231" y="59"/>
                </a:cxn>
                <a:cxn ang="0">
                  <a:pos x="236" y="64"/>
                </a:cxn>
                <a:cxn ang="0">
                  <a:pos x="234" y="73"/>
                </a:cxn>
                <a:cxn ang="0">
                  <a:pos x="232" y="80"/>
                </a:cxn>
                <a:cxn ang="0">
                  <a:pos x="225" y="92"/>
                </a:cxn>
                <a:cxn ang="0">
                  <a:pos x="211" y="102"/>
                </a:cxn>
                <a:cxn ang="0">
                  <a:pos x="187" y="114"/>
                </a:cxn>
                <a:cxn ang="0">
                  <a:pos x="162" y="123"/>
                </a:cxn>
                <a:cxn ang="0">
                  <a:pos x="173" y="141"/>
                </a:cxn>
                <a:cxn ang="0">
                  <a:pos x="182" y="146"/>
                </a:cxn>
                <a:cxn ang="0">
                  <a:pos x="156" y="156"/>
                </a:cxn>
                <a:cxn ang="0">
                  <a:pos x="138" y="140"/>
                </a:cxn>
                <a:cxn ang="0">
                  <a:pos x="147" y="125"/>
                </a:cxn>
                <a:cxn ang="0">
                  <a:pos x="127" y="115"/>
                </a:cxn>
                <a:cxn ang="0">
                  <a:pos x="97" y="137"/>
                </a:cxn>
                <a:cxn ang="0">
                  <a:pos x="82" y="140"/>
                </a:cxn>
                <a:cxn ang="0">
                  <a:pos x="84" y="136"/>
                </a:cxn>
                <a:cxn ang="0">
                  <a:pos x="87" y="132"/>
                </a:cxn>
                <a:cxn ang="0">
                  <a:pos x="90" y="126"/>
                </a:cxn>
                <a:cxn ang="0">
                  <a:pos x="90" y="119"/>
                </a:cxn>
                <a:cxn ang="0">
                  <a:pos x="94" y="120"/>
                </a:cxn>
                <a:cxn ang="0">
                  <a:pos x="97" y="120"/>
                </a:cxn>
                <a:cxn ang="0">
                  <a:pos x="101" y="121"/>
                </a:cxn>
                <a:cxn ang="0">
                  <a:pos x="104" y="120"/>
                </a:cxn>
                <a:cxn ang="0">
                  <a:pos x="103" y="114"/>
                </a:cxn>
                <a:cxn ang="0">
                  <a:pos x="98" y="109"/>
                </a:cxn>
                <a:cxn ang="0">
                  <a:pos x="98" y="103"/>
                </a:cxn>
                <a:cxn ang="0">
                  <a:pos x="93" y="101"/>
                </a:cxn>
                <a:cxn ang="0">
                  <a:pos x="94" y="92"/>
                </a:cxn>
                <a:cxn ang="0">
                  <a:pos x="88" y="89"/>
                </a:cxn>
                <a:cxn ang="0">
                  <a:pos x="82" y="87"/>
                </a:cxn>
                <a:cxn ang="0">
                  <a:pos x="79" y="85"/>
                </a:cxn>
                <a:cxn ang="0">
                  <a:pos x="74" y="81"/>
                </a:cxn>
                <a:cxn ang="0">
                  <a:pos x="68" y="82"/>
                </a:cxn>
                <a:cxn ang="0">
                  <a:pos x="61" y="84"/>
                </a:cxn>
                <a:cxn ang="0">
                  <a:pos x="41" y="93"/>
                </a:cxn>
                <a:cxn ang="0">
                  <a:pos x="20" y="89"/>
                </a:cxn>
                <a:cxn ang="0">
                  <a:pos x="7" y="69"/>
                </a:cxn>
                <a:cxn ang="0">
                  <a:pos x="25" y="41"/>
                </a:cxn>
                <a:cxn ang="0">
                  <a:pos x="21" y="19"/>
                </a:cxn>
              </a:cxnLst>
              <a:rect l="0" t="0" r="r" b="b"/>
              <a:pathLst>
                <a:path w="236" h="156">
                  <a:moveTo>
                    <a:pt x="20" y="18"/>
                  </a:moveTo>
                  <a:lnTo>
                    <a:pt x="20" y="18"/>
                  </a:lnTo>
                  <a:lnTo>
                    <a:pt x="20" y="16"/>
                  </a:lnTo>
                  <a:lnTo>
                    <a:pt x="23" y="16"/>
                  </a:lnTo>
                  <a:lnTo>
                    <a:pt x="24" y="16"/>
                  </a:lnTo>
                  <a:lnTo>
                    <a:pt x="25" y="18"/>
                  </a:lnTo>
                  <a:lnTo>
                    <a:pt x="27" y="16"/>
                  </a:lnTo>
                  <a:lnTo>
                    <a:pt x="29" y="14"/>
                  </a:lnTo>
                  <a:lnTo>
                    <a:pt x="29" y="12"/>
                  </a:lnTo>
                  <a:lnTo>
                    <a:pt x="30" y="10"/>
                  </a:lnTo>
                  <a:lnTo>
                    <a:pt x="33" y="10"/>
                  </a:lnTo>
                  <a:lnTo>
                    <a:pt x="36" y="11"/>
                  </a:lnTo>
                  <a:lnTo>
                    <a:pt x="38" y="10"/>
                  </a:lnTo>
                  <a:lnTo>
                    <a:pt x="40" y="10"/>
                  </a:lnTo>
                  <a:lnTo>
                    <a:pt x="42" y="10"/>
                  </a:lnTo>
                  <a:lnTo>
                    <a:pt x="45" y="10"/>
                  </a:lnTo>
                  <a:lnTo>
                    <a:pt x="48" y="9"/>
                  </a:lnTo>
                  <a:lnTo>
                    <a:pt x="51" y="10"/>
                  </a:lnTo>
                  <a:lnTo>
                    <a:pt x="53" y="10"/>
                  </a:lnTo>
                  <a:lnTo>
                    <a:pt x="54" y="12"/>
                  </a:lnTo>
                  <a:lnTo>
                    <a:pt x="57" y="12"/>
                  </a:lnTo>
                  <a:lnTo>
                    <a:pt x="57" y="12"/>
                  </a:lnTo>
                  <a:lnTo>
                    <a:pt x="61" y="13"/>
                  </a:lnTo>
                  <a:lnTo>
                    <a:pt x="64" y="14"/>
                  </a:lnTo>
                  <a:lnTo>
                    <a:pt x="65" y="13"/>
                  </a:lnTo>
                  <a:lnTo>
                    <a:pt x="67" y="13"/>
                  </a:lnTo>
                  <a:lnTo>
                    <a:pt x="67" y="16"/>
                  </a:lnTo>
                  <a:lnTo>
                    <a:pt x="68" y="16"/>
                  </a:lnTo>
                  <a:lnTo>
                    <a:pt x="68" y="17"/>
                  </a:lnTo>
                  <a:lnTo>
                    <a:pt x="71" y="16"/>
                  </a:lnTo>
                  <a:lnTo>
                    <a:pt x="72" y="16"/>
                  </a:lnTo>
                  <a:lnTo>
                    <a:pt x="74" y="17"/>
                  </a:lnTo>
                  <a:lnTo>
                    <a:pt x="73" y="19"/>
                  </a:lnTo>
                  <a:lnTo>
                    <a:pt x="74" y="19"/>
                  </a:lnTo>
                  <a:lnTo>
                    <a:pt x="75" y="19"/>
                  </a:lnTo>
                  <a:lnTo>
                    <a:pt x="75" y="17"/>
                  </a:lnTo>
                  <a:lnTo>
                    <a:pt x="75" y="17"/>
                  </a:lnTo>
                  <a:lnTo>
                    <a:pt x="77" y="18"/>
                  </a:lnTo>
                  <a:lnTo>
                    <a:pt x="79" y="17"/>
                  </a:lnTo>
                  <a:lnTo>
                    <a:pt x="80" y="16"/>
                  </a:lnTo>
                  <a:lnTo>
                    <a:pt x="81" y="17"/>
                  </a:lnTo>
                  <a:lnTo>
                    <a:pt x="82" y="19"/>
                  </a:lnTo>
                  <a:lnTo>
                    <a:pt x="83" y="18"/>
                  </a:lnTo>
                  <a:lnTo>
                    <a:pt x="84" y="18"/>
                  </a:lnTo>
                  <a:lnTo>
                    <a:pt x="86" y="19"/>
                  </a:lnTo>
                  <a:lnTo>
                    <a:pt x="86" y="20"/>
                  </a:lnTo>
                  <a:lnTo>
                    <a:pt x="87" y="20"/>
                  </a:lnTo>
                  <a:lnTo>
                    <a:pt x="88" y="19"/>
                  </a:lnTo>
                  <a:lnTo>
                    <a:pt x="89" y="18"/>
                  </a:lnTo>
                  <a:lnTo>
                    <a:pt x="90" y="18"/>
                  </a:lnTo>
                  <a:lnTo>
                    <a:pt x="91" y="17"/>
                  </a:lnTo>
                  <a:lnTo>
                    <a:pt x="92" y="16"/>
                  </a:lnTo>
                  <a:lnTo>
                    <a:pt x="93" y="18"/>
                  </a:lnTo>
                  <a:lnTo>
                    <a:pt x="93" y="19"/>
                  </a:lnTo>
                  <a:lnTo>
                    <a:pt x="94" y="21"/>
                  </a:lnTo>
                  <a:lnTo>
                    <a:pt x="95" y="21"/>
                  </a:lnTo>
                  <a:lnTo>
                    <a:pt x="97" y="21"/>
                  </a:lnTo>
                  <a:lnTo>
                    <a:pt x="98" y="20"/>
                  </a:lnTo>
                  <a:lnTo>
                    <a:pt x="99" y="19"/>
                  </a:lnTo>
                  <a:lnTo>
                    <a:pt x="100" y="21"/>
                  </a:lnTo>
                  <a:lnTo>
                    <a:pt x="102" y="20"/>
                  </a:lnTo>
                  <a:lnTo>
                    <a:pt x="103" y="19"/>
                  </a:lnTo>
                  <a:lnTo>
                    <a:pt x="105" y="19"/>
                  </a:lnTo>
                  <a:lnTo>
                    <a:pt x="106" y="19"/>
                  </a:lnTo>
                  <a:lnTo>
                    <a:pt x="107" y="20"/>
                  </a:lnTo>
                  <a:lnTo>
                    <a:pt x="108" y="21"/>
                  </a:lnTo>
                  <a:lnTo>
                    <a:pt x="108" y="23"/>
                  </a:lnTo>
                  <a:lnTo>
                    <a:pt x="110" y="23"/>
                  </a:lnTo>
                  <a:lnTo>
                    <a:pt x="111" y="24"/>
                  </a:lnTo>
                  <a:lnTo>
                    <a:pt x="112" y="22"/>
                  </a:lnTo>
                  <a:lnTo>
                    <a:pt x="111" y="20"/>
                  </a:lnTo>
                  <a:lnTo>
                    <a:pt x="110" y="18"/>
                  </a:lnTo>
                  <a:lnTo>
                    <a:pt x="110" y="16"/>
                  </a:lnTo>
                  <a:lnTo>
                    <a:pt x="112" y="14"/>
                  </a:lnTo>
                  <a:lnTo>
                    <a:pt x="113" y="12"/>
                  </a:lnTo>
                  <a:lnTo>
                    <a:pt x="115" y="10"/>
                  </a:lnTo>
                  <a:lnTo>
                    <a:pt x="116" y="9"/>
                  </a:lnTo>
                  <a:lnTo>
                    <a:pt x="116" y="7"/>
                  </a:lnTo>
                  <a:lnTo>
                    <a:pt x="118" y="7"/>
                  </a:lnTo>
                  <a:lnTo>
                    <a:pt x="119" y="7"/>
                  </a:lnTo>
                  <a:lnTo>
                    <a:pt x="120" y="8"/>
                  </a:lnTo>
                  <a:lnTo>
                    <a:pt x="121" y="6"/>
                  </a:lnTo>
                  <a:lnTo>
                    <a:pt x="124" y="6"/>
                  </a:lnTo>
                  <a:lnTo>
                    <a:pt x="127" y="6"/>
                  </a:lnTo>
                  <a:lnTo>
                    <a:pt x="129" y="7"/>
                  </a:lnTo>
                  <a:lnTo>
                    <a:pt x="132" y="7"/>
                  </a:lnTo>
                  <a:lnTo>
                    <a:pt x="134" y="6"/>
                  </a:lnTo>
                  <a:lnTo>
                    <a:pt x="135" y="3"/>
                  </a:lnTo>
                  <a:lnTo>
                    <a:pt x="135" y="0"/>
                  </a:lnTo>
                  <a:lnTo>
                    <a:pt x="138" y="3"/>
                  </a:lnTo>
                  <a:lnTo>
                    <a:pt x="142" y="2"/>
                  </a:lnTo>
                  <a:lnTo>
                    <a:pt x="146" y="0"/>
                  </a:lnTo>
                  <a:lnTo>
                    <a:pt x="150" y="1"/>
                  </a:lnTo>
                  <a:lnTo>
                    <a:pt x="153" y="0"/>
                  </a:lnTo>
                  <a:lnTo>
                    <a:pt x="154" y="3"/>
                  </a:lnTo>
                  <a:lnTo>
                    <a:pt x="156" y="4"/>
                  </a:lnTo>
                  <a:lnTo>
                    <a:pt x="157" y="7"/>
                  </a:lnTo>
                  <a:lnTo>
                    <a:pt x="158" y="9"/>
                  </a:lnTo>
                  <a:lnTo>
                    <a:pt x="159" y="10"/>
                  </a:lnTo>
                  <a:lnTo>
                    <a:pt x="161" y="12"/>
                  </a:lnTo>
                  <a:lnTo>
                    <a:pt x="161" y="15"/>
                  </a:lnTo>
                  <a:lnTo>
                    <a:pt x="159" y="14"/>
                  </a:lnTo>
                  <a:lnTo>
                    <a:pt x="158" y="16"/>
                  </a:lnTo>
                  <a:lnTo>
                    <a:pt x="158" y="18"/>
                  </a:lnTo>
                  <a:lnTo>
                    <a:pt x="159" y="22"/>
                  </a:lnTo>
                  <a:lnTo>
                    <a:pt x="161" y="24"/>
                  </a:lnTo>
                  <a:lnTo>
                    <a:pt x="164" y="24"/>
                  </a:lnTo>
                  <a:lnTo>
                    <a:pt x="165" y="25"/>
                  </a:lnTo>
                  <a:lnTo>
                    <a:pt x="168" y="25"/>
                  </a:lnTo>
                  <a:lnTo>
                    <a:pt x="171" y="25"/>
                  </a:lnTo>
                  <a:lnTo>
                    <a:pt x="171" y="28"/>
                  </a:lnTo>
                  <a:lnTo>
                    <a:pt x="173" y="28"/>
                  </a:lnTo>
                  <a:lnTo>
                    <a:pt x="173" y="31"/>
                  </a:lnTo>
                  <a:lnTo>
                    <a:pt x="174" y="34"/>
                  </a:lnTo>
                  <a:lnTo>
                    <a:pt x="175" y="36"/>
                  </a:lnTo>
                  <a:lnTo>
                    <a:pt x="174" y="38"/>
                  </a:lnTo>
                  <a:lnTo>
                    <a:pt x="175" y="40"/>
                  </a:lnTo>
                  <a:lnTo>
                    <a:pt x="176" y="41"/>
                  </a:lnTo>
                  <a:lnTo>
                    <a:pt x="177" y="43"/>
                  </a:lnTo>
                  <a:lnTo>
                    <a:pt x="179" y="42"/>
                  </a:lnTo>
                  <a:lnTo>
                    <a:pt x="182" y="41"/>
                  </a:lnTo>
                  <a:lnTo>
                    <a:pt x="183" y="42"/>
                  </a:lnTo>
                  <a:lnTo>
                    <a:pt x="186" y="44"/>
                  </a:lnTo>
                  <a:lnTo>
                    <a:pt x="188" y="44"/>
                  </a:lnTo>
                  <a:lnTo>
                    <a:pt x="188" y="44"/>
                  </a:lnTo>
                  <a:lnTo>
                    <a:pt x="189" y="45"/>
                  </a:lnTo>
                  <a:lnTo>
                    <a:pt x="192" y="44"/>
                  </a:lnTo>
                  <a:lnTo>
                    <a:pt x="194" y="43"/>
                  </a:lnTo>
                  <a:lnTo>
                    <a:pt x="195" y="43"/>
                  </a:lnTo>
                  <a:lnTo>
                    <a:pt x="198" y="42"/>
                  </a:lnTo>
                  <a:lnTo>
                    <a:pt x="201" y="42"/>
                  </a:lnTo>
                  <a:lnTo>
                    <a:pt x="201" y="43"/>
                  </a:lnTo>
                  <a:lnTo>
                    <a:pt x="203" y="45"/>
                  </a:lnTo>
                  <a:lnTo>
                    <a:pt x="203" y="46"/>
                  </a:lnTo>
                  <a:lnTo>
                    <a:pt x="204" y="48"/>
                  </a:lnTo>
                  <a:lnTo>
                    <a:pt x="204" y="49"/>
                  </a:lnTo>
                  <a:lnTo>
                    <a:pt x="207" y="49"/>
                  </a:lnTo>
                  <a:lnTo>
                    <a:pt x="207" y="51"/>
                  </a:lnTo>
                  <a:lnTo>
                    <a:pt x="209" y="52"/>
                  </a:lnTo>
                  <a:lnTo>
                    <a:pt x="211" y="51"/>
                  </a:lnTo>
                  <a:lnTo>
                    <a:pt x="211" y="49"/>
                  </a:lnTo>
                  <a:lnTo>
                    <a:pt x="212" y="48"/>
                  </a:lnTo>
                  <a:lnTo>
                    <a:pt x="214" y="51"/>
                  </a:lnTo>
                  <a:lnTo>
                    <a:pt x="216" y="52"/>
                  </a:lnTo>
                  <a:lnTo>
                    <a:pt x="219" y="52"/>
                  </a:lnTo>
                  <a:lnTo>
                    <a:pt x="221" y="54"/>
                  </a:lnTo>
                  <a:lnTo>
                    <a:pt x="223" y="53"/>
                  </a:lnTo>
                  <a:lnTo>
                    <a:pt x="224" y="55"/>
                  </a:lnTo>
                  <a:lnTo>
                    <a:pt x="226" y="55"/>
                  </a:lnTo>
                  <a:lnTo>
                    <a:pt x="228" y="55"/>
                  </a:lnTo>
                  <a:lnTo>
                    <a:pt x="229" y="58"/>
                  </a:lnTo>
                  <a:lnTo>
                    <a:pt x="231" y="59"/>
                  </a:lnTo>
                  <a:lnTo>
                    <a:pt x="233" y="59"/>
                  </a:lnTo>
                  <a:lnTo>
                    <a:pt x="234" y="59"/>
                  </a:lnTo>
                  <a:lnTo>
                    <a:pt x="235" y="58"/>
                  </a:lnTo>
                  <a:lnTo>
                    <a:pt x="236" y="59"/>
                  </a:lnTo>
                  <a:lnTo>
                    <a:pt x="235" y="60"/>
                  </a:lnTo>
                  <a:lnTo>
                    <a:pt x="235" y="61"/>
                  </a:lnTo>
                  <a:lnTo>
                    <a:pt x="236" y="62"/>
                  </a:lnTo>
                  <a:lnTo>
                    <a:pt x="236" y="64"/>
                  </a:lnTo>
                  <a:lnTo>
                    <a:pt x="236" y="66"/>
                  </a:lnTo>
                  <a:lnTo>
                    <a:pt x="235" y="67"/>
                  </a:lnTo>
                  <a:lnTo>
                    <a:pt x="234" y="67"/>
                  </a:lnTo>
                  <a:lnTo>
                    <a:pt x="232" y="69"/>
                  </a:lnTo>
                  <a:lnTo>
                    <a:pt x="230" y="69"/>
                  </a:lnTo>
                  <a:lnTo>
                    <a:pt x="231" y="72"/>
                  </a:lnTo>
                  <a:lnTo>
                    <a:pt x="233" y="72"/>
                  </a:lnTo>
                  <a:lnTo>
                    <a:pt x="234" y="73"/>
                  </a:lnTo>
                  <a:lnTo>
                    <a:pt x="234" y="74"/>
                  </a:lnTo>
                  <a:lnTo>
                    <a:pt x="232" y="74"/>
                  </a:lnTo>
                  <a:lnTo>
                    <a:pt x="230" y="74"/>
                  </a:lnTo>
                  <a:lnTo>
                    <a:pt x="230" y="76"/>
                  </a:lnTo>
                  <a:lnTo>
                    <a:pt x="230" y="78"/>
                  </a:lnTo>
                  <a:lnTo>
                    <a:pt x="231" y="78"/>
                  </a:lnTo>
                  <a:lnTo>
                    <a:pt x="232" y="79"/>
                  </a:lnTo>
                  <a:lnTo>
                    <a:pt x="232" y="80"/>
                  </a:lnTo>
                  <a:lnTo>
                    <a:pt x="233" y="82"/>
                  </a:lnTo>
                  <a:lnTo>
                    <a:pt x="233" y="84"/>
                  </a:lnTo>
                  <a:lnTo>
                    <a:pt x="233" y="84"/>
                  </a:lnTo>
                  <a:lnTo>
                    <a:pt x="233" y="88"/>
                  </a:lnTo>
                  <a:lnTo>
                    <a:pt x="231" y="91"/>
                  </a:lnTo>
                  <a:lnTo>
                    <a:pt x="231" y="92"/>
                  </a:lnTo>
                  <a:lnTo>
                    <a:pt x="230" y="93"/>
                  </a:lnTo>
                  <a:lnTo>
                    <a:pt x="225" y="92"/>
                  </a:lnTo>
                  <a:lnTo>
                    <a:pt x="221" y="93"/>
                  </a:lnTo>
                  <a:lnTo>
                    <a:pt x="219" y="93"/>
                  </a:lnTo>
                  <a:lnTo>
                    <a:pt x="219" y="94"/>
                  </a:lnTo>
                  <a:lnTo>
                    <a:pt x="218" y="96"/>
                  </a:lnTo>
                  <a:lnTo>
                    <a:pt x="215" y="97"/>
                  </a:lnTo>
                  <a:lnTo>
                    <a:pt x="213" y="97"/>
                  </a:lnTo>
                  <a:lnTo>
                    <a:pt x="212" y="98"/>
                  </a:lnTo>
                  <a:lnTo>
                    <a:pt x="211" y="102"/>
                  </a:lnTo>
                  <a:lnTo>
                    <a:pt x="211" y="104"/>
                  </a:lnTo>
                  <a:lnTo>
                    <a:pt x="211" y="105"/>
                  </a:lnTo>
                  <a:lnTo>
                    <a:pt x="211" y="106"/>
                  </a:lnTo>
                  <a:lnTo>
                    <a:pt x="207" y="107"/>
                  </a:lnTo>
                  <a:lnTo>
                    <a:pt x="201" y="108"/>
                  </a:lnTo>
                  <a:lnTo>
                    <a:pt x="198" y="111"/>
                  </a:lnTo>
                  <a:lnTo>
                    <a:pt x="194" y="113"/>
                  </a:lnTo>
                  <a:lnTo>
                    <a:pt x="187" y="114"/>
                  </a:lnTo>
                  <a:lnTo>
                    <a:pt x="180" y="115"/>
                  </a:lnTo>
                  <a:lnTo>
                    <a:pt x="177" y="118"/>
                  </a:lnTo>
                  <a:lnTo>
                    <a:pt x="174" y="119"/>
                  </a:lnTo>
                  <a:lnTo>
                    <a:pt x="172" y="116"/>
                  </a:lnTo>
                  <a:lnTo>
                    <a:pt x="170" y="121"/>
                  </a:lnTo>
                  <a:lnTo>
                    <a:pt x="168" y="123"/>
                  </a:lnTo>
                  <a:lnTo>
                    <a:pt x="165" y="123"/>
                  </a:lnTo>
                  <a:lnTo>
                    <a:pt x="162" y="123"/>
                  </a:lnTo>
                  <a:lnTo>
                    <a:pt x="157" y="123"/>
                  </a:lnTo>
                  <a:lnTo>
                    <a:pt x="154" y="124"/>
                  </a:lnTo>
                  <a:lnTo>
                    <a:pt x="158" y="127"/>
                  </a:lnTo>
                  <a:lnTo>
                    <a:pt x="169" y="135"/>
                  </a:lnTo>
                  <a:lnTo>
                    <a:pt x="170" y="137"/>
                  </a:lnTo>
                  <a:lnTo>
                    <a:pt x="169" y="138"/>
                  </a:lnTo>
                  <a:lnTo>
                    <a:pt x="170" y="141"/>
                  </a:lnTo>
                  <a:lnTo>
                    <a:pt x="173" y="141"/>
                  </a:lnTo>
                  <a:lnTo>
                    <a:pt x="176" y="140"/>
                  </a:lnTo>
                  <a:lnTo>
                    <a:pt x="180" y="138"/>
                  </a:lnTo>
                  <a:lnTo>
                    <a:pt x="186" y="139"/>
                  </a:lnTo>
                  <a:lnTo>
                    <a:pt x="189" y="139"/>
                  </a:lnTo>
                  <a:lnTo>
                    <a:pt x="188" y="142"/>
                  </a:lnTo>
                  <a:lnTo>
                    <a:pt x="187" y="144"/>
                  </a:lnTo>
                  <a:lnTo>
                    <a:pt x="186" y="145"/>
                  </a:lnTo>
                  <a:lnTo>
                    <a:pt x="182" y="146"/>
                  </a:lnTo>
                  <a:lnTo>
                    <a:pt x="180" y="146"/>
                  </a:lnTo>
                  <a:lnTo>
                    <a:pt x="177" y="145"/>
                  </a:lnTo>
                  <a:lnTo>
                    <a:pt x="174" y="145"/>
                  </a:lnTo>
                  <a:lnTo>
                    <a:pt x="170" y="149"/>
                  </a:lnTo>
                  <a:lnTo>
                    <a:pt x="164" y="150"/>
                  </a:lnTo>
                  <a:lnTo>
                    <a:pt x="161" y="151"/>
                  </a:lnTo>
                  <a:lnTo>
                    <a:pt x="158" y="155"/>
                  </a:lnTo>
                  <a:lnTo>
                    <a:pt x="156" y="156"/>
                  </a:lnTo>
                  <a:lnTo>
                    <a:pt x="152" y="156"/>
                  </a:lnTo>
                  <a:lnTo>
                    <a:pt x="148" y="154"/>
                  </a:lnTo>
                  <a:lnTo>
                    <a:pt x="150" y="148"/>
                  </a:lnTo>
                  <a:lnTo>
                    <a:pt x="150" y="144"/>
                  </a:lnTo>
                  <a:lnTo>
                    <a:pt x="148" y="142"/>
                  </a:lnTo>
                  <a:lnTo>
                    <a:pt x="143" y="140"/>
                  </a:lnTo>
                  <a:lnTo>
                    <a:pt x="142" y="139"/>
                  </a:lnTo>
                  <a:lnTo>
                    <a:pt x="138" y="140"/>
                  </a:lnTo>
                  <a:lnTo>
                    <a:pt x="137" y="140"/>
                  </a:lnTo>
                  <a:lnTo>
                    <a:pt x="137" y="138"/>
                  </a:lnTo>
                  <a:lnTo>
                    <a:pt x="142" y="134"/>
                  </a:lnTo>
                  <a:lnTo>
                    <a:pt x="146" y="132"/>
                  </a:lnTo>
                  <a:lnTo>
                    <a:pt x="150" y="130"/>
                  </a:lnTo>
                  <a:lnTo>
                    <a:pt x="152" y="129"/>
                  </a:lnTo>
                  <a:lnTo>
                    <a:pt x="150" y="126"/>
                  </a:lnTo>
                  <a:lnTo>
                    <a:pt x="147" y="125"/>
                  </a:lnTo>
                  <a:lnTo>
                    <a:pt x="143" y="125"/>
                  </a:lnTo>
                  <a:lnTo>
                    <a:pt x="137" y="126"/>
                  </a:lnTo>
                  <a:lnTo>
                    <a:pt x="132" y="125"/>
                  </a:lnTo>
                  <a:lnTo>
                    <a:pt x="131" y="124"/>
                  </a:lnTo>
                  <a:lnTo>
                    <a:pt x="129" y="120"/>
                  </a:lnTo>
                  <a:lnTo>
                    <a:pt x="132" y="117"/>
                  </a:lnTo>
                  <a:lnTo>
                    <a:pt x="129" y="112"/>
                  </a:lnTo>
                  <a:lnTo>
                    <a:pt x="127" y="115"/>
                  </a:lnTo>
                  <a:lnTo>
                    <a:pt x="124" y="115"/>
                  </a:lnTo>
                  <a:lnTo>
                    <a:pt x="118" y="116"/>
                  </a:lnTo>
                  <a:lnTo>
                    <a:pt x="115" y="117"/>
                  </a:lnTo>
                  <a:lnTo>
                    <a:pt x="111" y="123"/>
                  </a:lnTo>
                  <a:lnTo>
                    <a:pt x="105" y="131"/>
                  </a:lnTo>
                  <a:lnTo>
                    <a:pt x="100" y="132"/>
                  </a:lnTo>
                  <a:lnTo>
                    <a:pt x="99" y="133"/>
                  </a:lnTo>
                  <a:lnTo>
                    <a:pt x="97" y="137"/>
                  </a:lnTo>
                  <a:lnTo>
                    <a:pt x="98" y="138"/>
                  </a:lnTo>
                  <a:lnTo>
                    <a:pt x="99" y="139"/>
                  </a:lnTo>
                  <a:lnTo>
                    <a:pt x="95" y="138"/>
                  </a:lnTo>
                  <a:lnTo>
                    <a:pt x="91" y="140"/>
                  </a:lnTo>
                  <a:lnTo>
                    <a:pt x="88" y="140"/>
                  </a:lnTo>
                  <a:lnTo>
                    <a:pt x="88" y="142"/>
                  </a:lnTo>
                  <a:lnTo>
                    <a:pt x="84" y="141"/>
                  </a:lnTo>
                  <a:lnTo>
                    <a:pt x="82" y="140"/>
                  </a:lnTo>
                  <a:lnTo>
                    <a:pt x="81" y="138"/>
                  </a:lnTo>
                  <a:lnTo>
                    <a:pt x="80" y="138"/>
                  </a:lnTo>
                  <a:lnTo>
                    <a:pt x="81" y="138"/>
                  </a:lnTo>
                  <a:lnTo>
                    <a:pt x="81" y="137"/>
                  </a:lnTo>
                  <a:lnTo>
                    <a:pt x="82" y="137"/>
                  </a:lnTo>
                  <a:lnTo>
                    <a:pt x="83" y="138"/>
                  </a:lnTo>
                  <a:lnTo>
                    <a:pt x="84" y="138"/>
                  </a:lnTo>
                  <a:lnTo>
                    <a:pt x="84" y="136"/>
                  </a:lnTo>
                  <a:lnTo>
                    <a:pt x="84" y="136"/>
                  </a:lnTo>
                  <a:lnTo>
                    <a:pt x="84" y="135"/>
                  </a:lnTo>
                  <a:lnTo>
                    <a:pt x="84" y="134"/>
                  </a:lnTo>
                  <a:lnTo>
                    <a:pt x="85" y="133"/>
                  </a:lnTo>
                  <a:lnTo>
                    <a:pt x="85" y="133"/>
                  </a:lnTo>
                  <a:lnTo>
                    <a:pt x="86" y="133"/>
                  </a:lnTo>
                  <a:lnTo>
                    <a:pt x="86" y="132"/>
                  </a:lnTo>
                  <a:lnTo>
                    <a:pt x="87" y="132"/>
                  </a:lnTo>
                  <a:lnTo>
                    <a:pt x="87" y="131"/>
                  </a:lnTo>
                  <a:lnTo>
                    <a:pt x="87" y="130"/>
                  </a:lnTo>
                  <a:lnTo>
                    <a:pt x="87" y="129"/>
                  </a:lnTo>
                  <a:lnTo>
                    <a:pt x="88" y="129"/>
                  </a:lnTo>
                  <a:lnTo>
                    <a:pt x="90" y="129"/>
                  </a:lnTo>
                  <a:lnTo>
                    <a:pt x="90" y="128"/>
                  </a:lnTo>
                  <a:lnTo>
                    <a:pt x="90" y="127"/>
                  </a:lnTo>
                  <a:lnTo>
                    <a:pt x="90" y="126"/>
                  </a:lnTo>
                  <a:lnTo>
                    <a:pt x="90" y="126"/>
                  </a:lnTo>
                  <a:lnTo>
                    <a:pt x="90" y="125"/>
                  </a:lnTo>
                  <a:lnTo>
                    <a:pt x="90" y="124"/>
                  </a:lnTo>
                  <a:lnTo>
                    <a:pt x="90" y="123"/>
                  </a:lnTo>
                  <a:lnTo>
                    <a:pt x="90" y="122"/>
                  </a:lnTo>
                  <a:lnTo>
                    <a:pt x="90" y="121"/>
                  </a:lnTo>
                  <a:lnTo>
                    <a:pt x="89" y="120"/>
                  </a:lnTo>
                  <a:lnTo>
                    <a:pt x="90" y="119"/>
                  </a:lnTo>
                  <a:lnTo>
                    <a:pt x="92" y="119"/>
                  </a:lnTo>
                  <a:lnTo>
                    <a:pt x="93" y="118"/>
                  </a:lnTo>
                  <a:lnTo>
                    <a:pt x="93" y="118"/>
                  </a:lnTo>
                  <a:lnTo>
                    <a:pt x="93" y="119"/>
                  </a:lnTo>
                  <a:lnTo>
                    <a:pt x="93" y="121"/>
                  </a:lnTo>
                  <a:lnTo>
                    <a:pt x="94" y="121"/>
                  </a:lnTo>
                  <a:lnTo>
                    <a:pt x="94" y="121"/>
                  </a:lnTo>
                  <a:lnTo>
                    <a:pt x="94" y="120"/>
                  </a:lnTo>
                  <a:lnTo>
                    <a:pt x="94" y="120"/>
                  </a:lnTo>
                  <a:lnTo>
                    <a:pt x="95" y="120"/>
                  </a:lnTo>
                  <a:lnTo>
                    <a:pt x="95" y="120"/>
                  </a:lnTo>
                  <a:lnTo>
                    <a:pt x="95" y="120"/>
                  </a:lnTo>
                  <a:lnTo>
                    <a:pt x="96" y="119"/>
                  </a:lnTo>
                  <a:lnTo>
                    <a:pt x="96" y="119"/>
                  </a:lnTo>
                  <a:lnTo>
                    <a:pt x="96" y="120"/>
                  </a:lnTo>
                  <a:lnTo>
                    <a:pt x="97" y="120"/>
                  </a:lnTo>
                  <a:lnTo>
                    <a:pt x="98" y="120"/>
                  </a:lnTo>
                  <a:lnTo>
                    <a:pt x="98" y="122"/>
                  </a:lnTo>
                  <a:lnTo>
                    <a:pt x="99" y="121"/>
                  </a:lnTo>
                  <a:lnTo>
                    <a:pt x="99" y="121"/>
                  </a:lnTo>
                  <a:lnTo>
                    <a:pt x="99" y="120"/>
                  </a:lnTo>
                  <a:lnTo>
                    <a:pt x="100" y="120"/>
                  </a:lnTo>
                  <a:lnTo>
                    <a:pt x="101" y="120"/>
                  </a:lnTo>
                  <a:lnTo>
                    <a:pt x="101" y="121"/>
                  </a:lnTo>
                  <a:lnTo>
                    <a:pt x="102" y="122"/>
                  </a:lnTo>
                  <a:lnTo>
                    <a:pt x="102" y="121"/>
                  </a:lnTo>
                  <a:lnTo>
                    <a:pt x="102" y="121"/>
                  </a:lnTo>
                  <a:lnTo>
                    <a:pt x="103" y="121"/>
                  </a:lnTo>
                  <a:lnTo>
                    <a:pt x="104" y="121"/>
                  </a:lnTo>
                  <a:lnTo>
                    <a:pt x="105" y="121"/>
                  </a:lnTo>
                  <a:lnTo>
                    <a:pt x="105" y="120"/>
                  </a:lnTo>
                  <a:lnTo>
                    <a:pt x="104" y="120"/>
                  </a:lnTo>
                  <a:lnTo>
                    <a:pt x="103" y="119"/>
                  </a:lnTo>
                  <a:lnTo>
                    <a:pt x="103" y="119"/>
                  </a:lnTo>
                  <a:lnTo>
                    <a:pt x="102" y="118"/>
                  </a:lnTo>
                  <a:lnTo>
                    <a:pt x="102" y="118"/>
                  </a:lnTo>
                  <a:lnTo>
                    <a:pt x="103" y="117"/>
                  </a:lnTo>
                  <a:lnTo>
                    <a:pt x="103" y="117"/>
                  </a:lnTo>
                  <a:lnTo>
                    <a:pt x="103" y="115"/>
                  </a:lnTo>
                  <a:lnTo>
                    <a:pt x="103" y="114"/>
                  </a:lnTo>
                  <a:lnTo>
                    <a:pt x="103" y="113"/>
                  </a:lnTo>
                  <a:lnTo>
                    <a:pt x="102" y="113"/>
                  </a:lnTo>
                  <a:lnTo>
                    <a:pt x="101" y="112"/>
                  </a:lnTo>
                  <a:lnTo>
                    <a:pt x="101" y="112"/>
                  </a:lnTo>
                  <a:lnTo>
                    <a:pt x="100" y="111"/>
                  </a:lnTo>
                  <a:lnTo>
                    <a:pt x="99" y="111"/>
                  </a:lnTo>
                  <a:lnTo>
                    <a:pt x="98" y="110"/>
                  </a:lnTo>
                  <a:lnTo>
                    <a:pt x="98" y="109"/>
                  </a:lnTo>
                  <a:lnTo>
                    <a:pt x="98" y="108"/>
                  </a:lnTo>
                  <a:lnTo>
                    <a:pt x="98" y="108"/>
                  </a:lnTo>
                  <a:lnTo>
                    <a:pt x="98" y="108"/>
                  </a:lnTo>
                  <a:lnTo>
                    <a:pt x="97" y="107"/>
                  </a:lnTo>
                  <a:lnTo>
                    <a:pt x="98" y="107"/>
                  </a:lnTo>
                  <a:lnTo>
                    <a:pt x="98" y="105"/>
                  </a:lnTo>
                  <a:lnTo>
                    <a:pt x="98" y="104"/>
                  </a:lnTo>
                  <a:lnTo>
                    <a:pt x="98" y="103"/>
                  </a:lnTo>
                  <a:lnTo>
                    <a:pt x="98" y="103"/>
                  </a:lnTo>
                  <a:lnTo>
                    <a:pt x="97" y="103"/>
                  </a:lnTo>
                  <a:lnTo>
                    <a:pt x="96" y="103"/>
                  </a:lnTo>
                  <a:lnTo>
                    <a:pt x="96" y="103"/>
                  </a:lnTo>
                  <a:lnTo>
                    <a:pt x="95" y="103"/>
                  </a:lnTo>
                  <a:lnTo>
                    <a:pt x="95" y="102"/>
                  </a:lnTo>
                  <a:lnTo>
                    <a:pt x="94" y="101"/>
                  </a:lnTo>
                  <a:lnTo>
                    <a:pt x="93" y="101"/>
                  </a:lnTo>
                  <a:lnTo>
                    <a:pt x="92" y="100"/>
                  </a:lnTo>
                  <a:lnTo>
                    <a:pt x="92" y="99"/>
                  </a:lnTo>
                  <a:lnTo>
                    <a:pt x="93" y="97"/>
                  </a:lnTo>
                  <a:lnTo>
                    <a:pt x="93" y="96"/>
                  </a:lnTo>
                  <a:lnTo>
                    <a:pt x="93" y="94"/>
                  </a:lnTo>
                  <a:lnTo>
                    <a:pt x="93" y="94"/>
                  </a:lnTo>
                  <a:lnTo>
                    <a:pt x="93" y="94"/>
                  </a:lnTo>
                  <a:lnTo>
                    <a:pt x="94" y="92"/>
                  </a:lnTo>
                  <a:lnTo>
                    <a:pt x="93" y="92"/>
                  </a:lnTo>
                  <a:lnTo>
                    <a:pt x="93" y="91"/>
                  </a:lnTo>
                  <a:lnTo>
                    <a:pt x="92" y="90"/>
                  </a:lnTo>
                  <a:lnTo>
                    <a:pt x="92" y="90"/>
                  </a:lnTo>
                  <a:lnTo>
                    <a:pt x="91" y="91"/>
                  </a:lnTo>
                  <a:lnTo>
                    <a:pt x="90" y="91"/>
                  </a:lnTo>
                  <a:lnTo>
                    <a:pt x="89" y="91"/>
                  </a:lnTo>
                  <a:lnTo>
                    <a:pt x="88" y="89"/>
                  </a:lnTo>
                  <a:lnTo>
                    <a:pt x="88" y="87"/>
                  </a:lnTo>
                  <a:lnTo>
                    <a:pt x="86" y="87"/>
                  </a:lnTo>
                  <a:lnTo>
                    <a:pt x="84" y="87"/>
                  </a:lnTo>
                  <a:lnTo>
                    <a:pt x="84" y="87"/>
                  </a:lnTo>
                  <a:lnTo>
                    <a:pt x="83" y="88"/>
                  </a:lnTo>
                  <a:lnTo>
                    <a:pt x="83" y="88"/>
                  </a:lnTo>
                  <a:lnTo>
                    <a:pt x="83" y="87"/>
                  </a:lnTo>
                  <a:lnTo>
                    <a:pt x="82" y="87"/>
                  </a:lnTo>
                  <a:lnTo>
                    <a:pt x="82" y="87"/>
                  </a:lnTo>
                  <a:lnTo>
                    <a:pt x="82" y="87"/>
                  </a:lnTo>
                  <a:lnTo>
                    <a:pt x="83" y="86"/>
                  </a:lnTo>
                  <a:lnTo>
                    <a:pt x="82" y="85"/>
                  </a:lnTo>
                  <a:lnTo>
                    <a:pt x="81" y="85"/>
                  </a:lnTo>
                  <a:lnTo>
                    <a:pt x="81" y="85"/>
                  </a:lnTo>
                  <a:lnTo>
                    <a:pt x="80" y="85"/>
                  </a:lnTo>
                  <a:lnTo>
                    <a:pt x="79" y="85"/>
                  </a:lnTo>
                  <a:lnTo>
                    <a:pt x="79" y="85"/>
                  </a:lnTo>
                  <a:lnTo>
                    <a:pt x="78" y="84"/>
                  </a:lnTo>
                  <a:lnTo>
                    <a:pt x="78" y="84"/>
                  </a:lnTo>
                  <a:lnTo>
                    <a:pt x="77" y="84"/>
                  </a:lnTo>
                  <a:lnTo>
                    <a:pt x="76" y="83"/>
                  </a:lnTo>
                  <a:lnTo>
                    <a:pt x="75" y="82"/>
                  </a:lnTo>
                  <a:lnTo>
                    <a:pt x="74" y="81"/>
                  </a:lnTo>
                  <a:lnTo>
                    <a:pt x="74" y="81"/>
                  </a:lnTo>
                  <a:lnTo>
                    <a:pt x="73" y="81"/>
                  </a:lnTo>
                  <a:lnTo>
                    <a:pt x="73" y="82"/>
                  </a:lnTo>
                  <a:lnTo>
                    <a:pt x="72" y="81"/>
                  </a:lnTo>
                  <a:lnTo>
                    <a:pt x="72" y="81"/>
                  </a:lnTo>
                  <a:lnTo>
                    <a:pt x="71" y="81"/>
                  </a:lnTo>
                  <a:lnTo>
                    <a:pt x="70" y="82"/>
                  </a:lnTo>
                  <a:lnTo>
                    <a:pt x="69" y="81"/>
                  </a:lnTo>
                  <a:lnTo>
                    <a:pt x="68" y="82"/>
                  </a:lnTo>
                  <a:lnTo>
                    <a:pt x="68" y="83"/>
                  </a:lnTo>
                  <a:lnTo>
                    <a:pt x="66" y="83"/>
                  </a:lnTo>
                  <a:lnTo>
                    <a:pt x="65" y="82"/>
                  </a:lnTo>
                  <a:lnTo>
                    <a:pt x="64" y="83"/>
                  </a:lnTo>
                  <a:lnTo>
                    <a:pt x="62" y="82"/>
                  </a:lnTo>
                  <a:lnTo>
                    <a:pt x="62" y="83"/>
                  </a:lnTo>
                  <a:lnTo>
                    <a:pt x="62" y="84"/>
                  </a:lnTo>
                  <a:lnTo>
                    <a:pt x="61" y="84"/>
                  </a:lnTo>
                  <a:lnTo>
                    <a:pt x="61" y="83"/>
                  </a:lnTo>
                  <a:lnTo>
                    <a:pt x="60" y="84"/>
                  </a:lnTo>
                  <a:lnTo>
                    <a:pt x="60" y="85"/>
                  </a:lnTo>
                  <a:lnTo>
                    <a:pt x="56" y="85"/>
                  </a:lnTo>
                  <a:lnTo>
                    <a:pt x="55" y="88"/>
                  </a:lnTo>
                  <a:lnTo>
                    <a:pt x="53" y="90"/>
                  </a:lnTo>
                  <a:lnTo>
                    <a:pt x="42" y="91"/>
                  </a:lnTo>
                  <a:lnTo>
                    <a:pt x="41" y="93"/>
                  </a:lnTo>
                  <a:lnTo>
                    <a:pt x="39" y="94"/>
                  </a:lnTo>
                  <a:lnTo>
                    <a:pt x="37" y="95"/>
                  </a:lnTo>
                  <a:lnTo>
                    <a:pt x="36" y="93"/>
                  </a:lnTo>
                  <a:lnTo>
                    <a:pt x="34" y="93"/>
                  </a:lnTo>
                  <a:lnTo>
                    <a:pt x="34" y="91"/>
                  </a:lnTo>
                  <a:lnTo>
                    <a:pt x="32" y="91"/>
                  </a:lnTo>
                  <a:lnTo>
                    <a:pt x="25" y="91"/>
                  </a:lnTo>
                  <a:lnTo>
                    <a:pt x="20" y="89"/>
                  </a:lnTo>
                  <a:lnTo>
                    <a:pt x="18" y="90"/>
                  </a:lnTo>
                  <a:lnTo>
                    <a:pt x="14" y="89"/>
                  </a:lnTo>
                  <a:lnTo>
                    <a:pt x="13" y="90"/>
                  </a:lnTo>
                  <a:lnTo>
                    <a:pt x="9" y="86"/>
                  </a:lnTo>
                  <a:lnTo>
                    <a:pt x="6" y="84"/>
                  </a:lnTo>
                  <a:lnTo>
                    <a:pt x="2" y="82"/>
                  </a:lnTo>
                  <a:lnTo>
                    <a:pt x="0" y="82"/>
                  </a:lnTo>
                  <a:lnTo>
                    <a:pt x="7" y="69"/>
                  </a:lnTo>
                  <a:lnTo>
                    <a:pt x="11" y="69"/>
                  </a:lnTo>
                  <a:lnTo>
                    <a:pt x="9" y="66"/>
                  </a:lnTo>
                  <a:lnTo>
                    <a:pt x="8" y="60"/>
                  </a:lnTo>
                  <a:lnTo>
                    <a:pt x="9" y="58"/>
                  </a:lnTo>
                  <a:lnTo>
                    <a:pt x="18" y="46"/>
                  </a:lnTo>
                  <a:lnTo>
                    <a:pt x="21" y="43"/>
                  </a:lnTo>
                  <a:lnTo>
                    <a:pt x="23" y="41"/>
                  </a:lnTo>
                  <a:lnTo>
                    <a:pt x="25" y="41"/>
                  </a:lnTo>
                  <a:lnTo>
                    <a:pt x="27" y="39"/>
                  </a:lnTo>
                  <a:lnTo>
                    <a:pt x="27" y="36"/>
                  </a:lnTo>
                  <a:lnTo>
                    <a:pt x="25" y="33"/>
                  </a:lnTo>
                  <a:lnTo>
                    <a:pt x="26" y="32"/>
                  </a:lnTo>
                  <a:lnTo>
                    <a:pt x="27" y="31"/>
                  </a:lnTo>
                  <a:lnTo>
                    <a:pt x="26" y="30"/>
                  </a:lnTo>
                  <a:lnTo>
                    <a:pt x="21" y="22"/>
                  </a:lnTo>
                  <a:lnTo>
                    <a:pt x="21" y="19"/>
                  </a:lnTo>
                  <a:lnTo>
                    <a:pt x="20" y="1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5" name="Freeform 77">
              <a:extLst>
                <a:ext uri="{FF2B5EF4-FFF2-40B4-BE49-F238E27FC236}">
                  <a16:creationId xmlns:a16="http://schemas.microsoft.com/office/drawing/2014/main" id="{8C626DF7-9E5E-9250-31B9-9E450137AA04}"/>
                </a:ext>
              </a:extLst>
            </p:cNvPr>
            <p:cNvSpPr>
              <a:spLocks/>
            </p:cNvSpPr>
            <p:nvPr/>
          </p:nvSpPr>
          <p:spPr bwMode="auto">
            <a:xfrm>
              <a:off x="5046246" y="5062538"/>
              <a:ext cx="85725" cy="85725"/>
            </a:xfrm>
            <a:custGeom>
              <a:avLst/>
              <a:gdLst/>
              <a:ahLst/>
              <a:cxnLst>
                <a:cxn ang="0">
                  <a:pos x="14" y="5"/>
                </a:cxn>
                <a:cxn ang="0">
                  <a:pos x="15" y="3"/>
                </a:cxn>
                <a:cxn ang="0">
                  <a:pos x="17" y="1"/>
                </a:cxn>
                <a:cxn ang="0">
                  <a:pos x="19" y="0"/>
                </a:cxn>
                <a:cxn ang="0">
                  <a:pos x="22" y="0"/>
                </a:cxn>
                <a:cxn ang="0">
                  <a:pos x="24" y="1"/>
                </a:cxn>
                <a:cxn ang="0">
                  <a:pos x="25" y="3"/>
                </a:cxn>
                <a:cxn ang="0">
                  <a:pos x="26" y="8"/>
                </a:cxn>
                <a:cxn ang="0">
                  <a:pos x="26" y="12"/>
                </a:cxn>
                <a:cxn ang="0">
                  <a:pos x="26" y="13"/>
                </a:cxn>
                <a:cxn ang="0">
                  <a:pos x="28" y="15"/>
                </a:cxn>
                <a:cxn ang="0">
                  <a:pos x="30" y="17"/>
                </a:cxn>
                <a:cxn ang="0">
                  <a:pos x="32" y="17"/>
                </a:cxn>
                <a:cxn ang="0">
                  <a:pos x="36" y="12"/>
                </a:cxn>
                <a:cxn ang="0">
                  <a:pos x="37" y="11"/>
                </a:cxn>
                <a:cxn ang="0">
                  <a:pos x="39" y="12"/>
                </a:cxn>
                <a:cxn ang="0">
                  <a:pos x="41" y="13"/>
                </a:cxn>
                <a:cxn ang="0">
                  <a:pos x="41" y="14"/>
                </a:cxn>
                <a:cxn ang="0">
                  <a:pos x="42" y="18"/>
                </a:cxn>
                <a:cxn ang="0">
                  <a:pos x="41" y="20"/>
                </a:cxn>
                <a:cxn ang="0">
                  <a:pos x="38" y="25"/>
                </a:cxn>
                <a:cxn ang="0">
                  <a:pos x="39" y="26"/>
                </a:cxn>
                <a:cxn ang="0">
                  <a:pos x="40" y="27"/>
                </a:cxn>
                <a:cxn ang="0">
                  <a:pos x="42" y="28"/>
                </a:cxn>
                <a:cxn ang="0">
                  <a:pos x="45" y="28"/>
                </a:cxn>
                <a:cxn ang="0">
                  <a:pos x="53" y="36"/>
                </a:cxn>
                <a:cxn ang="0">
                  <a:pos x="54" y="37"/>
                </a:cxn>
                <a:cxn ang="0">
                  <a:pos x="53" y="40"/>
                </a:cxn>
                <a:cxn ang="0">
                  <a:pos x="52" y="45"/>
                </a:cxn>
                <a:cxn ang="0">
                  <a:pos x="51" y="48"/>
                </a:cxn>
                <a:cxn ang="0">
                  <a:pos x="51" y="54"/>
                </a:cxn>
                <a:cxn ang="0">
                  <a:pos x="42" y="50"/>
                </a:cxn>
                <a:cxn ang="0">
                  <a:pos x="35" y="46"/>
                </a:cxn>
                <a:cxn ang="0">
                  <a:pos x="29" y="43"/>
                </a:cxn>
                <a:cxn ang="0">
                  <a:pos x="27" y="40"/>
                </a:cxn>
                <a:cxn ang="0">
                  <a:pos x="20" y="34"/>
                </a:cxn>
                <a:cxn ang="0">
                  <a:pos x="14" y="30"/>
                </a:cxn>
                <a:cxn ang="0">
                  <a:pos x="9" y="27"/>
                </a:cxn>
                <a:cxn ang="0">
                  <a:pos x="4" y="24"/>
                </a:cxn>
                <a:cxn ang="0">
                  <a:pos x="0" y="21"/>
                </a:cxn>
                <a:cxn ang="0">
                  <a:pos x="0" y="21"/>
                </a:cxn>
                <a:cxn ang="0">
                  <a:pos x="2" y="19"/>
                </a:cxn>
                <a:cxn ang="0">
                  <a:pos x="6" y="15"/>
                </a:cxn>
                <a:cxn ang="0">
                  <a:pos x="13" y="8"/>
                </a:cxn>
                <a:cxn ang="0">
                  <a:pos x="14" y="5"/>
                </a:cxn>
              </a:cxnLst>
              <a:rect l="0" t="0" r="r" b="b"/>
              <a:pathLst>
                <a:path w="54" h="54">
                  <a:moveTo>
                    <a:pt x="14" y="5"/>
                  </a:moveTo>
                  <a:lnTo>
                    <a:pt x="15" y="3"/>
                  </a:lnTo>
                  <a:lnTo>
                    <a:pt x="17" y="1"/>
                  </a:lnTo>
                  <a:lnTo>
                    <a:pt x="19" y="0"/>
                  </a:lnTo>
                  <a:lnTo>
                    <a:pt x="22" y="0"/>
                  </a:lnTo>
                  <a:lnTo>
                    <a:pt x="24" y="1"/>
                  </a:lnTo>
                  <a:lnTo>
                    <a:pt x="25" y="3"/>
                  </a:lnTo>
                  <a:lnTo>
                    <a:pt x="26" y="8"/>
                  </a:lnTo>
                  <a:lnTo>
                    <a:pt x="26" y="12"/>
                  </a:lnTo>
                  <a:lnTo>
                    <a:pt x="26" y="13"/>
                  </a:lnTo>
                  <a:lnTo>
                    <a:pt x="28" y="15"/>
                  </a:lnTo>
                  <a:lnTo>
                    <a:pt x="30" y="17"/>
                  </a:lnTo>
                  <a:lnTo>
                    <a:pt x="32" y="17"/>
                  </a:lnTo>
                  <a:lnTo>
                    <a:pt x="36" y="12"/>
                  </a:lnTo>
                  <a:lnTo>
                    <a:pt x="37" y="11"/>
                  </a:lnTo>
                  <a:lnTo>
                    <a:pt x="39" y="12"/>
                  </a:lnTo>
                  <a:lnTo>
                    <a:pt x="41" y="13"/>
                  </a:lnTo>
                  <a:lnTo>
                    <a:pt x="41" y="14"/>
                  </a:lnTo>
                  <a:lnTo>
                    <a:pt x="42" y="18"/>
                  </a:lnTo>
                  <a:lnTo>
                    <a:pt x="41" y="20"/>
                  </a:lnTo>
                  <a:lnTo>
                    <a:pt x="38" y="25"/>
                  </a:lnTo>
                  <a:lnTo>
                    <a:pt x="39" y="26"/>
                  </a:lnTo>
                  <a:lnTo>
                    <a:pt x="40" y="27"/>
                  </a:lnTo>
                  <a:lnTo>
                    <a:pt x="42" y="28"/>
                  </a:lnTo>
                  <a:lnTo>
                    <a:pt x="45" y="28"/>
                  </a:lnTo>
                  <a:lnTo>
                    <a:pt x="53" y="36"/>
                  </a:lnTo>
                  <a:lnTo>
                    <a:pt x="54" y="37"/>
                  </a:lnTo>
                  <a:lnTo>
                    <a:pt x="53" y="40"/>
                  </a:lnTo>
                  <a:lnTo>
                    <a:pt x="52" y="45"/>
                  </a:lnTo>
                  <a:lnTo>
                    <a:pt x="51" y="48"/>
                  </a:lnTo>
                  <a:lnTo>
                    <a:pt x="51" y="54"/>
                  </a:lnTo>
                  <a:lnTo>
                    <a:pt x="42" y="50"/>
                  </a:lnTo>
                  <a:lnTo>
                    <a:pt x="35" y="46"/>
                  </a:lnTo>
                  <a:lnTo>
                    <a:pt x="29" y="43"/>
                  </a:lnTo>
                  <a:lnTo>
                    <a:pt x="27" y="40"/>
                  </a:lnTo>
                  <a:lnTo>
                    <a:pt x="20" y="34"/>
                  </a:lnTo>
                  <a:lnTo>
                    <a:pt x="14" y="30"/>
                  </a:lnTo>
                  <a:lnTo>
                    <a:pt x="9" y="27"/>
                  </a:lnTo>
                  <a:lnTo>
                    <a:pt x="4" y="24"/>
                  </a:lnTo>
                  <a:lnTo>
                    <a:pt x="0" y="21"/>
                  </a:lnTo>
                  <a:lnTo>
                    <a:pt x="0" y="21"/>
                  </a:lnTo>
                  <a:lnTo>
                    <a:pt x="2" y="19"/>
                  </a:lnTo>
                  <a:lnTo>
                    <a:pt x="6" y="15"/>
                  </a:lnTo>
                  <a:lnTo>
                    <a:pt x="13" y="8"/>
                  </a:lnTo>
                  <a:lnTo>
                    <a:pt x="14" y="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6" name="Freeform 78">
              <a:extLst>
                <a:ext uri="{FF2B5EF4-FFF2-40B4-BE49-F238E27FC236}">
                  <a16:creationId xmlns:a16="http://schemas.microsoft.com/office/drawing/2014/main" id="{E885AB43-2144-7518-78A3-06B404399531}"/>
                </a:ext>
              </a:extLst>
            </p:cNvPr>
            <p:cNvSpPr>
              <a:spLocks noEditPoints="1"/>
            </p:cNvSpPr>
            <p:nvPr/>
          </p:nvSpPr>
          <p:spPr bwMode="auto">
            <a:xfrm>
              <a:off x="5695534" y="2600325"/>
              <a:ext cx="3317875" cy="1698625"/>
            </a:xfrm>
            <a:custGeom>
              <a:avLst/>
              <a:gdLst/>
              <a:ahLst/>
              <a:cxnLst>
                <a:cxn ang="0">
                  <a:pos x="39" y="801"/>
                </a:cxn>
                <a:cxn ang="0">
                  <a:pos x="460" y="342"/>
                </a:cxn>
                <a:cxn ang="0">
                  <a:pos x="458" y="189"/>
                </a:cxn>
                <a:cxn ang="0">
                  <a:pos x="641" y="57"/>
                </a:cxn>
                <a:cxn ang="0">
                  <a:pos x="154" y="852"/>
                </a:cxn>
                <a:cxn ang="0">
                  <a:pos x="152" y="817"/>
                </a:cxn>
                <a:cxn ang="0">
                  <a:pos x="133" y="778"/>
                </a:cxn>
                <a:cxn ang="0">
                  <a:pos x="105" y="756"/>
                </a:cxn>
                <a:cxn ang="0">
                  <a:pos x="103" y="729"/>
                </a:cxn>
                <a:cxn ang="0">
                  <a:pos x="119" y="680"/>
                </a:cxn>
                <a:cxn ang="0">
                  <a:pos x="133" y="511"/>
                </a:cxn>
                <a:cxn ang="0">
                  <a:pos x="227" y="407"/>
                </a:cxn>
                <a:cxn ang="0">
                  <a:pos x="192" y="502"/>
                </a:cxn>
                <a:cxn ang="0">
                  <a:pos x="269" y="541"/>
                </a:cxn>
                <a:cxn ang="0">
                  <a:pos x="327" y="459"/>
                </a:cxn>
                <a:cxn ang="0">
                  <a:pos x="456" y="433"/>
                </a:cxn>
                <a:cxn ang="0">
                  <a:pos x="589" y="391"/>
                </a:cxn>
                <a:cxn ang="0">
                  <a:pos x="649" y="247"/>
                </a:cxn>
                <a:cxn ang="0">
                  <a:pos x="653" y="477"/>
                </a:cxn>
                <a:cxn ang="0">
                  <a:pos x="759" y="443"/>
                </a:cxn>
                <a:cxn ang="0">
                  <a:pos x="730" y="264"/>
                </a:cxn>
                <a:cxn ang="0">
                  <a:pos x="815" y="315"/>
                </a:cxn>
                <a:cxn ang="0">
                  <a:pos x="856" y="206"/>
                </a:cxn>
                <a:cxn ang="0">
                  <a:pos x="1037" y="91"/>
                </a:cxn>
                <a:cxn ang="0">
                  <a:pos x="1197" y="60"/>
                </a:cxn>
                <a:cxn ang="0">
                  <a:pos x="1205" y="209"/>
                </a:cxn>
                <a:cxn ang="0">
                  <a:pos x="1420" y="240"/>
                </a:cxn>
                <a:cxn ang="0">
                  <a:pos x="1546" y="307"/>
                </a:cxn>
                <a:cxn ang="0">
                  <a:pos x="1645" y="294"/>
                </a:cxn>
                <a:cxn ang="0">
                  <a:pos x="1843" y="396"/>
                </a:cxn>
                <a:cxn ang="0">
                  <a:pos x="2035" y="370"/>
                </a:cxn>
                <a:cxn ang="0">
                  <a:pos x="2053" y="547"/>
                </a:cxn>
                <a:cxn ang="0">
                  <a:pos x="2019" y="627"/>
                </a:cxn>
                <a:cxn ang="0">
                  <a:pos x="1891" y="684"/>
                </a:cxn>
                <a:cxn ang="0">
                  <a:pos x="1867" y="766"/>
                </a:cxn>
                <a:cxn ang="0">
                  <a:pos x="1784" y="865"/>
                </a:cxn>
                <a:cxn ang="0">
                  <a:pos x="1882" y="643"/>
                </a:cxn>
                <a:cxn ang="0">
                  <a:pos x="1799" y="631"/>
                </a:cxn>
                <a:cxn ang="0">
                  <a:pos x="1709" y="690"/>
                </a:cxn>
                <a:cxn ang="0">
                  <a:pos x="1561" y="742"/>
                </a:cxn>
                <a:cxn ang="0">
                  <a:pos x="1582" y="838"/>
                </a:cxn>
                <a:cxn ang="0">
                  <a:pos x="1499" y="1034"/>
                </a:cxn>
                <a:cxn ang="0">
                  <a:pos x="1484" y="990"/>
                </a:cxn>
                <a:cxn ang="0">
                  <a:pos x="1353" y="831"/>
                </a:cxn>
                <a:cxn ang="0">
                  <a:pos x="1241" y="900"/>
                </a:cxn>
                <a:cxn ang="0">
                  <a:pos x="1051" y="867"/>
                </a:cxn>
                <a:cxn ang="0">
                  <a:pos x="895" y="916"/>
                </a:cxn>
                <a:cxn ang="0">
                  <a:pos x="767" y="846"/>
                </a:cxn>
                <a:cxn ang="0">
                  <a:pos x="674" y="816"/>
                </a:cxn>
                <a:cxn ang="0">
                  <a:pos x="545" y="819"/>
                </a:cxn>
                <a:cxn ang="0">
                  <a:pos x="520" y="892"/>
                </a:cxn>
                <a:cxn ang="0">
                  <a:pos x="411" y="871"/>
                </a:cxn>
                <a:cxn ang="0">
                  <a:pos x="373" y="953"/>
                </a:cxn>
                <a:cxn ang="0">
                  <a:pos x="355" y="1014"/>
                </a:cxn>
                <a:cxn ang="0">
                  <a:pos x="359" y="1066"/>
                </a:cxn>
                <a:cxn ang="0">
                  <a:pos x="316" y="1046"/>
                </a:cxn>
                <a:cxn ang="0">
                  <a:pos x="241" y="1012"/>
                </a:cxn>
                <a:cxn ang="0">
                  <a:pos x="250" y="948"/>
                </a:cxn>
                <a:cxn ang="0">
                  <a:pos x="253" y="910"/>
                </a:cxn>
                <a:cxn ang="0">
                  <a:pos x="200" y="883"/>
                </a:cxn>
                <a:cxn ang="0">
                  <a:pos x="1614" y="887"/>
                </a:cxn>
                <a:cxn ang="0">
                  <a:pos x="1597" y="899"/>
                </a:cxn>
              </a:cxnLst>
              <a:rect l="0" t="0" r="r" b="b"/>
              <a:pathLst>
                <a:path w="2090" h="1070">
                  <a:moveTo>
                    <a:pt x="2" y="810"/>
                  </a:moveTo>
                  <a:lnTo>
                    <a:pt x="5" y="808"/>
                  </a:lnTo>
                  <a:lnTo>
                    <a:pt x="7" y="807"/>
                  </a:lnTo>
                  <a:lnTo>
                    <a:pt x="5" y="807"/>
                  </a:lnTo>
                  <a:lnTo>
                    <a:pt x="2" y="808"/>
                  </a:lnTo>
                  <a:lnTo>
                    <a:pt x="1" y="806"/>
                  </a:lnTo>
                  <a:lnTo>
                    <a:pt x="1" y="808"/>
                  </a:lnTo>
                  <a:lnTo>
                    <a:pt x="0" y="808"/>
                  </a:lnTo>
                  <a:lnTo>
                    <a:pt x="1" y="803"/>
                  </a:lnTo>
                  <a:lnTo>
                    <a:pt x="1" y="801"/>
                  </a:lnTo>
                  <a:lnTo>
                    <a:pt x="4" y="801"/>
                  </a:lnTo>
                  <a:lnTo>
                    <a:pt x="13" y="802"/>
                  </a:lnTo>
                  <a:lnTo>
                    <a:pt x="15" y="802"/>
                  </a:lnTo>
                  <a:lnTo>
                    <a:pt x="17" y="801"/>
                  </a:lnTo>
                  <a:lnTo>
                    <a:pt x="18" y="798"/>
                  </a:lnTo>
                  <a:lnTo>
                    <a:pt x="17" y="795"/>
                  </a:lnTo>
                  <a:lnTo>
                    <a:pt x="18" y="795"/>
                  </a:lnTo>
                  <a:lnTo>
                    <a:pt x="18" y="793"/>
                  </a:lnTo>
                  <a:lnTo>
                    <a:pt x="17" y="792"/>
                  </a:lnTo>
                  <a:lnTo>
                    <a:pt x="19" y="791"/>
                  </a:lnTo>
                  <a:lnTo>
                    <a:pt x="20" y="791"/>
                  </a:lnTo>
                  <a:lnTo>
                    <a:pt x="20" y="793"/>
                  </a:lnTo>
                  <a:lnTo>
                    <a:pt x="21" y="793"/>
                  </a:lnTo>
                  <a:lnTo>
                    <a:pt x="22" y="793"/>
                  </a:lnTo>
                  <a:lnTo>
                    <a:pt x="24" y="794"/>
                  </a:lnTo>
                  <a:lnTo>
                    <a:pt x="25" y="795"/>
                  </a:lnTo>
                  <a:lnTo>
                    <a:pt x="28" y="796"/>
                  </a:lnTo>
                  <a:lnTo>
                    <a:pt x="29" y="797"/>
                  </a:lnTo>
                  <a:lnTo>
                    <a:pt x="30" y="796"/>
                  </a:lnTo>
                  <a:lnTo>
                    <a:pt x="33" y="796"/>
                  </a:lnTo>
                  <a:lnTo>
                    <a:pt x="34" y="796"/>
                  </a:lnTo>
                  <a:lnTo>
                    <a:pt x="35" y="796"/>
                  </a:lnTo>
                  <a:lnTo>
                    <a:pt x="36" y="798"/>
                  </a:lnTo>
                  <a:lnTo>
                    <a:pt x="37" y="799"/>
                  </a:lnTo>
                  <a:lnTo>
                    <a:pt x="38" y="799"/>
                  </a:lnTo>
                  <a:lnTo>
                    <a:pt x="39" y="800"/>
                  </a:lnTo>
                  <a:lnTo>
                    <a:pt x="39" y="801"/>
                  </a:lnTo>
                  <a:lnTo>
                    <a:pt x="39" y="802"/>
                  </a:lnTo>
                  <a:lnTo>
                    <a:pt x="38" y="804"/>
                  </a:lnTo>
                  <a:lnTo>
                    <a:pt x="37" y="805"/>
                  </a:lnTo>
                  <a:lnTo>
                    <a:pt x="37" y="807"/>
                  </a:lnTo>
                  <a:lnTo>
                    <a:pt x="37" y="809"/>
                  </a:lnTo>
                  <a:lnTo>
                    <a:pt x="37" y="810"/>
                  </a:lnTo>
                  <a:lnTo>
                    <a:pt x="37" y="811"/>
                  </a:lnTo>
                  <a:lnTo>
                    <a:pt x="20" y="812"/>
                  </a:lnTo>
                  <a:lnTo>
                    <a:pt x="7" y="810"/>
                  </a:lnTo>
                  <a:lnTo>
                    <a:pt x="2" y="810"/>
                  </a:lnTo>
                  <a:close/>
                  <a:moveTo>
                    <a:pt x="428" y="250"/>
                  </a:moveTo>
                  <a:lnTo>
                    <a:pt x="434" y="242"/>
                  </a:lnTo>
                  <a:lnTo>
                    <a:pt x="437" y="236"/>
                  </a:lnTo>
                  <a:lnTo>
                    <a:pt x="440" y="232"/>
                  </a:lnTo>
                  <a:lnTo>
                    <a:pt x="448" y="232"/>
                  </a:lnTo>
                  <a:lnTo>
                    <a:pt x="456" y="226"/>
                  </a:lnTo>
                  <a:lnTo>
                    <a:pt x="462" y="226"/>
                  </a:lnTo>
                  <a:lnTo>
                    <a:pt x="470" y="224"/>
                  </a:lnTo>
                  <a:lnTo>
                    <a:pt x="473" y="226"/>
                  </a:lnTo>
                  <a:lnTo>
                    <a:pt x="479" y="230"/>
                  </a:lnTo>
                  <a:lnTo>
                    <a:pt x="479" y="234"/>
                  </a:lnTo>
                  <a:lnTo>
                    <a:pt x="476" y="244"/>
                  </a:lnTo>
                  <a:lnTo>
                    <a:pt x="474" y="248"/>
                  </a:lnTo>
                  <a:lnTo>
                    <a:pt x="470" y="249"/>
                  </a:lnTo>
                  <a:lnTo>
                    <a:pt x="468" y="253"/>
                  </a:lnTo>
                  <a:lnTo>
                    <a:pt x="466" y="261"/>
                  </a:lnTo>
                  <a:lnTo>
                    <a:pt x="466" y="277"/>
                  </a:lnTo>
                  <a:lnTo>
                    <a:pt x="469" y="297"/>
                  </a:lnTo>
                  <a:lnTo>
                    <a:pt x="475" y="312"/>
                  </a:lnTo>
                  <a:lnTo>
                    <a:pt x="478" y="318"/>
                  </a:lnTo>
                  <a:lnTo>
                    <a:pt x="482" y="323"/>
                  </a:lnTo>
                  <a:lnTo>
                    <a:pt x="489" y="330"/>
                  </a:lnTo>
                  <a:lnTo>
                    <a:pt x="489" y="335"/>
                  </a:lnTo>
                  <a:lnTo>
                    <a:pt x="473" y="334"/>
                  </a:lnTo>
                  <a:lnTo>
                    <a:pt x="469" y="334"/>
                  </a:lnTo>
                  <a:lnTo>
                    <a:pt x="463" y="340"/>
                  </a:lnTo>
                  <a:lnTo>
                    <a:pt x="460" y="342"/>
                  </a:lnTo>
                  <a:lnTo>
                    <a:pt x="455" y="333"/>
                  </a:lnTo>
                  <a:lnTo>
                    <a:pt x="453" y="333"/>
                  </a:lnTo>
                  <a:lnTo>
                    <a:pt x="447" y="334"/>
                  </a:lnTo>
                  <a:lnTo>
                    <a:pt x="443" y="332"/>
                  </a:lnTo>
                  <a:lnTo>
                    <a:pt x="443" y="326"/>
                  </a:lnTo>
                  <a:lnTo>
                    <a:pt x="451" y="319"/>
                  </a:lnTo>
                  <a:lnTo>
                    <a:pt x="451" y="315"/>
                  </a:lnTo>
                  <a:lnTo>
                    <a:pt x="451" y="315"/>
                  </a:lnTo>
                  <a:lnTo>
                    <a:pt x="445" y="310"/>
                  </a:lnTo>
                  <a:lnTo>
                    <a:pt x="436" y="302"/>
                  </a:lnTo>
                  <a:lnTo>
                    <a:pt x="428" y="299"/>
                  </a:lnTo>
                  <a:lnTo>
                    <a:pt x="425" y="302"/>
                  </a:lnTo>
                  <a:lnTo>
                    <a:pt x="422" y="304"/>
                  </a:lnTo>
                  <a:lnTo>
                    <a:pt x="418" y="303"/>
                  </a:lnTo>
                  <a:lnTo>
                    <a:pt x="414" y="296"/>
                  </a:lnTo>
                  <a:lnTo>
                    <a:pt x="413" y="288"/>
                  </a:lnTo>
                  <a:lnTo>
                    <a:pt x="415" y="282"/>
                  </a:lnTo>
                  <a:lnTo>
                    <a:pt x="417" y="278"/>
                  </a:lnTo>
                  <a:lnTo>
                    <a:pt x="419" y="277"/>
                  </a:lnTo>
                  <a:lnTo>
                    <a:pt x="421" y="280"/>
                  </a:lnTo>
                  <a:lnTo>
                    <a:pt x="425" y="280"/>
                  </a:lnTo>
                  <a:lnTo>
                    <a:pt x="428" y="276"/>
                  </a:lnTo>
                  <a:lnTo>
                    <a:pt x="434" y="261"/>
                  </a:lnTo>
                  <a:lnTo>
                    <a:pt x="436" y="255"/>
                  </a:lnTo>
                  <a:lnTo>
                    <a:pt x="434" y="255"/>
                  </a:lnTo>
                  <a:lnTo>
                    <a:pt x="428" y="250"/>
                  </a:lnTo>
                  <a:close/>
                  <a:moveTo>
                    <a:pt x="485" y="222"/>
                  </a:moveTo>
                  <a:lnTo>
                    <a:pt x="482" y="219"/>
                  </a:lnTo>
                  <a:lnTo>
                    <a:pt x="476" y="215"/>
                  </a:lnTo>
                  <a:lnTo>
                    <a:pt x="469" y="212"/>
                  </a:lnTo>
                  <a:lnTo>
                    <a:pt x="465" y="213"/>
                  </a:lnTo>
                  <a:lnTo>
                    <a:pt x="460" y="214"/>
                  </a:lnTo>
                  <a:lnTo>
                    <a:pt x="455" y="217"/>
                  </a:lnTo>
                  <a:lnTo>
                    <a:pt x="453" y="214"/>
                  </a:lnTo>
                  <a:lnTo>
                    <a:pt x="447" y="205"/>
                  </a:lnTo>
                  <a:lnTo>
                    <a:pt x="451" y="198"/>
                  </a:lnTo>
                  <a:lnTo>
                    <a:pt x="458" y="189"/>
                  </a:lnTo>
                  <a:lnTo>
                    <a:pt x="462" y="187"/>
                  </a:lnTo>
                  <a:lnTo>
                    <a:pt x="471" y="187"/>
                  </a:lnTo>
                  <a:lnTo>
                    <a:pt x="472" y="179"/>
                  </a:lnTo>
                  <a:lnTo>
                    <a:pt x="467" y="172"/>
                  </a:lnTo>
                  <a:lnTo>
                    <a:pt x="470" y="166"/>
                  </a:lnTo>
                  <a:lnTo>
                    <a:pt x="472" y="163"/>
                  </a:lnTo>
                  <a:lnTo>
                    <a:pt x="476" y="162"/>
                  </a:lnTo>
                  <a:lnTo>
                    <a:pt x="481" y="159"/>
                  </a:lnTo>
                  <a:lnTo>
                    <a:pt x="480" y="155"/>
                  </a:lnTo>
                  <a:lnTo>
                    <a:pt x="476" y="150"/>
                  </a:lnTo>
                  <a:lnTo>
                    <a:pt x="485" y="129"/>
                  </a:lnTo>
                  <a:lnTo>
                    <a:pt x="488" y="126"/>
                  </a:lnTo>
                  <a:lnTo>
                    <a:pt x="490" y="128"/>
                  </a:lnTo>
                  <a:lnTo>
                    <a:pt x="495" y="128"/>
                  </a:lnTo>
                  <a:lnTo>
                    <a:pt x="501" y="116"/>
                  </a:lnTo>
                  <a:lnTo>
                    <a:pt x="506" y="108"/>
                  </a:lnTo>
                  <a:lnTo>
                    <a:pt x="512" y="102"/>
                  </a:lnTo>
                  <a:lnTo>
                    <a:pt x="518" y="98"/>
                  </a:lnTo>
                  <a:lnTo>
                    <a:pt x="526" y="95"/>
                  </a:lnTo>
                  <a:lnTo>
                    <a:pt x="533" y="97"/>
                  </a:lnTo>
                  <a:lnTo>
                    <a:pt x="537" y="93"/>
                  </a:lnTo>
                  <a:lnTo>
                    <a:pt x="542" y="78"/>
                  </a:lnTo>
                  <a:lnTo>
                    <a:pt x="544" y="78"/>
                  </a:lnTo>
                  <a:lnTo>
                    <a:pt x="548" y="75"/>
                  </a:lnTo>
                  <a:lnTo>
                    <a:pt x="559" y="82"/>
                  </a:lnTo>
                  <a:lnTo>
                    <a:pt x="562" y="81"/>
                  </a:lnTo>
                  <a:lnTo>
                    <a:pt x="573" y="73"/>
                  </a:lnTo>
                  <a:lnTo>
                    <a:pt x="578" y="72"/>
                  </a:lnTo>
                  <a:lnTo>
                    <a:pt x="591" y="66"/>
                  </a:lnTo>
                  <a:lnTo>
                    <a:pt x="602" y="63"/>
                  </a:lnTo>
                  <a:lnTo>
                    <a:pt x="607" y="49"/>
                  </a:lnTo>
                  <a:lnTo>
                    <a:pt x="609" y="45"/>
                  </a:lnTo>
                  <a:lnTo>
                    <a:pt x="624" y="41"/>
                  </a:lnTo>
                  <a:lnTo>
                    <a:pt x="635" y="39"/>
                  </a:lnTo>
                  <a:lnTo>
                    <a:pt x="638" y="42"/>
                  </a:lnTo>
                  <a:lnTo>
                    <a:pt x="641" y="48"/>
                  </a:lnTo>
                  <a:lnTo>
                    <a:pt x="641" y="57"/>
                  </a:lnTo>
                  <a:lnTo>
                    <a:pt x="637" y="69"/>
                  </a:lnTo>
                  <a:lnTo>
                    <a:pt x="634" y="73"/>
                  </a:lnTo>
                  <a:lnTo>
                    <a:pt x="626" y="81"/>
                  </a:lnTo>
                  <a:lnTo>
                    <a:pt x="610" y="92"/>
                  </a:lnTo>
                  <a:lnTo>
                    <a:pt x="585" y="104"/>
                  </a:lnTo>
                  <a:lnTo>
                    <a:pt x="572" y="111"/>
                  </a:lnTo>
                  <a:lnTo>
                    <a:pt x="560" y="117"/>
                  </a:lnTo>
                  <a:lnTo>
                    <a:pt x="549" y="125"/>
                  </a:lnTo>
                  <a:lnTo>
                    <a:pt x="536" y="130"/>
                  </a:lnTo>
                  <a:lnTo>
                    <a:pt x="531" y="135"/>
                  </a:lnTo>
                  <a:lnTo>
                    <a:pt x="529" y="141"/>
                  </a:lnTo>
                  <a:lnTo>
                    <a:pt x="533" y="146"/>
                  </a:lnTo>
                  <a:lnTo>
                    <a:pt x="530" y="151"/>
                  </a:lnTo>
                  <a:lnTo>
                    <a:pt x="525" y="159"/>
                  </a:lnTo>
                  <a:lnTo>
                    <a:pt x="522" y="160"/>
                  </a:lnTo>
                  <a:lnTo>
                    <a:pt x="510" y="159"/>
                  </a:lnTo>
                  <a:lnTo>
                    <a:pt x="507" y="163"/>
                  </a:lnTo>
                  <a:lnTo>
                    <a:pt x="506" y="168"/>
                  </a:lnTo>
                  <a:lnTo>
                    <a:pt x="510" y="173"/>
                  </a:lnTo>
                  <a:lnTo>
                    <a:pt x="508" y="178"/>
                  </a:lnTo>
                  <a:lnTo>
                    <a:pt x="501" y="188"/>
                  </a:lnTo>
                  <a:lnTo>
                    <a:pt x="499" y="185"/>
                  </a:lnTo>
                  <a:lnTo>
                    <a:pt x="494" y="183"/>
                  </a:lnTo>
                  <a:lnTo>
                    <a:pt x="491" y="190"/>
                  </a:lnTo>
                  <a:lnTo>
                    <a:pt x="496" y="196"/>
                  </a:lnTo>
                  <a:lnTo>
                    <a:pt x="496" y="202"/>
                  </a:lnTo>
                  <a:lnTo>
                    <a:pt x="490" y="216"/>
                  </a:lnTo>
                  <a:lnTo>
                    <a:pt x="485" y="222"/>
                  </a:lnTo>
                  <a:close/>
                  <a:moveTo>
                    <a:pt x="156" y="861"/>
                  </a:moveTo>
                  <a:lnTo>
                    <a:pt x="156" y="859"/>
                  </a:lnTo>
                  <a:lnTo>
                    <a:pt x="155" y="859"/>
                  </a:lnTo>
                  <a:lnTo>
                    <a:pt x="154" y="858"/>
                  </a:lnTo>
                  <a:lnTo>
                    <a:pt x="154" y="857"/>
                  </a:lnTo>
                  <a:lnTo>
                    <a:pt x="154" y="856"/>
                  </a:lnTo>
                  <a:lnTo>
                    <a:pt x="154" y="854"/>
                  </a:lnTo>
                  <a:lnTo>
                    <a:pt x="153" y="852"/>
                  </a:lnTo>
                  <a:lnTo>
                    <a:pt x="154" y="852"/>
                  </a:lnTo>
                  <a:lnTo>
                    <a:pt x="153" y="850"/>
                  </a:lnTo>
                  <a:lnTo>
                    <a:pt x="152" y="849"/>
                  </a:lnTo>
                  <a:lnTo>
                    <a:pt x="153" y="848"/>
                  </a:lnTo>
                  <a:lnTo>
                    <a:pt x="153" y="846"/>
                  </a:lnTo>
                  <a:lnTo>
                    <a:pt x="151" y="845"/>
                  </a:lnTo>
                  <a:lnTo>
                    <a:pt x="150" y="842"/>
                  </a:lnTo>
                  <a:lnTo>
                    <a:pt x="149" y="841"/>
                  </a:lnTo>
                  <a:lnTo>
                    <a:pt x="150" y="840"/>
                  </a:lnTo>
                  <a:lnTo>
                    <a:pt x="151" y="838"/>
                  </a:lnTo>
                  <a:lnTo>
                    <a:pt x="153" y="838"/>
                  </a:lnTo>
                  <a:lnTo>
                    <a:pt x="155" y="838"/>
                  </a:lnTo>
                  <a:lnTo>
                    <a:pt x="156" y="840"/>
                  </a:lnTo>
                  <a:lnTo>
                    <a:pt x="159" y="840"/>
                  </a:lnTo>
                  <a:lnTo>
                    <a:pt x="162" y="838"/>
                  </a:lnTo>
                  <a:lnTo>
                    <a:pt x="165" y="836"/>
                  </a:lnTo>
                  <a:lnTo>
                    <a:pt x="165" y="835"/>
                  </a:lnTo>
                  <a:lnTo>
                    <a:pt x="166" y="835"/>
                  </a:lnTo>
                  <a:lnTo>
                    <a:pt x="168" y="835"/>
                  </a:lnTo>
                  <a:lnTo>
                    <a:pt x="168" y="833"/>
                  </a:lnTo>
                  <a:lnTo>
                    <a:pt x="168" y="832"/>
                  </a:lnTo>
                  <a:lnTo>
                    <a:pt x="166" y="831"/>
                  </a:lnTo>
                  <a:lnTo>
                    <a:pt x="164" y="830"/>
                  </a:lnTo>
                  <a:lnTo>
                    <a:pt x="164" y="828"/>
                  </a:lnTo>
                  <a:lnTo>
                    <a:pt x="164" y="828"/>
                  </a:lnTo>
                  <a:lnTo>
                    <a:pt x="165" y="827"/>
                  </a:lnTo>
                  <a:lnTo>
                    <a:pt x="165" y="826"/>
                  </a:lnTo>
                  <a:lnTo>
                    <a:pt x="163" y="826"/>
                  </a:lnTo>
                  <a:lnTo>
                    <a:pt x="161" y="825"/>
                  </a:lnTo>
                  <a:lnTo>
                    <a:pt x="159" y="824"/>
                  </a:lnTo>
                  <a:lnTo>
                    <a:pt x="157" y="825"/>
                  </a:lnTo>
                  <a:lnTo>
                    <a:pt x="156" y="824"/>
                  </a:lnTo>
                  <a:lnTo>
                    <a:pt x="156" y="822"/>
                  </a:lnTo>
                  <a:lnTo>
                    <a:pt x="157" y="820"/>
                  </a:lnTo>
                  <a:lnTo>
                    <a:pt x="157" y="819"/>
                  </a:lnTo>
                  <a:lnTo>
                    <a:pt x="155" y="818"/>
                  </a:lnTo>
                  <a:lnTo>
                    <a:pt x="154" y="817"/>
                  </a:lnTo>
                  <a:lnTo>
                    <a:pt x="152" y="817"/>
                  </a:lnTo>
                  <a:lnTo>
                    <a:pt x="150" y="814"/>
                  </a:lnTo>
                  <a:lnTo>
                    <a:pt x="149" y="812"/>
                  </a:lnTo>
                  <a:lnTo>
                    <a:pt x="148" y="810"/>
                  </a:lnTo>
                  <a:lnTo>
                    <a:pt x="147" y="809"/>
                  </a:lnTo>
                  <a:lnTo>
                    <a:pt x="147" y="808"/>
                  </a:lnTo>
                  <a:lnTo>
                    <a:pt x="147" y="807"/>
                  </a:lnTo>
                  <a:lnTo>
                    <a:pt x="148" y="806"/>
                  </a:lnTo>
                  <a:lnTo>
                    <a:pt x="147" y="805"/>
                  </a:lnTo>
                  <a:lnTo>
                    <a:pt x="146" y="806"/>
                  </a:lnTo>
                  <a:lnTo>
                    <a:pt x="146" y="805"/>
                  </a:lnTo>
                  <a:lnTo>
                    <a:pt x="145" y="803"/>
                  </a:lnTo>
                  <a:lnTo>
                    <a:pt x="143" y="802"/>
                  </a:lnTo>
                  <a:lnTo>
                    <a:pt x="143" y="801"/>
                  </a:lnTo>
                  <a:lnTo>
                    <a:pt x="143" y="799"/>
                  </a:lnTo>
                  <a:lnTo>
                    <a:pt x="144" y="799"/>
                  </a:lnTo>
                  <a:lnTo>
                    <a:pt x="145" y="798"/>
                  </a:lnTo>
                  <a:lnTo>
                    <a:pt x="145" y="797"/>
                  </a:lnTo>
                  <a:lnTo>
                    <a:pt x="145" y="797"/>
                  </a:lnTo>
                  <a:lnTo>
                    <a:pt x="146" y="796"/>
                  </a:lnTo>
                  <a:lnTo>
                    <a:pt x="145" y="794"/>
                  </a:lnTo>
                  <a:lnTo>
                    <a:pt x="145" y="793"/>
                  </a:lnTo>
                  <a:lnTo>
                    <a:pt x="143" y="790"/>
                  </a:lnTo>
                  <a:lnTo>
                    <a:pt x="144" y="789"/>
                  </a:lnTo>
                  <a:lnTo>
                    <a:pt x="144" y="787"/>
                  </a:lnTo>
                  <a:lnTo>
                    <a:pt x="144" y="786"/>
                  </a:lnTo>
                  <a:lnTo>
                    <a:pt x="145" y="785"/>
                  </a:lnTo>
                  <a:lnTo>
                    <a:pt x="144" y="784"/>
                  </a:lnTo>
                  <a:lnTo>
                    <a:pt x="143" y="784"/>
                  </a:lnTo>
                  <a:lnTo>
                    <a:pt x="143" y="784"/>
                  </a:lnTo>
                  <a:lnTo>
                    <a:pt x="142" y="783"/>
                  </a:lnTo>
                  <a:lnTo>
                    <a:pt x="141" y="782"/>
                  </a:lnTo>
                  <a:lnTo>
                    <a:pt x="139" y="781"/>
                  </a:lnTo>
                  <a:lnTo>
                    <a:pt x="139" y="779"/>
                  </a:lnTo>
                  <a:lnTo>
                    <a:pt x="136" y="778"/>
                  </a:lnTo>
                  <a:lnTo>
                    <a:pt x="134" y="779"/>
                  </a:lnTo>
                  <a:lnTo>
                    <a:pt x="133" y="778"/>
                  </a:lnTo>
                  <a:lnTo>
                    <a:pt x="133" y="778"/>
                  </a:lnTo>
                  <a:lnTo>
                    <a:pt x="131" y="778"/>
                  </a:lnTo>
                  <a:lnTo>
                    <a:pt x="130" y="780"/>
                  </a:lnTo>
                  <a:lnTo>
                    <a:pt x="130" y="780"/>
                  </a:lnTo>
                  <a:lnTo>
                    <a:pt x="128" y="780"/>
                  </a:lnTo>
                  <a:lnTo>
                    <a:pt x="127" y="782"/>
                  </a:lnTo>
                  <a:lnTo>
                    <a:pt x="125" y="782"/>
                  </a:lnTo>
                  <a:lnTo>
                    <a:pt x="124" y="780"/>
                  </a:lnTo>
                  <a:lnTo>
                    <a:pt x="124" y="779"/>
                  </a:lnTo>
                  <a:lnTo>
                    <a:pt x="124" y="778"/>
                  </a:lnTo>
                  <a:lnTo>
                    <a:pt x="125" y="777"/>
                  </a:lnTo>
                  <a:lnTo>
                    <a:pt x="125" y="775"/>
                  </a:lnTo>
                  <a:lnTo>
                    <a:pt x="124" y="775"/>
                  </a:lnTo>
                  <a:lnTo>
                    <a:pt x="122" y="774"/>
                  </a:lnTo>
                  <a:lnTo>
                    <a:pt x="121" y="774"/>
                  </a:lnTo>
                  <a:lnTo>
                    <a:pt x="119" y="774"/>
                  </a:lnTo>
                  <a:lnTo>
                    <a:pt x="117" y="775"/>
                  </a:lnTo>
                  <a:lnTo>
                    <a:pt x="116" y="775"/>
                  </a:lnTo>
                  <a:lnTo>
                    <a:pt x="116" y="774"/>
                  </a:lnTo>
                  <a:lnTo>
                    <a:pt x="115" y="772"/>
                  </a:lnTo>
                  <a:lnTo>
                    <a:pt x="113" y="772"/>
                  </a:lnTo>
                  <a:lnTo>
                    <a:pt x="112" y="772"/>
                  </a:lnTo>
                  <a:lnTo>
                    <a:pt x="111" y="773"/>
                  </a:lnTo>
                  <a:lnTo>
                    <a:pt x="109" y="772"/>
                  </a:lnTo>
                  <a:lnTo>
                    <a:pt x="109" y="771"/>
                  </a:lnTo>
                  <a:lnTo>
                    <a:pt x="109" y="771"/>
                  </a:lnTo>
                  <a:lnTo>
                    <a:pt x="109" y="769"/>
                  </a:lnTo>
                  <a:lnTo>
                    <a:pt x="109" y="768"/>
                  </a:lnTo>
                  <a:lnTo>
                    <a:pt x="109" y="766"/>
                  </a:lnTo>
                  <a:lnTo>
                    <a:pt x="109" y="764"/>
                  </a:lnTo>
                  <a:lnTo>
                    <a:pt x="108" y="763"/>
                  </a:lnTo>
                  <a:lnTo>
                    <a:pt x="108" y="762"/>
                  </a:lnTo>
                  <a:lnTo>
                    <a:pt x="107" y="761"/>
                  </a:lnTo>
                  <a:lnTo>
                    <a:pt x="107" y="760"/>
                  </a:lnTo>
                  <a:lnTo>
                    <a:pt x="106" y="759"/>
                  </a:lnTo>
                  <a:lnTo>
                    <a:pt x="106" y="758"/>
                  </a:lnTo>
                  <a:lnTo>
                    <a:pt x="105" y="757"/>
                  </a:lnTo>
                  <a:lnTo>
                    <a:pt x="105" y="756"/>
                  </a:lnTo>
                  <a:lnTo>
                    <a:pt x="106" y="755"/>
                  </a:lnTo>
                  <a:lnTo>
                    <a:pt x="105" y="754"/>
                  </a:lnTo>
                  <a:lnTo>
                    <a:pt x="104" y="754"/>
                  </a:lnTo>
                  <a:lnTo>
                    <a:pt x="104" y="754"/>
                  </a:lnTo>
                  <a:lnTo>
                    <a:pt x="103" y="754"/>
                  </a:lnTo>
                  <a:lnTo>
                    <a:pt x="102" y="754"/>
                  </a:lnTo>
                  <a:lnTo>
                    <a:pt x="102" y="753"/>
                  </a:lnTo>
                  <a:lnTo>
                    <a:pt x="103" y="753"/>
                  </a:lnTo>
                  <a:lnTo>
                    <a:pt x="103" y="752"/>
                  </a:lnTo>
                  <a:lnTo>
                    <a:pt x="103" y="750"/>
                  </a:lnTo>
                  <a:lnTo>
                    <a:pt x="103" y="749"/>
                  </a:lnTo>
                  <a:lnTo>
                    <a:pt x="103" y="748"/>
                  </a:lnTo>
                  <a:lnTo>
                    <a:pt x="103" y="748"/>
                  </a:lnTo>
                  <a:lnTo>
                    <a:pt x="104" y="748"/>
                  </a:lnTo>
                  <a:lnTo>
                    <a:pt x="104" y="747"/>
                  </a:lnTo>
                  <a:lnTo>
                    <a:pt x="104" y="746"/>
                  </a:lnTo>
                  <a:lnTo>
                    <a:pt x="104" y="745"/>
                  </a:lnTo>
                  <a:lnTo>
                    <a:pt x="104" y="744"/>
                  </a:lnTo>
                  <a:lnTo>
                    <a:pt x="103" y="743"/>
                  </a:lnTo>
                  <a:lnTo>
                    <a:pt x="103" y="742"/>
                  </a:lnTo>
                  <a:lnTo>
                    <a:pt x="102" y="741"/>
                  </a:lnTo>
                  <a:lnTo>
                    <a:pt x="100" y="741"/>
                  </a:lnTo>
                  <a:lnTo>
                    <a:pt x="100" y="739"/>
                  </a:lnTo>
                  <a:lnTo>
                    <a:pt x="100" y="738"/>
                  </a:lnTo>
                  <a:lnTo>
                    <a:pt x="98" y="738"/>
                  </a:lnTo>
                  <a:lnTo>
                    <a:pt x="98" y="737"/>
                  </a:lnTo>
                  <a:lnTo>
                    <a:pt x="98" y="736"/>
                  </a:lnTo>
                  <a:lnTo>
                    <a:pt x="98" y="735"/>
                  </a:lnTo>
                  <a:lnTo>
                    <a:pt x="99" y="734"/>
                  </a:lnTo>
                  <a:lnTo>
                    <a:pt x="100" y="734"/>
                  </a:lnTo>
                  <a:lnTo>
                    <a:pt x="100" y="733"/>
                  </a:lnTo>
                  <a:lnTo>
                    <a:pt x="100" y="732"/>
                  </a:lnTo>
                  <a:lnTo>
                    <a:pt x="101" y="731"/>
                  </a:lnTo>
                  <a:lnTo>
                    <a:pt x="103" y="730"/>
                  </a:lnTo>
                  <a:lnTo>
                    <a:pt x="104" y="730"/>
                  </a:lnTo>
                  <a:lnTo>
                    <a:pt x="103" y="729"/>
                  </a:lnTo>
                  <a:lnTo>
                    <a:pt x="103" y="729"/>
                  </a:lnTo>
                  <a:lnTo>
                    <a:pt x="102" y="727"/>
                  </a:lnTo>
                  <a:lnTo>
                    <a:pt x="102" y="726"/>
                  </a:lnTo>
                  <a:lnTo>
                    <a:pt x="102" y="725"/>
                  </a:lnTo>
                  <a:lnTo>
                    <a:pt x="101" y="724"/>
                  </a:lnTo>
                  <a:lnTo>
                    <a:pt x="100" y="723"/>
                  </a:lnTo>
                  <a:lnTo>
                    <a:pt x="99" y="721"/>
                  </a:lnTo>
                  <a:lnTo>
                    <a:pt x="99" y="719"/>
                  </a:lnTo>
                  <a:lnTo>
                    <a:pt x="100" y="717"/>
                  </a:lnTo>
                  <a:lnTo>
                    <a:pt x="100" y="715"/>
                  </a:lnTo>
                  <a:lnTo>
                    <a:pt x="100" y="713"/>
                  </a:lnTo>
                  <a:lnTo>
                    <a:pt x="99" y="708"/>
                  </a:lnTo>
                  <a:lnTo>
                    <a:pt x="99" y="706"/>
                  </a:lnTo>
                  <a:lnTo>
                    <a:pt x="99" y="705"/>
                  </a:lnTo>
                  <a:lnTo>
                    <a:pt x="101" y="703"/>
                  </a:lnTo>
                  <a:lnTo>
                    <a:pt x="103" y="702"/>
                  </a:lnTo>
                  <a:lnTo>
                    <a:pt x="104" y="699"/>
                  </a:lnTo>
                  <a:lnTo>
                    <a:pt x="105" y="696"/>
                  </a:lnTo>
                  <a:lnTo>
                    <a:pt x="105" y="695"/>
                  </a:lnTo>
                  <a:lnTo>
                    <a:pt x="106" y="694"/>
                  </a:lnTo>
                  <a:lnTo>
                    <a:pt x="106" y="694"/>
                  </a:lnTo>
                  <a:lnTo>
                    <a:pt x="107" y="694"/>
                  </a:lnTo>
                  <a:lnTo>
                    <a:pt x="109" y="694"/>
                  </a:lnTo>
                  <a:lnTo>
                    <a:pt x="109" y="692"/>
                  </a:lnTo>
                  <a:lnTo>
                    <a:pt x="108" y="690"/>
                  </a:lnTo>
                  <a:lnTo>
                    <a:pt x="107" y="690"/>
                  </a:lnTo>
                  <a:lnTo>
                    <a:pt x="106" y="688"/>
                  </a:lnTo>
                  <a:lnTo>
                    <a:pt x="106" y="688"/>
                  </a:lnTo>
                  <a:lnTo>
                    <a:pt x="106" y="685"/>
                  </a:lnTo>
                  <a:lnTo>
                    <a:pt x="108" y="684"/>
                  </a:lnTo>
                  <a:lnTo>
                    <a:pt x="109" y="686"/>
                  </a:lnTo>
                  <a:lnTo>
                    <a:pt x="110" y="687"/>
                  </a:lnTo>
                  <a:lnTo>
                    <a:pt x="111" y="686"/>
                  </a:lnTo>
                  <a:lnTo>
                    <a:pt x="111" y="684"/>
                  </a:lnTo>
                  <a:lnTo>
                    <a:pt x="113" y="682"/>
                  </a:lnTo>
                  <a:lnTo>
                    <a:pt x="115" y="685"/>
                  </a:lnTo>
                  <a:lnTo>
                    <a:pt x="117" y="684"/>
                  </a:lnTo>
                  <a:lnTo>
                    <a:pt x="119" y="680"/>
                  </a:lnTo>
                  <a:lnTo>
                    <a:pt x="121" y="678"/>
                  </a:lnTo>
                  <a:lnTo>
                    <a:pt x="125" y="679"/>
                  </a:lnTo>
                  <a:lnTo>
                    <a:pt x="130" y="682"/>
                  </a:lnTo>
                  <a:lnTo>
                    <a:pt x="133" y="682"/>
                  </a:lnTo>
                  <a:lnTo>
                    <a:pt x="134" y="681"/>
                  </a:lnTo>
                  <a:lnTo>
                    <a:pt x="132" y="676"/>
                  </a:lnTo>
                  <a:lnTo>
                    <a:pt x="129" y="672"/>
                  </a:lnTo>
                  <a:lnTo>
                    <a:pt x="127" y="672"/>
                  </a:lnTo>
                  <a:lnTo>
                    <a:pt x="119" y="673"/>
                  </a:lnTo>
                  <a:lnTo>
                    <a:pt x="116" y="672"/>
                  </a:lnTo>
                  <a:lnTo>
                    <a:pt x="114" y="670"/>
                  </a:lnTo>
                  <a:lnTo>
                    <a:pt x="112" y="667"/>
                  </a:lnTo>
                  <a:lnTo>
                    <a:pt x="114" y="661"/>
                  </a:lnTo>
                  <a:lnTo>
                    <a:pt x="113" y="659"/>
                  </a:lnTo>
                  <a:lnTo>
                    <a:pt x="112" y="660"/>
                  </a:lnTo>
                  <a:lnTo>
                    <a:pt x="113" y="656"/>
                  </a:lnTo>
                  <a:lnTo>
                    <a:pt x="125" y="642"/>
                  </a:lnTo>
                  <a:lnTo>
                    <a:pt x="137" y="628"/>
                  </a:lnTo>
                  <a:lnTo>
                    <a:pt x="145" y="618"/>
                  </a:lnTo>
                  <a:lnTo>
                    <a:pt x="148" y="611"/>
                  </a:lnTo>
                  <a:lnTo>
                    <a:pt x="151" y="604"/>
                  </a:lnTo>
                  <a:lnTo>
                    <a:pt x="151" y="599"/>
                  </a:lnTo>
                  <a:lnTo>
                    <a:pt x="150" y="595"/>
                  </a:lnTo>
                  <a:lnTo>
                    <a:pt x="148" y="590"/>
                  </a:lnTo>
                  <a:lnTo>
                    <a:pt x="143" y="586"/>
                  </a:lnTo>
                  <a:lnTo>
                    <a:pt x="136" y="580"/>
                  </a:lnTo>
                  <a:lnTo>
                    <a:pt x="133" y="575"/>
                  </a:lnTo>
                  <a:lnTo>
                    <a:pt x="135" y="573"/>
                  </a:lnTo>
                  <a:lnTo>
                    <a:pt x="138" y="567"/>
                  </a:lnTo>
                  <a:lnTo>
                    <a:pt x="139" y="564"/>
                  </a:lnTo>
                  <a:lnTo>
                    <a:pt x="137" y="561"/>
                  </a:lnTo>
                  <a:lnTo>
                    <a:pt x="130" y="541"/>
                  </a:lnTo>
                  <a:lnTo>
                    <a:pt x="128" y="534"/>
                  </a:lnTo>
                  <a:lnTo>
                    <a:pt x="128" y="529"/>
                  </a:lnTo>
                  <a:lnTo>
                    <a:pt x="129" y="523"/>
                  </a:lnTo>
                  <a:lnTo>
                    <a:pt x="132" y="516"/>
                  </a:lnTo>
                  <a:lnTo>
                    <a:pt x="133" y="511"/>
                  </a:lnTo>
                  <a:lnTo>
                    <a:pt x="128" y="494"/>
                  </a:lnTo>
                  <a:lnTo>
                    <a:pt x="120" y="473"/>
                  </a:lnTo>
                  <a:lnTo>
                    <a:pt x="122" y="469"/>
                  </a:lnTo>
                  <a:lnTo>
                    <a:pt x="130" y="457"/>
                  </a:lnTo>
                  <a:lnTo>
                    <a:pt x="132" y="451"/>
                  </a:lnTo>
                  <a:lnTo>
                    <a:pt x="129" y="445"/>
                  </a:lnTo>
                  <a:lnTo>
                    <a:pt x="123" y="437"/>
                  </a:lnTo>
                  <a:lnTo>
                    <a:pt x="118" y="434"/>
                  </a:lnTo>
                  <a:lnTo>
                    <a:pt x="115" y="431"/>
                  </a:lnTo>
                  <a:lnTo>
                    <a:pt x="114" y="423"/>
                  </a:lnTo>
                  <a:lnTo>
                    <a:pt x="116" y="415"/>
                  </a:lnTo>
                  <a:lnTo>
                    <a:pt x="116" y="411"/>
                  </a:lnTo>
                  <a:lnTo>
                    <a:pt x="120" y="406"/>
                  </a:lnTo>
                  <a:lnTo>
                    <a:pt x="126" y="394"/>
                  </a:lnTo>
                  <a:lnTo>
                    <a:pt x="132" y="386"/>
                  </a:lnTo>
                  <a:lnTo>
                    <a:pt x="136" y="384"/>
                  </a:lnTo>
                  <a:lnTo>
                    <a:pt x="141" y="384"/>
                  </a:lnTo>
                  <a:lnTo>
                    <a:pt x="144" y="381"/>
                  </a:lnTo>
                  <a:lnTo>
                    <a:pt x="147" y="376"/>
                  </a:lnTo>
                  <a:lnTo>
                    <a:pt x="150" y="375"/>
                  </a:lnTo>
                  <a:lnTo>
                    <a:pt x="156" y="370"/>
                  </a:lnTo>
                  <a:lnTo>
                    <a:pt x="160" y="366"/>
                  </a:lnTo>
                  <a:lnTo>
                    <a:pt x="160" y="369"/>
                  </a:lnTo>
                  <a:lnTo>
                    <a:pt x="161" y="376"/>
                  </a:lnTo>
                  <a:lnTo>
                    <a:pt x="164" y="381"/>
                  </a:lnTo>
                  <a:lnTo>
                    <a:pt x="167" y="384"/>
                  </a:lnTo>
                  <a:lnTo>
                    <a:pt x="172" y="385"/>
                  </a:lnTo>
                  <a:lnTo>
                    <a:pt x="176" y="387"/>
                  </a:lnTo>
                  <a:lnTo>
                    <a:pt x="176" y="397"/>
                  </a:lnTo>
                  <a:lnTo>
                    <a:pt x="180" y="391"/>
                  </a:lnTo>
                  <a:lnTo>
                    <a:pt x="183" y="392"/>
                  </a:lnTo>
                  <a:lnTo>
                    <a:pt x="189" y="393"/>
                  </a:lnTo>
                  <a:lnTo>
                    <a:pt x="194" y="393"/>
                  </a:lnTo>
                  <a:lnTo>
                    <a:pt x="197" y="394"/>
                  </a:lnTo>
                  <a:lnTo>
                    <a:pt x="204" y="394"/>
                  </a:lnTo>
                  <a:lnTo>
                    <a:pt x="211" y="399"/>
                  </a:lnTo>
                  <a:lnTo>
                    <a:pt x="227" y="407"/>
                  </a:lnTo>
                  <a:lnTo>
                    <a:pt x="233" y="413"/>
                  </a:lnTo>
                  <a:lnTo>
                    <a:pt x="243" y="427"/>
                  </a:lnTo>
                  <a:lnTo>
                    <a:pt x="246" y="430"/>
                  </a:lnTo>
                  <a:lnTo>
                    <a:pt x="255" y="434"/>
                  </a:lnTo>
                  <a:lnTo>
                    <a:pt x="262" y="437"/>
                  </a:lnTo>
                  <a:lnTo>
                    <a:pt x="274" y="447"/>
                  </a:lnTo>
                  <a:lnTo>
                    <a:pt x="276" y="451"/>
                  </a:lnTo>
                  <a:lnTo>
                    <a:pt x="276" y="458"/>
                  </a:lnTo>
                  <a:lnTo>
                    <a:pt x="277" y="462"/>
                  </a:lnTo>
                  <a:lnTo>
                    <a:pt x="279" y="467"/>
                  </a:lnTo>
                  <a:lnTo>
                    <a:pt x="280" y="471"/>
                  </a:lnTo>
                  <a:lnTo>
                    <a:pt x="278" y="477"/>
                  </a:lnTo>
                  <a:lnTo>
                    <a:pt x="274" y="484"/>
                  </a:lnTo>
                  <a:lnTo>
                    <a:pt x="268" y="492"/>
                  </a:lnTo>
                  <a:lnTo>
                    <a:pt x="263" y="496"/>
                  </a:lnTo>
                  <a:lnTo>
                    <a:pt x="253" y="501"/>
                  </a:lnTo>
                  <a:lnTo>
                    <a:pt x="248" y="502"/>
                  </a:lnTo>
                  <a:lnTo>
                    <a:pt x="238" y="502"/>
                  </a:lnTo>
                  <a:lnTo>
                    <a:pt x="230" y="499"/>
                  </a:lnTo>
                  <a:lnTo>
                    <a:pt x="218" y="496"/>
                  </a:lnTo>
                  <a:lnTo>
                    <a:pt x="208" y="494"/>
                  </a:lnTo>
                  <a:lnTo>
                    <a:pt x="200" y="489"/>
                  </a:lnTo>
                  <a:lnTo>
                    <a:pt x="187" y="481"/>
                  </a:lnTo>
                  <a:lnTo>
                    <a:pt x="181" y="480"/>
                  </a:lnTo>
                  <a:lnTo>
                    <a:pt x="178" y="479"/>
                  </a:lnTo>
                  <a:lnTo>
                    <a:pt x="174" y="472"/>
                  </a:lnTo>
                  <a:lnTo>
                    <a:pt x="172" y="470"/>
                  </a:lnTo>
                  <a:lnTo>
                    <a:pt x="167" y="468"/>
                  </a:lnTo>
                  <a:lnTo>
                    <a:pt x="162" y="469"/>
                  </a:lnTo>
                  <a:lnTo>
                    <a:pt x="164" y="472"/>
                  </a:lnTo>
                  <a:lnTo>
                    <a:pt x="164" y="473"/>
                  </a:lnTo>
                  <a:lnTo>
                    <a:pt x="169" y="481"/>
                  </a:lnTo>
                  <a:lnTo>
                    <a:pt x="172" y="483"/>
                  </a:lnTo>
                  <a:lnTo>
                    <a:pt x="178" y="492"/>
                  </a:lnTo>
                  <a:lnTo>
                    <a:pt x="183" y="496"/>
                  </a:lnTo>
                  <a:lnTo>
                    <a:pt x="188" y="499"/>
                  </a:lnTo>
                  <a:lnTo>
                    <a:pt x="192" y="502"/>
                  </a:lnTo>
                  <a:lnTo>
                    <a:pt x="194" y="508"/>
                  </a:lnTo>
                  <a:lnTo>
                    <a:pt x="194" y="514"/>
                  </a:lnTo>
                  <a:lnTo>
                    <a:pt x="193" y="519"/>
                  </a:lnTo>
                  <a:lnTo>
                    <a:pt x="189" y="521"/>
                  </a:lnTo>
                  <a:lnTo>
                    <a:pt x="190" y="523"/>
                  </a:lnTo>
                  <a:lnTo>
                    <a:pt x="191" y="530"/>
                  </a:lnTo>
                  <a:lnTo>
                    <a:pt x="195" y="543"/>
                  </a:lnTo>
                  <a:lnTo>
                    <a:pt x="196" y="550"/>
                  </a:lnTo>
                  <a:lnTo>
                    <a:pt x="197" y="553"/>
                  </a:lnTo>
                  <a:lnTo>
                    <a:pt x="199" y="555"/>
                  </a:lnTo>
                  <a:lnTo>
                    <a:pt x="206" y="556"/>
                  </a:lnTo>
                  <a:lnTo>
                    <a:pt x="211" y="558"/>
                  </a:lnTo>
                  <a:lnTo>
                    <a:pt x="214" y="566"/>
                  </a:lnTo>
                  <a:lnTo>
                    <a:pt x="217" y="568"/>
                  </a:lnTo>
                  <a:lnTo>
                    <a:pt x="224" y="569"/>
                  </a:lnTo>
                  <a:lnTo>
                    <a:pt x="227" y="570"/>
                  </a:lnTo>
                  <a:lnTo>
                    <a:pt x="230" y="571"/>
                  </a:lnTo>
                  <a:lnTo>
                    <a:pt x="232" y="570"/>
                  </a:lnTo>
                  <a:lnTo>
                    <a:pt x="237" y="568"/>
                  </a:lnTo>
                  <a:lnTo>
                    <a:pt x="238" y="564"/>
                  </a:lnTo>
                  <a:lnTo>
                    <a:pt x="238" y="560"/>
                  </a:lnTo>
                  <a:lnTo>
                    <a:pt x="236" y="555"/>
                  </a:lnTo>
                  <a:lnTo>
                    <a:pt x="233" y="554"/>
                  </a:lnTo>
                  <a:lnTo>
                    <a:pt x="230" y="555"/>
                  </a:lnTo>
                  <a:lnTo>
                    <a:pt x="228" y="555"/>
                  </a:lnTo>
                  <a:lnTo>
                    <a:pt x="224" y="552"/>
                  </a:lnTo>
                  <a:lnTo>
                    <a:pt x="219" y="541"/>
                  </a:lnTo>
                  <a:lnTo>
                    <a:pt x="223" y="531"/>
                  </a:lnTo>
                  <a:lnTo>
                    <a:pt x="226" y="531"/>
                  </a:lnTo>
                  <a:lnTo>
                    <a:pt x="232" y="538"/>
                  </a:lnTo>
                  <a:lnTo>
                    <a:pt x="241" y="543"/>
                  </a:lnTo>
                  <a:lnTo>
                    <a:pt x="253" y="549"/>
                  </a:lnTo>
                  <a:lnTo>
                    <a:pt x="259" y="550"/>
                  </a:lnTo>
                  <a:lnTo>
                    <a:pt x="263" y="548"/>
                  </a:lnTo>
                  <a:lnTo>
                    <a:pt x="268" y="550"/>
                  </a:lnTo>
                  <a:lnTo>
                    <a:pt x="269" y="547"/>
                  </a:lnTo>
                  <a:lnTo>
                    <a:pt x="269" y="541"/>
                  </a:lnTo>
                  <a:lnTo>
                    <a:pt x="268" y="538"/>
                  </a:lnTo>
                  <a:lnTo>
                    <a:pt x="263" y="529"/>
                  </a:lnTo>
                  <a:lnTo>
                    <a:pt x="261" y="520"/>
                  </a:lnTo>
                  <a:lnTo>
                    <a:pt x="263" y="516"/>
                  </a:lnTo>
                  <a:lnTo>
                    <a:pt x="264" y="515"/>
                  </a:lnTo>
                  <a:lnTo>
                    <a:pt x="272" y="509"/>
                  </a:lnTo>
                  <a:lnTo>
                    <a:pt x="281" y="504"/>
                  </a:lnTo>
                  <a:lnTo>
                    <a:pt x="285" y="500"/>
                  </a:lnTo>
                  <a:lnTo>
                    <a:pt x="292" y="489"/>
                  </a:lnTo>
                  <a:lnTo>
                    <a:pt x="292" y="489"/>
                  </a:lnTo>
                  <a:lnTo>
                    <a:pt x="295" y="490"/>
                  </a:lnTo>
                  <a:lnTo>
                    <a:pt x="306" y="494"/>
                  </a:lnTo>
                  <a:lnTo>
                    <a:pt x="314" y="502"/>
                  </a:lnTo>
                  <a:lnTo>
                    <a:pt x="316" y="502"/>
                  </a:lnTo>
                  <a:lnTo>
                    <a:pt x="316" y="501"/>
                  </a:lnTo>
                  <a:lnTo>
                    <a:pt x="317" y="493"/>
                  </a:lnTo>
                  <a:lnTo>
                    <a:pt x="321" y="482"/>
                  </a:lnTo>
                  <a:lnTo>
                    <a:pt x="320" y="472"/>
                  </a:lnTo>
                  <a:lnTo>
                    <a:pt x="319" y="466"/>
                  </a:lnTo>
                  <a:lnTo>
                    <a:pt x="314" y="464"/>
                  </a:lnTo>
                  <a:lnTo>
                    <a:pt x="312" y="460"/>
                  </a:lnTo>
                  <a:lnTo>
                    <a:pt x="319" y="445"/>
                  </a:lnTo>
                  <a:lnTo>
                    <a:pt x="319" y="441"/>
                  </a:lnTo>
                  <a:lnTo>
                    <a:pt x="318" y="432"/>
                  </a:lnTo>
                  <a:lnTo>
                    <a:pt x="313" y="424"/>
                  </a:lnTo>
                  <a:lnTo>
                    <a:pt x="314" y="418"/>
                  </a:lnTo>
                  <a:lnTo>
                    <a:pt x="316" y="418"/>
                  </a:lnTo>
                  <a:lnTo>
                    <a:pt x="325" y="421"/>
                  </a:lnTo>
                  <a:lnTo>
                    <a:pt x="337" y="420"/>
                  </a:lnTo>
                  <a:lnTo>
                    <a:pt x="340" y="421"/>
                  </a:lnTo>
                  <a:lnTo>
                    <a:pt x="344" y="431"/>
                  </a:lnTo>
                  <a:lnTo>
                    <a:pt x="348" y="438"/>
                  </a:lnTo>
                  <a:lnTo>
                    <a:pt x="350" y="445"/>
                  </a:lnTo>
                  <a:lnTo>
                    <a:pt x="344" y="446"/>
                  </a:lnTo>
                  <a:lnTo>
                    <a:pt x="335" y="448"/>
                  </a:lnTo>
                  <a:lnTo>
                    <a:pt x="330" y="451"/>
                  </a:lnTo>
                  <a:lnTo>
                    <a:pt x="327" y="459"/>
                  </a:lnTo>
                  <a:lnTo>
                    <a:pt x="328" y="462"/>
                  </a:lnTo>
                  <a:lnTo>
                    <a:pt x="334" y="466"/>
                  </a:lnTo>
                  <a:lnTo>
                    <a:pt x="338" y="474"/>
                  </a:lnTo>
                  <a:lnTo>
                    <a:pt x="343" y="477"/>
                  </a:lnTo>
                  <a:lnTo>
                    <a:pt x="347" y="478"/>
                  </a:lnTo>
                  <a:lnTo>
                    <a:pt x="355" y="477"/>
                  </a:lnTo>
                  <a:lnTo>
                    <a:pt x="362" y="475"/>
                  </a:lnTo>
                  <a:lnTo>
                    <a:pt x="364" y="473"/>
                  </a:lnTo>
                  <a:lnTo>
                    <a:pt x="366" y="466"/>
                  </a:lnTo>
                  <a:lnTo>
                    <a:pt x="367" y="457"/>
                  </a:lnTo>
                  <a:lnTo>
                    <a:pt x="369" y="450"/>
                  </a:lnTo>
                  <a:lnTo>
                    <a:pt x="376" y="447"/>
                  </a:lnTo>
                  <a:lnTo>
                    <a:pt x="383" y="441"/>
                  </a:lnTo>
                  <a:lnTo>
                    <a:pt x="389" y="437"/>
                  </a:lnTo>
                  <a:lnTo>
                    <a:pt x="401" y="430"/>
                  </a:lnTo>
                  <a:lnTo>
                    <a:pt x="409" y="426"/>
                  </a:lnTo>
                  <a:lnTo>
                    <a:pt x="418" y="421"/>
                  </a:lnTo>
                  <a:lnTo>
                    <a:pt x="424" y="416"/>
                  </a:lnTo>
                  <a:lnTo>
                    <a:pt x="425" y="423"/>
                  </a:lnTo>
                  <a:lnTo>
                    <a:pt x="426" y="424"/>
                  </a:lnTo>
                  <a:lnTo>
                    <a:pt x="430" y="423"/>
                  </a:lnTo>
                  <a:lnTo>
                    <a:pt x="433" y="418"/>
                  </a:lnTo>
                  <a:lnTo>
                    <a:pt x="433" y="411"/>
                  </a:lnTo>
                  <a:lnTo>
                    <a:pt x="436" y="408"/>
                  </a:lnTo>
                  <a:lnTo>
                    <a:pt x="440" y="406"/>
                  </a:lnTo>
                  <a:lnTo>
                    <a:pt x="445" y="407"/>
                  </a:lnTo>
                  <a:lnTo>
                    <a:pt x="444" y="414"/>
                  </a:lnTo>
                  <a:lnTo>
                    <a:pt x="443" y="423"/>
                  </a:lnTo>
                  <a:lnTo>
                    <a:pt x="439" y="424"/>
                  </a:lnTo>
                  <a:lnTo>
                    <a:pt x="437" y="427"/>
                  </a:lnTo>
                  <a:lnTo>
                    <a:pt x="437" y="430"/>
                  </a:lnTo>
                  <a:lnTo>
                    <a:pt x="442" y="433"/>
                  </a:lnTo>
                  <a:lnTo>
                    <a:pt x="445" y="432"/>
                  </a:lnTo>
                  <a:lnTo>
                    <a:pt x="451" y="429"/>
                  </a:lnTo>
                  <a:lnTo>
                    <a:pt x="454" y="429"/>
                  </a:lnTo>
                  <a:lnTo>
                    <a:pt x="455" y="433"/>
                  </a:lnTo>
                  <a:lnTo>
                    <a:pt x="456" y="433"/>
                  </a:lnTo>
                  <a:lnTo>
                    <a:pt x="458" y="431"/>
                  </a:lnTo>
                  <a:lnTo>
                    <a:pt x="460" y="428"/>
                  </a:lnTo>
                  <a:lnTo>
                    <a:pt x="461" y="421"/>
                  </a:lnTo>
                  <a:lnTo>
                    <a:pt x="464" y="418"/>
                  </a:lnTo>
                  <a:lnTo>
                    <a:pt x="469" y="416"/>
                  </a:lnTo>
                  <a:lnTo>
                    <a:pt x="475" y="415"/>
                  </a:lnTo>
                  <a:lnTo>
                    <a:pt x="480" y="415"/>
                  </a:lnTo>
                  <a:lnTo>
                    <a:pt x="486" y="419"/>
                  </a:lnTo>
                  <a:lnTo>
                    <a:pt x="490" y="419"/>
                  </a:lnTo>
                  <a:lnTo>
                    <a:pt x="493" y="418"/>
                  </a:lnTo>
                  <a:lnTo>
                    <a:pt x="498" y="410"/>
                  </a:lnTo>
                  <a:lnTo>
                    <a:pt x="504" y="405"/>
                  </a:lnTo>
                  <a:lnTo>
                    <a:pt x="509" y="405"/>
                  </a:lnTo>
                  <a:lnTo>
                    <a:pt x="514" y="408"/>
                  </a:lnTo>
                  <a:lnTo>
                    <a:pt x="516" y="410"/>
                  </a:lnTo>
                  <a:lnTo>
                    <a:pt x="512" y="418"/>
                  </a:lnTo>
                  <a:lnTo>
                    <a:pt x="513" y="421"/>
                  </a:lnTo>
                  <a:lnTo>
                    <a:pt x="515" y="423"/>
                  </a:lnTo>
                  <a:lnTo>
                    <a:pt x="518" y="425"/>
                  </a:lnTo>
                  <a:lnTo>
                    <a:pt x="522" y="425"/>
                  </a:lnTo>
                  <a:lnTo>
                    <a:pt x="523" y="421"/>
                  </a:lnTo>
                  <a:lnTo>
                    <a:pt x="524" y="415"/>
                  </a:lnTo>
                  <a:lnTo>
                    <a:pt x="526" y="413"/>
                  </a:lnTo>
                  <a:lnTo>
                    <a:pt x="532" y="414"/>
                  </a:lnTo>
                  <a:lnTo>
                    <a:pt x="535" y="411"/>
                  </a:lnTo>
                  <a:lnTo>
                    <a:pt x="537" y="406"/>
                  </a:lnTo>
                  <a:lnTo>
                    <a:pt x="538" y="399"/>
                  </a:lnTo>
                  <a:lnTo>
                    <a:pt x="530" y="382"/>
                  </a:lnTo>
                  <a:lnTo>
                    <a:pt x="532" y="379"/>
                  </a:lnTo>
                  <a:lnTo>
                    <a:pt x="536" y="373"/>
                  </a:lnTo>
                  <a:lnTo>
                    <a:pt x="538" y="372"/>
                  </a:lnTo>
                  <a:lnTo>
                    <a:pt x="542" y="372"/>
                  </a:lnTo>
                  <a:lnTo>
                    <a:pt x="555" y="373"/>
                  </a:lnTo>
                  <a:lnTo>
                    <a:pt x="562" y="376"/>
                  </a:lnTo>
                  <a:lnTo>
                    <a:pt x="569" y="379"/>
                  </a:lnTo>
                  <a:lnTo>
                    <a:pt x="576" y="382"/>
                  </a:lnTo>
                  <a:lnTo>
                    <a:pt x="589" y="391"/>
                  </a:lnTo>
                  <a:lnTo>
                    <a:pt x="595" y="393"/>
                  </a:lnTo>
                  <a:lnTo>
                    <a:pt x="605" y="399"/>
                  </a:lnTo>
                  <a:lnTo>
                    <a:pt x="611" y="403"/>
                  </a:lnTo>
                  <a:lnTo>
                    <a:pt x="619" y="412"/>
                  </a:lnTo>
                  <a:lnTo>
                    <a:pt x="627" y="422"/>
                  </a:lnTo>
                  <a:lnTo>
                    <a:pt x="632" y="428"/>
                  </a:lnTo>
                  <a:lnTo>
                    <a:pt x="634" y="429"/>
                  </a:lnTo>
                  <a:lnTo>
                    <a:pt x="636" y="427"/>
                  </a:lnTo>
                  <a:lnTo>
                    <a:pt x="643" y="411"/>
                  </a:lnTo>
                  <a:lnTo>
                    <a:pt x="644" y="406"/>
                  </a:lnTo>
                  <a:lnTo>
                    <a:pt x="638" y="406"/>
                  </a:lnTo>
                  <a:lnTo>
                    <a:pt x="636" y="405"/>
                  </a:lnTo>
                  <a:lnTo>
                    <a:pt x="633" y="402"/>
                  </a:lnTo>
                  <a:lnTo>
                    <a:pt x="631" y="394"/>
                  </a:lnTo>
                  <a:lnTo>
                    <a:pt x="631" y="384"/>
                  </a:lnTo>
                  <a:lnTo>
                    <a:pt x="626" y="379"/>
                  </a:lnTo>
                  <a:lnTo>
                    <a:pt x="615" y="376"/>
                  </a:lnTo>
                  <a:lnTo>
                    <a:pt x="614" y="372"/>
                  </a:lnTo>
                  <a:lnTo>
                    <a:pt x="614" y="369"/>
                  </a:lnTo>
                  <a:lnTo>
                    <a:pt x="616" y="364"/>
                  </a:lnTo>
                  <a:lnTo>
                    <a:pt x="620" y="359"/>
                  </a:lnTo>
                  <a:lnTo>
                    <a:pt x="621" y="357"/>
                  </a:lnTo>
                  <a:lnTo>
                    <a:pt x="622" y="354"/>
                  </a:lnTo>
                  <a:lnTo>
                    <a:pt x="622" y="339"/>
                  </a:lnTo>
                  <a:lnTo>
                    <a:pt x="620" y="334"/>
                  </a:lnTo>
                  <a:lnTo>
                    <a:pt x="613" y="333"/>
                  </a:lnTo>
                  <a:lnTo>
                    <a:pt x="612" y="328"/>
                  </a:lnTo>
                  <a:lnTo>
                    <a:pt x="614" y="319"/>
                  </a:lnTo>
                  <a:lnTo>
                    <a:pt x="616" y="314"/>
                  </a:lnTo>
                  <a:lnTo>
                    <a:pt x="618" y="313"/>
                  </a:lnTo>
                  <a:lnTo>
                    <a:pt x="627" y="306"/>
                  </a:lnTo>
                  <a:lnTo>
                    <a:pt x="634" y="297"/>
                  </a:lnTo>
                  <a:lnTo>
                    <a:pt x="637" y="289"/>
                  </a:lnTo>
                  <a:lnTo>
                    <a:pt x="640" y="277"/>
                  </a:lnTo>
                  <a:lnTo>
                    <a:pt x="643" y="254"/>
                  </a:lnTo>
                  <a:lnTo>
                    <a:pt x="647" y="246"/>
                  </a:lnTo>
                  <a:lnTo>
                    <a:pt x="649" y="247"/>
                  </a:lnTo>
                  <a:lnTo>
                    <a:pt x="658" y="250"/>
                  </a:lnTo>
                  <a:lnTo>
                    <a:pt x="668" y="247"/>
                  </a:lnTo>
                  <a:lnTo>
                    <a:pt x="677" y="246"/>
                  </a:lnTo>
                  <a:lnTo>
                    <a:pt x="681" y="247"/>
                  </a:lnTo>
                  <a:lnTo>
                    <a:pt x="688" y="246"/>
                  </a:lnTo>
                  <a:lnTo>
                    <a:pt x="691" y="248"/>
                  </a:lnTo>
                  <a:lnTo>
                    <a:pt x="693" y="254"/>
                  </a:lnTo>
                  <a:lnTo>
                    <a:pt x="693" y="261"/>
                  </a:lnTo>
                  <a:lnTo>
                    <a:pt x="690" y="277"/>
                  </a:lnTo>
                  <a:lnTo>
                    <a:pt x="688" y="283"/>
                  </a:lnTo>
                  <a:lnTo>
                    <a:pt x="680" y="299"/>
                  </a:lnTo>
                  <a:lnTo>
                    <a:pt x="679" y="305"/>
                  </a:lnTo>
                  <a:lnTo>
                    <a:pt x="683" y="312"/>
                  </a:lnTo>
                  <a:lnTo>
                    <a:pt x="689" y="324"/>
                  </a:lnTo>
                  <a:lnTo>
                    <a:pt x="691" y="330"/>
                  </a:lnTo>
                  <a:lnTo>
                    <a:pt x="692" y="345"/>
                  </a:lnTo>
                  <a:lnTo>
                    <a:pt x="691" y="348"/>
                  </a:lnTo>
                  <a:lnTo>
                    <a:pt x="687" y="355"/>
                  </a:lnTo>
                  <a:lnTo>
                    <a:pt x="689" y="375"/>
                  </a:lnTo>
                  <a:lnTo>
                    <a:pt x="689" y="397"/>
                  </a:lnTo>
                  <a:lnTo>
                    <a:pt x="690" y="406"/>
                  </a:lnTo>
                  <a:lnTo>
                    <a:pt x="693" y="412"/>
                  </a:lnTo>
                  <a:lnTo>
                    <a:pt x="699" y="417"/>
                  </a:lnTo>
                  <a:lnTo>
                    <a:pt x="700" y="420"/>
                  </a:lnTo>
                  <a:lnTo>
                    <a:pt x="700" y="421"/>
                  </a:lnTo>
                  <a:lnTo>
                    <a:pt x="697" y="429"/>
                  </a:lnTo>
                  <a:lnTo>
                    <a:pt x="695" y="442"/>
                  </a:lnTo>
                  <a:lnTo>
                    <a:pt x="692" y="447"/>
                  </a:lnTo>
                  <a:lnTo>
                    <a:pt x="688" y="454"/>
                  </a:lnTo>
                  <a:lnTo>
                    <a:pt x="681" y="464"/>
                  </a:lnTo>
                  <a:lnTo>
                    <a:pt x="677" y="467"/>
                  </a:lnTo>
                  <a:lnTo>
                    <a:pt x="674" y="471"/>
                  </a:lnTo>
                  <a:lnTo>
                    <a:pt x="676" y="479"/>
                  </a:lnTo>
                  <a:lnTo>
                    <a:pt x="673" y="480"/>
                  </a:lnTo>
                  <a:lnTo>
                    <a:pt x="667" y="484"/>
                  </a:lnTo>
                  <a:lnTo>
                    <a:pt x="657" y="478"/>
                  </a:lnTo>
                  <a:lnTo>
                    <a:pt x="653" y="477"/>
                  </a:lnTo>
                  <a:lnTo>
                    <a:pt x="647" y="478"/>
                  </a:lnTo>
                  <a:lnTo>
                    <a:pt x="644" y="480"/>
                  </a:lnTo>
                  <a:lnTo>
                    <a:pt x="645" y="484"/>
                  </a:lnTo>
                  <a:lnTo>
                    <a:pt x="648" y="488"/>
                  </a:lnTo>
                  <a:lnTo>
                    <a:pt x="652" y="492"/>
                  </a:lnTo>
                  <a:lnTo>
                    <a:pt x="662" y="495"/>
                  </a:lnTo>
                  <a:lnTo>
                    <a:pt x="668" y="496"/>
                  </a:lnTo>
                  <a:lnTo>
                    <a:pt x="672" y="495"/>
                  </a:lnTo>
                  <a:lnTo>
                    <a:pt x="679" y="497"/>
                  </a:lnTo>
                  <a:lnTo>
                    <a:pt x="685" y="496"/>
                  </a:lnTo>
                  <a:lnTo>
                    <a:pt x="687" y="491"/>
                  </a:lnTo>
                  <a:lnTo>
                    <a:pt x="689" y="486"/>
                  </a:lnTo>
                  <a:lnTo>
                    <a:pt x="697" y="481"/>
                  </a:lnTo>
                  <a:lnTo>
                    <a:pt x="704" y="474"/>
                  </a:lnTo>
                  <a:lnTo>
                    <a:pt x="705" y="469"/>
                  </a:lnTo>
                  <a:lnTo>
                    <a:pt x="707" y="460"/>
                  </a:lnTo>
                  <a:lnTo>
                    <a:pt x="712" y="456"/>
                  </a:lnTo>
                  <a:lnTo>
                    <a:pt x="718" y="446"/>
                  </a:lnTo>
                  <a:lnTo>
                    <a:pt x="718" y="440"/>
                  </a:lnTo>
                  <a:lnTo>
                    <a:pt x="716" y="432"/>
                  </a:lnTo>
                  <a:lnTo>
                    <a:pt x="713" y="423"/>
                  </a:lnTo>
                  <a:lnTo>
                    <a:pt x="715" y="414"/>
                  </a:lnTo>
                  <a:lnTo>
                    <a:pt x="716" y="412"/>
                  </a:lnTo>
                  <a:lnTo>
                    <a:pt x="720" y="410"/>
                  </a:lnTo>
                  <a:lnTo>
                    <a:pt x="728" y="408"/>
                  </a:lnTo>
                  <a:lnTo>
                    <a:pt x="738" y="408"/>
                  </a:lnTo>
                  <a:lnTo>
                    <a:pt x="743" y="411"/>
                  </a:lnTo>
                  <a:lnTo>
                    <a:pt x="748" y="419"/>
                  </a:lnTo>
                  <a:lnTo>
                    <a:pt x="748" y="431"/>
                  </a:lnTo>
                  <a:lnTo>
                    <a:pt x="746" y="447"/>
                  </a:lnTo>
                  <a:lnTo>
                    <a:pt x="748" y="451"/>
                  </a:lnTo>
                  <a:lnTo>
                    <a:pt x="754" y="455"/>
                  </a:lnTo>
                  <a:lnTo>
                    <a:pt x="761" y="455"/>
                  </a:lnTo>
                  <a:lnTo>
                    <a:pt x="766" y="453"/>
                  </a:lnTo>
                  <a:lnTo>
                    <a:pt x="767" y="448"/>
                  </a:lnTo>
                  <a:lnTo>
                    <a:pt x="764" y="446"/>
                  </a:lnTo>
                  <a:lnTo>
                    <a:pt x="759" y="443"/>
                  </a:lnTo>
                  <a:lnTo>
                    <a:pt x="756" y="444"/>
                  </a:lnTo>
                  <a:lnTo>
                    <a:pt x="753" y="442"/>
                  </a:lnTo>
                  <a:lnTo>
                    <a:pt x="754" y="436"/>
                  </a:lnTo>
                  <a:lnTo>
                    <a:pt x="760" y="430"/>
                  </a:lnTo>
                  <a:lnTo>
                    <a:pt x="760" y="426"/>
                  </a:lnTo>
                  <a:lnTo>
                    <a:pt x="759" y="424"/>
                  </a:lnTo>
                  <a:lnTo>
                    <a:pt x="758" y="418"/>
                  </a:lnTo>
                  <a:lnTo>
                    <a:pt x="755" y="406"/>
                  </a:lnTo>
                  <a:lnTo>
                    <a:pt x="752" y="402"/>
                  </a:lnTo>
                  <a:lnTo>
                    <a:pt x="747" y="400"/>
                  </a:lnTo>
                  <a:lnTo>
                    <a:pt x="741" y="396"/>
                  </a:lnTo>
                  <a:lnTo>
                    <a:pt x="736" y="394"/>
                  </a:lnTo>
                  <a:lnTo>
                    <a:pt x="729" y="392"/>
                  </a:lnTo>
                  <a:lnTo>
                    <a:pt x="723" y="395"/>
                  </a:lnTo>
                  <a:lnTo>
                    <a:pt x="719" y="396"/>
                  </a:lnTo>
                  <a:lnTo>
                    <a:pt x="712" y="393"/>
                  </a:lnTo>
                  <a:lnTo>
                    <a:pt x="707" y="394"/>
                  </a:lnTo>
                  <a:lnTo>
                    <a:pt x="707" y="389"/>
                  </a:lnTo>
                  <a:lnTo>
                    <a:pt x="703" y="371"/>
                  </a:lnTo>
                  <a:lnTo>
                    <a:pt x="705" y="360"/>
                  </a:lnTo>
                  <a:lnTo>
                    <a:pt x="709" y="348"/>
                  </a:lnTo>
                  <a:lnTo>
                    <a:pt x="711" y="340"/>
                  </a:lnTo>
                  <a:lnTo>
                    <a:pt x="710" y="336"/>
                  </a:lnTo>
                  <a:lnTo>
                    <a:pt x="704" y="317"/>
                  </a:lnTo>
                  <a:lnTo>
                    <a:pt x="698" y="308"/>
                  </a:lnTo>
                  <a:lnTo>
                    <a:pt x="698" y="304"/>
                  </a:lnTo>
                  <a:lnTo>
                    <a:pt x="703" y="294"/>
                  </a:lnTo>
                  <a:lnTo>
                    <a:pt x="710" y="292"/>
                  </a:lnTo>
                  <a:lnTo>
                    <a:pt x="715" y="287"/>
                  </a:lnTo>
                  <a:lnTo>
                    <a:pt x="720" y="280"/>
                  </a:lnTo>
                  <a:lnTo>
                    <a:pt x="721" y="276"/>
                  </a:lnTo>
                  <a:lnTo>
                    <a:pt x="722" y="264"/>
                  </a:lnTo>
                  <a:lnTo>
                    <a:pt x="721" y="250"/>
                  </a:lnTo>
                  <a:lnTo>
                    <a:pt x="722" y="252"/>
                  </a:lnTo>
                  <a:lnTo>
                    <a:pt x="726" y="253"/>
                  </a:lnTo>
                  <a:lnTo>
                    <a:pt x="729" y="255"/>
                  </a:lnTo>
                  <a:lnTo>
                    <a:pt x="730" y="264"/>
                  </a:lnTo>
                  <a:lnTo>
                    <a:pt x="728" y="274"/>
                  </a:lnTo>
                  <a:lnTo>
                    <a:pt x="725" y="286"/>
                  </a:lnTo>
                  <a:lnTo>
                    <a:pt x="724" y="297"/>
                  </a:lnTo>
                  <a:lnTo>
                    <a:pt x="725" y="305"/>
                  </a:lnTo>
                  <a:lnTo>
                    <a:pt x="727" y="310"/>
                  </a:lnTo>
                  <a:lnTo>
                    <a:pt x="730" y="315"/>
                  </a:lnTo>
                  <a:lnTo>
                    <a:pt x="738" y="317"/>
                  </a:lnTo>
                  <a:lnTo>
                    <a:pt x="747" y="320"/>
                  </a:lnTo>
                  <a:lnTo>
                    <a:pt x="757" y="322"/>
                  </a:lnTo>
                  <a:lnTo>
                    <a:pt x="761" y="329"/>
                  </a:lnTo>
                  <a:lnTo>
                    <a:pt x="763" y="330"/>
                  </a:lnTo>
                  <a:lnTo>
                    <a:pt x="768" y="329"/>
                  </a:lnTo>
                  <a:lnTo>
                    <a:pt x="765" y="313"/>
                  </a:lnTo>
                  <a:lnTo>
                    <a:pt x="762" y="308"/>
                  </a:lnTo>
                  <a:lnTo>
                    <a:pt x="751" y="306"/>
                  </a:lnTo>
                  <a:lnTo>
                    <a:pt x="745" y="304"/>
                  </a:lnTo>
                  <a:lnTo>
                    <a:pt x="742" y="302"/>
                  </a:lnTo>
                  <a:lnTo>
                    <a:pt x="738" y="294"/>
                  </a:lnTo>
                  <a:lnTo>
                    <a:pt x="740" y="287"/>
                  </a:lnTo>
                  <a:lnTo>
                    <a:pt x="748" y="286"/>
                  </a:lnTo>
                  <a:lnTo>
                    <a:pt x="751" y="289"/>
                  </a:lnTo>
                  <a:lnTo>
                    <a:pt x="757" y="291"/>
                  </a:lnTo>
                  <a:lnTo>
                    <a:pt x="762" y="288"/>
                  </a:lnTo>
                  <a:lnTo>
                    <a:pt x="761" y="274"/>
                  </a:lnTo>
                  <a:lnTo>
                    <a:pt x="764" y="273"/>
                  </a:lnTo>
                  <a:lnTo>
                    <a:pt x="769" y="270"/>
                  </a:lnTo>
                  <a:lnTo>
                    <a:pt x="776" y="270"/>
                  </a:lnTo>
                  <a:lnTo>
                    <a:pt x="782" y="274"/>
                  </a:lnTo>
                  <a:lnTo>
                    <a:pt x="791" y="281"/>
                  </a:lnTo>
                  <a:lnTo>
                    <a:pt x="797" y="291"/>
                  </a:lnTo>
                  <a:lnTo>
                    <a:pt x="805" y="298"/>
                  </a:lnTo>
                  <a:lnTo>
                    <a:pt x="808" y="300"/>
                  </a:lnTo>
                  <a:lnTo>
                    <a:pt x="819" y="300"/>
                  </a:lnTo>
                  <a:lnTo>
                    <a:pt x="823" y="297"/>
                  </a:lnTo>
                  <a:lnTo>
                    <a:pt x="824" y="303"/>
                  </a:lnTo>
                  <a:lnTo>
                    <a:pt x="819" y="310"/>
                  </a:lnTo>
                  <a:lnTo>
                    <a:pt x="815" y="315"/>
                  </a:lnTo>
                  <a:lnTo>
                    <a:pt x="814" y="328"/>
                  </a:lnTo>
                  <a:lnTo>
                    <a:pt x="813" y="346"/>
                  </a:lnTo>
                  <a:lnTo>
                    <a:pt x="815" y="348"/>
                  </a:lnTo>
                  <a:lnTo>
                    <a:pt x="819" y="334"/>
                  </a:lnTo>
                  <a:lnTo>
                    <a:pt x="821" y="329"/>
                  </a:lnTo>
                  <a:lnTo>
                    <a:pt x="823" y="330"/>
                  </a:lnTo>
                  <a:lnTo>
                    <a:pt x="826" y="339"/>
                  </a:lnTo>
                  <a:lnTo>
                    <a:pt x="826" y="352"/>
                  </a:lnTo>
                  <a:lnTo>
                    <a:pt x="830" y="349"/>
                  </a:lnTo>
                  <a:lnTo>
                    <a:pt x="834" y="344"/>
                  </a:lnTo>
                  <a:lnTo>
                    <a:pt x="834" y="339"/>
                  </a:lnTo>
                  <a:lnTo>
                    <a:pt x="833" y="337"/>
                  </a:lnTo>
                  <a:lnTo>
                    <a:pt x="832" y="330"/>
                  </a:lnTo>
                  <a:lnTo>
                    <a:pt x="827" y="316"/>
                  </a:lnTo>
                  <a:lnTo>
                    <a:pt x="829" y="312"/>
                  </a:lnTo>
                  <a:lnTo>
                    <a:pt x="833" y="297"/>
                  </a:lnTo>
                  <a:lnTo>
                    <a:pt x="828" y="289"/>
                  </a:lnTo>
                  <a:lnTo>
                    <a:pt x="823" y="284"/>
                  </a:lnTo>
                  <a:lnTo>
                    <a:pt x="818" y="279"/>
                  </a:lnTo>
                  <a:lnTo>
                    <a:pt x="817" y="272"/>
                  </a:lnTo>
                  <a:lnTo>
                    <a:pt x="813" y="271"/>
                  </a:lnTo>
                  <a:lnTo>
                    <a:pt x="807" y="267"/>
                  </a:lnTo>
                  <a:lnTo>
                    <a:pt x="799" y="262"/>
                  </a:lnTo>
                  <a:lnTo>
                    <a:pt x="797" y="257"/>
                  </a:lnTo>
                  <a:lnTo>
                    <a:pt x="797" y="245"/>
                  </a:lnTo>
                  <a:lnTo>
                    <a:pt x="797" y="238"/>
                  </a:lnTo>
                  <a:lnTo>
                    <a:pt x="792" y="224"/>
                  </a:lnTo>
                  <a:lnTo>
                    <a:pt x="793" y="219"/>
                  </a:lnTo>
                  <a:lnTo>
                    <a:pt x="794" y="216"/>
                  </a:lnTo>
                  <a:lnTo>
                    <a:pt x="797" y="213"/>
                  </a:lnTo>
                  <a:lnTo>
                    <a:pt x="811" y="211"/>
                  </a:lnTo>
                  <a:lnTo>
                    <a:pt x="826" y="210"/>
                  </a:lnTo>
                  <a:lnTo>
                    <a:pt x="838" y="208"/>
                  </a:lnTo>
                  <a:lnTo>
                    <a:pt x="847" y="204"/>
                  </a:lnTo>
                  <a:lnTo>
                    <a:pt x="849" y="211"/>
                  </a:lnTo>
                  <a:lnTo>
                    <a:pt x="851" y="212"/>
                  </a:lnTo>
                  <a:lnTo>
                    <a:pt x="856" y="206"/>
                  </a:lnTo>
                  <a:lnTo>
                    <a:pt x="863" y="200"/>
                  </a:lnTo>
                  <a:lnTo>
                    <a:pt x="871" y="198"/>
                  </a:lnTo>
                  <a:lnTo>
                    <a:pt x="874" y="202"/>
                  </a:lnTo>
                  <a:lnTo>
                    <a:pt x="869" y="209"/>
                  </a:lnTo>
                  <a:lnTo>
                    <a:pt x="866" y="218"/>
                  </a:lnTo>
                  <a:lnTo>
                    <a:pt x="877" y="213"/>
                  </a:lnTo>
                  <a:lnTo>
                    <a:pt x="880" y="211"/>
                  </a:lnTo>
                  <a:lnTo>
                    <a:pt x="885" y="203"/>
                  </a:lnTo>
                  <a:lnTo>
                    <a:pt x="887" y="197"/>
                  </a:lnTo>
                  <a:lnTo>
                    <a:pt x="885" y="187"/>
                  </a:lnTo>
                  <a:lnTo>
                    <a:pt x="883" y="183"/>
                  </a:lnTo>
                  <a:lnTo>
                    <a:pt x="877" y="178"/>
                  </a:lnTo>
                  <a:lnTo>
                    <a:pt x="875" y="171"/>
                  </a:lnTo>
                  <a:lnTo>
                    <a:pt x="875" y="166"/>
                  </a:lnTo>
                  <a:lnTo>
                    <a:pt x="877" y="154"/>
                  </a:lnTo>
                  <a:lnTo>
                    <a:pt x="884" y="145"/>
                  </a:lnTo>
                  <a:lnTo>
                    <a:pt x="890" y="140"/>
                  </a:lnTo>
                  <a:lnTo>
                    <a:pt x="907" y="119"/>
                  </a:lnTo>
                  <a:lnTo>
                    <a:pt x="913" y="117"/>
                  </a:lnTo>
                  <a:lnTo>
                    <a:pt x="914" y="116"/>
                  </a:lnTo>
                  <a:lnTo>
                    <a:pt x="917" y="114"/>
                  </a:lnTo>
                  <a:lnTo>
                    <a:pt x="928" y="112"/>
                  </a:lnTo>
                  <a:lnTo>
                    <a:pt x="938" y="109"/>
                  </a:lnTo>
                  <a:lnTo>
                    <a:pt x="952" y="103"/>
                  </a:lnTo>
                  <a:lnTo>
                    <a:pt x="964" y="97"/>
                  </a:lnTo>
                  <a:lnTo>
                    <a:pt x="973" y="87"/>
                  </a:lnTo>
                  <a:lnTo>
                    <a:pt x="978" y="81"/>
                  </a:lnTo>
                  <a:lnTo>
                    <a:pt x="989" y="82"/>
                  </a:lnTo>
                  <a:lnTo>
                    <a:pt x="995" y="82"/>
                  </a:lnTo>
                  <a:lnTo>
                    <a:pt x="997" y="86"/>
                  </a:lnTo>
                  <a:lnTo>
                    <a:pt x="995" y="96"/>
                  </a:lnTo>
                  <a:lnTo>
                    <a:pt x="1004" y="99"/>
                  </a:lnTo>
                  <a:lnTo>
                    <a:pt x="1010" y="98"/>
                  </a:lnTo>
                  <a:lnTo>
                    <a:pt x="1017" y="93"/>
                  </a:lnTo>
                  <a:lnTo>
                    <a:pt x="1025" y="88"/>
                  </a:lnTo>
                  <a:lnTo>
                    <a:pt x="1031" y="87"/>
                  </a:lnTo>
                  <a:lnTo>
                    <a:pt x="1037" y="91"/>
                  </a:lnTo>
                  <a:lnTo>
                    <a:pt x="1040" y="93"/>
                  </a:lnTo>
                  <a:lnTo>
                    <a:pt x="1045" y="88"/>
                  </a:lnTo>
                  <a:lnTo>
                    <a:pt x="1045" y="79"/>
                  </a:lnTo>
                  <a:lnTo>
                    <a:pt x="1045" y="75"/>
                  </a:lnTo>
                  <a:lnTo>
                    <a:pt x="1047" y="67"/>
                  </a:lnTo>
                  <a:lnTo>
                    <a:pt x="1053" y="65"/>
                  </a:lnTo>
                  <a:lnTo>
                    <a:pt x="1058" y="66"/>
                  </a:lnTo>
                  <a:lnTo>
                    <a:pt x="1066" y="56"/>
                  </a:lnTo>
                  <a:lnTo>
                    <a:pt x="1062" y="43"/>
                  </a:lnTo>
                  <a:lnTo>
                    <a:pt x="1063" y="34"/>
                  </a:lnTo>
                  <a:lnTo>
                    <a:pt x="1070" y="23"/>
                  </a:lnTo>
                  <a:lnTo>
                    <a:pt x="1079" y="13"/>
                  </a:lnTo>
                  <a:lnTo>
                    <a:pt x="1092" y="1"/>
                  </a:lnTo>
                  <a:lnTo>
                    <a:pt x="1099" y="0"/>
                  </a:lnTo>
                  <a:lnTo>
                    <a:pt x="1105" y="1"/>
                  </a:lnTo>
                  <a:lnTo>
                    <a:pt x="1114" y="1"/>
                  </a:lnTo>
                  <a:lnTo>
                    <a:pt x="1119" y="8"/>
                  </a:lnTo>
                  <a:lnTo>
                    <a:pt x="1119" y="15"/>
                  </a:lnTo>
                  <a:lnTo>
                    <a:pt x="1110" y="26"/>
                  </a:lnTo>
                  <a:lnTo>
                    <a:pt x="1106" y="35"/>
                  </a:lnTo>
                  <a:lnTo>
                    <a:pt x="1109" y="39"/>
                  </a:lnTo>
                  <a:lnTo>
                    <a:pt x="1120" y="36"/>
                  </a:lnTo>
                  <a:lnTo>
                    <a:pt x="1129" y="40"/>
                  </a:lnTo>
                  <a:lnTo>
                    <a:pt x="1141" y="38"/>
                  </a:lnTo>
                  <a:lnTo>
                    <a:pt x="1142" y="41"/>
                  </a:lnTo>
                  <a:lnTo>
                    <a:pt x="1140" y="48"/>
                  </a:lnTo>
                  <a:lnTo>
                    <a:pt x="1133" y="60"/>
                  </a:lnTo>
                  <a:lnTo>
                    <a:pt x="1131" y="67"/>
                  </a:lnTo>
                  <a:lnTo>
                    <a:pt x="1143" y="67"/>
                  </a:lnTo>
                  <a:lnTo>
                    <a:pt x="1148" y="66"/>
                  </a:lnTo>
                  <a:lnTo>
                    <a:pt x="1149" y="69"/>
                  </a:lnTo>
                  <a:lnTo>
                    <a:pt x="1155" y="55"/>
                  </a:lnTo>
                  <a:lnTo>
                    <a:pt x="1163" y="55"/>
                  </a:lnTo>
                  <a:lnTo>
                    <a:pt x="1174" y="52"/>
                  </a:lnTo>
                  <a:lnTo>
                    <a:pt x="1177" y="56"/>
                  </a:lnTo>
                  <a:lnTo>
                    <a:pt x="1185" y="55"/>
                  </a:lnTo>
                  <a:lnTo>
                    <a:pt x="1197" y="60"/>
                  </a:lnTo>
                  <a:lnTo>
                    <a:pt x="1205" y="66"/>
                  </a:lnTo>
                  <a:lnTo>
                    <a:pt x="1212" y="77"/>
                  </a:lnTo>
                  <a:lnTo>
                    <a:pt x="1215" y="88"/>
                  </a:lnTo>
                  <a:lnTo>
                    <a:pt x="1219" y="88"/>
                  </a:lnTo>
                  <a:lnTo>
                    <a:pt x="1224" y="86"/>
                  </a:lnTo>
                  <a:lnTo>
                    <a:pt x="1227" y="98"/>
                  </a:lnTo>
                  <a:lnTo>
                    <a:pt x="1219" y="118"/>
                  </a:lnTo>
                  <a:lnTo>
                    <a:pt x="1220" y="121"/>
                  </a:lnTo>
                  <a:lnTo>
                    <a:pt x="1226" y="129"/>
                  </a:lnTo>
                  <a:lnTo>
                    <a:pt x="1212" y="149"/>
                  </a:lnTo>
                  <a:lnTo>
                    <a:pt x="1206" y="154"/>
                  </a:lnTo>
                  <a:lnTo>
                    <a:pt x="1199" y="157"/>
                  </a:lnTo>
                  <a:lnTo>
                    <a:pt x="1179" y="180"/>
                  </a:lnTo>
                  <a:lnTo>
                    <a:pt x="1161" y="201"/>
                  </a:lnTo>
                  <a:lnTo>
                    <a:pt x="1156" y="207"/>
                  </a:lnTo>
                  <a:lnTo>
                    <a:pt x="1142" y="214"/>
                  </a:lnTo>
                  <a:lnTo>
                    <a:pt x="1129" y="226"/>
                  </a:lnTo>
                  <a:lnTo>
                    <a:pt x="1117" y="249"/>
                  </a:lnTo>
                  <a:lnTo>
                    <a:pt x="1121" y="249"/>
                  </a:lnTo>
                  <a:lnTo>
                    <a:pt x="1127" y="244"/>
                  </a:lnTo>
                  <a:lnTo>
                    <a:pt x="1132" y="235"/>
                  </a:lnTo>
                  <a:lnTo>
                    <a:pt x="1142" y="232"/>
                  </a:lnTo>
                  <a:lnTo>
                    <a:pt x="1150" y="232"/>
                  </a:lnTo>
                  <a:lnTo>
                    <a:pt x="1162" y="226"/>
                  </a:lnTo>
                  <a:lnTo>
                    <a:pt x="1173" y="220"/>
                  </a:lnTo>
                  <a:lnTo>
                    <a:pt x="1178" y="218"/>
                  </a:lnTo>
                  <a:lnTo>
                    <a:pt x="1184" y="212"/>
                  </a:lnTo>
                  <a:lnTo>
                    <a:pt x="1183" y="204"/>
                  </a:lnTo>
                  <a:lnTo>
                    <a:pt x="1181" y="202"/>
                  </a:lnTo>
                  <a:lnTo>
                    <a:pt x="1180" y="200"/>
                  </a:lnTo>
                  <a:lnTo>
                    <a:pt x="1182" y="195"/>
                  </a:lnTo>
                  <a:lnTo>
                    <a:pt x="1185" y="190"/>
                  </a:lnTo>
                  <a:lnTo>
                    <a:pt x="1190" y="195"/>
                  </a:lnTo>
                  <a:lnTo>
                    <a:pt x="1194" y="203"/>
                  </a:lnTo>
                  <a:lnTo>
                    <a:pt x="1198" y="204"/>
                  </a:lnTo>
                  <a:lnTo>
                    <a:pt x="1201" y="208"/>
                  </a:lnTo>
                  <a:lnTo>
                    <a:pt x="1205" y="209"/>
                  </a:lnTo>
                  <a:lnTo>
                    <a:pt x="1211" y="208"/>
                  </a:lnTo>
                  <a:lnTo>
                    <a:pt x="1217" y="202"/>
                  </a:lnTo>
                  <a:lnTo>
                    <a:pt x="1220" y="204"/>
                  </a:lnTo>
                  <a:lnTo>
                    <a:pt x="1222" y="210"/>
                  </a:lnTo>
                  <a:lnTo>
                    <a:pt x="1222" y="221"/>
                  </a:lnTo>
                  <a:lnTo>
                    <a:pt x="1225" y="229"/>
                  </a:lnTo>
                  <a:lnTo>
                    <a:pt x="1233" y="213"/>
                  </a:lnTo>
                  <a:lnTo>
                    <a:pt x="1243" y="213"/>
                  </a:lnTo>
                  <a:lnTo>
                    <a:pt x="1252" y="210"/>
                  </a:lnTo>
                  <a:lnTo>
                    <a:pt x="1265" y="210"/>
                  </a:lnTo>
                  <a:lnTo>
                    <a:pt x="1277" y="213"/>
                  </a:lnTo>
                  <a:lnTo>
                    <a:pt x="1282" y="214"/>
                  </a:lnTo>
                  <a:lnTo>
                    <a:pt x="1289" y="214"/>
                  </a:lnTo>
                  <a:lnTo>
                    <a:pt x="1287" y="230"/>
                  </a:lnTo>
                  <a:lnTo>
                    <a:pt x="1289" y="237"/>
                  </a:lnTo>
                  <a:lnTo>
                    <a:pt x="1301" y="240"/>
                  </a:lnTo>
                  <a:lnTo>
                    <a:pt x="1306" y="242"/>
                  </a:lnTo>
                  <a:lnTo>
                    <a:pt x="1310" y="243"/>
                  </a:lnTo>
                  <a:lnTo>
                    <a:pt x="1316" y="246"/>
                  </a:lnTo>
                  <a:lnTo>
                    <a:pt x="1331" y="243"/>
                  </a:lnTo>
                  <a:lnTo>
                    <a:pt x="1338" y="242"/>
                  </a:lnTo>
                  <a:lnTo>
                    <a:pt x="1346" y="249"/>
                  </a:lnTo>
                  <a:lnTo>
                    <a:pt x="1355" y="231"/>
                  </a:lnTo>
                  <a:lnTo>
                    <a:pt x="1354" y="223"/>
                  </a:lnTo>
                  <a:lnTo>
                    <a:pt x="1354" y="219"/>
                  </a:lnTo>
                  <a:lnTo>
                    <a:pt x="1354" y="216"/>
                  </a:lnTo>
                  <a:lnTo>
                    <a:pt x="1364" y="206"/>
                  </a:lnTo>
                  <a:lnTo>
                    <a:pt x="1367" y="206"/>
                  </a:lnTo>
                  <a:lnTo>
                    <a:pt x="1372" y="208"/>
                  </a:lnTo>
                  <a:lnTo>
                    <a:pt x="1379" y="214"/>
                  </a:lnTo>
                  <a:lnTo>
                    <a:pt x="1384" y="220"/>
                  </a:lnTo>
                  <a:lnTo>
                    <a:pt x="1394" y="221"/>
                  </a:lnTo>
                  <a:lnTo>
                    <a:pt x="1402" y="219"/>
                  </a:lnTo>
                  <a:lnTo>
                    <a:pt x="1410" y="220"/>
                  </a:lnTo>
                  <a:lnTo>
                    <a:pt x="1417" y="229"/>
                  </a:lnTo>
                  <a:lnTo>
                    <a:pt x="1420" y="232"/>
                  </a:lnTo>
                  <a:lnTo>
                    <a:pt x="1420" y="240"/>
                  </a:lnTo>
                  <a:lnTo>
                    <a:pt x="1417" y="242"/>
                  </a:lnTo>
                  <a:lnTo>
                    <a:pt x="1415" y="243"/>
                  </a:lnTo>
                  <a:lnTo>
                    <a:pt x="1405" y="251"/>
                  </a:lnTo>
                  <a:lnTo>
                    <a:pt x="1390" y="265"/>
                  </a:lnTo>
                  <a:lnTo>
                    <a:pt x="1389" y="270"/>
                  </a:lnTo>
                  <a:lnTo>
                    <a:pt x="1390" y="271"/>
                  </a:lnTo>
                  <a:lnTo>
                    <a:pt x="1396" y="272"/>
                  </a:lnTo>
                  <a:lnTo>
                    <a:pt x="1402" y="273"/>
                  </a:lnTo>
                  <a:lnTo>
                    <a:pt x="1406" y="276"/>
                  </a:lnTo>
                  <a:lnTo>
                    <a:pt x="1410" y="281"/>
                  </a:lnTo>
                  <a:lnTo>
                    <a:pt x="1415" y="289"/>
                  </a:lnTo>
                  <a:lnTo>
                    <a:pt x="1419" y="292"/>
                  </a:lnTo>
                  <a:lnTo>
                    <a:pt x="1424" y="301"/>
                  </a:lnTo>
                  <a:lnTo>
                    <a:pt x="1431" y="316"/>
                  </a:lnTo>
                  <a:lnTo>
                    <a:pt x="1442" y="330"/>
                  </a:lnTo>
                  <a:lnTo>
                    <a:pt x="1450" y="336"/>
                  </a:lnTo>
                  <a:lnTo>
                    <a:pt x="1453" y="335"/>
                  </a:lnTo>
                  <a:lnTo>
                    <a:pt x="1458" y="328"/>
                  </a:lnTo>
                  <a:lnTo>
                    <a:pt x="1463" y="315"/>
                  </a:lnTo>
                  <a:lnTo>
                    <a:pt x="1469" y="296"/>
                  </a:lnTo>
                  <a:lnTo>
                    <a:pt x="1473" y="290"/>
                  </a:lnTo>
                  <a:lnTo>
                    <a:pt x="1475" y="290"/>
                  </a:lnTo>
                  <a:lnTo>
                    <a:pt x="1476" y="299"/>
                  </a:lnTo>
                  <a:lnTo>
                    <a:pt x="1481" y="304"/>
                  </a:lnTo>
                  <a:lnTo>
                    <a:pt x="1489" y="310"/>
                  </a:lnTo>
                  <a:lnTo>
                    <a:pt x="1495" y="312"/>
                  </a:lnTo>
                  <a:lnTo>
                    <a:pt x="1500" y="311"/>
                  </a:lnTo>
                  <a:lnTo>
                    <a:pt x="1511" y="302"/>
                  </a:lnTo>
                  <a:lnTo>
                    <a:pt x="1516" y="301"/>
                  </a:lnTo>
                  <a:lnTo>
                    <a:pt x="1521" y="302"/>
                  </a:lnTo>
                  <a:lnTo>
                    <a:pt x="1528" y="306"/>
                  </a:lnTo>
                  <a:lnTo>
                    <a:pt x="1539" y="320"/>
                  </a:lnTo>
                  <a:lnTo>
                    <a:pt x="1541" y="319"/>
                  </a:lnTo>
                  <a:lnTo>
                    <a:pt x="1542" y="318"/>
                  </a:lnTo>
                  <a:lnTo>
                    <a:pt x="1545" y="313"/>
                  </a:lnTo>
                  <a:lnTo>
                    <a:pt x="1546" y="308"/>
                  </a:lnTo>
                  <a:lnTo>
                    <a:pt x="1546" y="307"/>
                  </a:lnTo>
                  <a:lnTo>
                    <a:pt x="1546" y="304"/>
                  </a:lnTo>
                  <a:lnTo>
                    <a:pt x="1550" y="298"/>
                  </a:lnTo>
                  <a:lnTo>
                    <a:pt x="1553" y="298"/>
                  </a:lnTo>
                  <a:lnTo>
                    <a:pt x="1556" y="303"/>
                  </a:lnTo>
                  <a:lnTo>
                    <a:pt x="1559" y="306"/>
                  </a:lnTo>
                  <a:lnTo>
                    <a:pt x="1567" y="306"/>
                  </a:lnTo>
                  <a:lnTo>
                    <a:pt x="1568" y="297"/>
                  </a:lnTo>
                  <a:lnTo>
                    <a:pt x="1567" y="288"/>
                  </a:lnTo>
                  <a:lnTo>
                    <a:pt x="1568" y="282"/>
                  </a:lnTo>
                  <a:lnTo>
                    <a:pt x="1568" y="271"/>
                  </a:lnTo>
                  <a:lnTo>
                    <a:pt x="1562" y="275"/>
                  </a:lnTo>
                  <a:lnTo>
                    <a:pt x="1558" y="275"/>
                  </a:lnTo>
                  <a:lnTo>
                    <a:pt x="1557" y="273"/>
                  </a:lnTo>
                  <a:lnTo>
                    <a:pt x="1559" y="267"/>
                  </a:lnTo>
                  <a:lnTo>
                    <a:pt x="1561" y="265"/>
                  </a:lnTo>
                  <a:lnTo>
                    <a:pt x="1567" y="264"/>
                  </a:lnTo>
                  <a:lnTo>
                    <a:pt x="1573" y="263"/>
                  </a:lnTo>
                  <a:lnTo>
                    <a:pt x="1578" y="261"/>
                  </a:lnTo>
                  <a:lnTo>
                    <a:pt x="1587" y="247"/>
                  </a:lnTo>
                  <a:lnTo>
                    <a:pt x="1589" y="247"/>
                  </a:lnTo>
                  <a:lnTo>
                    <a:pt x="1599" y="252"/>
                  </a:lnTo>
                  <a:lnTo>
                    <a:pt x="1608" y="255"/>
                  </a:lnTo>
                  <a:lnTo>
                    <a:pt x="1620" y="259"/>
                  </a:lnTo>
                  <a:lnTo>
                    <a:pt x="1626" y="260"/>
                  </a:lnTo>
                  <a:lnTo>
                    <a:pt x="1630" y="262"/>
                  </a:lnTo>
                  <a:lnTo>
                    <a:pt x="1643" y="264"/>
                  </a:lnTo>
                  <a:lnTo>
                    <a:pt x="1633" y="276"/>
                  </a:lnTo>
                  <a:lnTo>
                    <a:pt x="1638" y="277"/>
                  </a:lnTo>
                  <a:lnTo>
                    <a:pt x="1644" y="275"/>
                  </a:lnTo>
                  <a:lnTo>
                    <a:pt x="1646" y="277"/>
                  </a:lnTo>
                  <a:lnTo>
                    <a:pt x="1644" y="285"/>
                  </a:lnTo>
                  <a:lnTo>
                    <a:pt x="1639" y="288"/>
                  </a:lnTo>
                  <a:lnTo>
                    <a:pt x="1634" y="293"/>
                  </a:lnTo>
                  <a:lnTo>
                    <a:pt x="1633" y="299"/>
                  </a:lnTo>
                  <a:lnTo>
                    <a:pt x="1637" y="299"/>
                  </a:lnTo>
                  <a:lnTo>
                    <a:pt x="1640" y="297"/>
                  </a:lnTo>
                  <a:lnTo>
                    <a:pt x="1645" y="294"/>
                  </a:lnTo>
                  <a:lnTo>
                    <a:pt x="1651" y="288"/>
                  </a:lnTo>
                  <a:lnTo>
                    <a:pt x="1661" y="273"/>
                  </a:lnTo>
                  <a:lnTo>
                    <a:pt x="1677" y="273"/>
                  </a:lnTo>
                  <a:lnTo>
                    <a:pt x="1684" y="274"/>
                  </a:lnTo>
                  <a:lnTo>
                    <a:pt x="1689" y="278"/>
                  </a:lnTo>
                  <a:lnTo>
                    <a:pt x="1695" y="280"/>
                  </a:lnTo>
                  <a:lnTo>
                    <a:pt x="1696" y="284"/>
                  </a:lnTo>
                  <a:lnTo>
                    <a:pt x="1697" y="286"/>
                  </a:lnTo>
                  <a:lnTo>
                    <a:pt x="1684" y="297"/>
                  </a:lnTo>
                  <a:lnTo>
                    <a:pt x="1687" y="300"/>
                  </a:lnTo>
                  <a:lnTo>
                    <a:pt x="1697" y="305"/>
                  </a:lnTo>
                  <a:lnTo>
                    <a:pt x="1710" y="309"/>
                  </a:lnTo>
                  <a:lnTo>
                    <a:pt x="1715" y="313"/>
                  </a:lnTo>
                  <a:lnTo>
                    <a:pt x="1720" y="319"/>
                  </a:lnTo>
                  <a:lnTo>
                    <a:pt x="1722" y="327"/>
                  </a:lnTo>
                  <a:lnTo>
                    <a:pt x="1726" y="334"/>
                  </a:lnTo>
                  <a:lnTo>
                    <a:pt x="1729" y="336"/>
                  </a:lnTo>
                  <a:lnTo>
                    <a:pt x="1737" y="336"/>
                  </a:lnTo>
                  <a:lnTo>
                    <a:pt x="1745" y="334"/>
                  </a:lnTo>
                  <a:lnTo>
                    <a:pt x="1752" y="331"/>
                  </a:lnTo>
                  <a:lnTo>
                    <a:pt x="1767" y="325"/>
                  </a:lnTo>
                  <a:lnTo>
                    <a:pt x="1780" y="324"/>
                  </a:lnTo>
                  <a:lnTo>
                    <a:pt x="1798" y="326"/>
                  </a:lnTo>
                  <a:lnTo>
                    <a:pt x="1806" y="328"/>
                  </a:lnTo>
                  <a:lnTo>
                    <a:pt x="1811" y="330"/>
                  </a:lnTo>
                  <a:lnTo>
                    <a:pt x="1817" y="338"/>
                  </a:lnTo>
                  <a:lnTo>
                    <a:pt x="1822" y="341"/>
                  </a:lnTo>
                  <a:lnTo>
                    <a:pt x="1825" y="347"/>
                  </a:lnTo>
                  <a:lnTo>
                    <a:pt x="1826" y="354"/>
                  </a:lnTo>
                  <a:lnTo>
                    <a:pt x="1826" y="362"/>
                  </a:lnTo>
                  <a:lnTo>
                    <a:pt x="1824" y="371"/>
                  </a:lnTo>
                  <a:lnTo>
                    <a:pt x="1827" y="375"/>
                  </a:lnTo>
                  <a:lnTo>
                    <a:pt x="1832" y="376"/>
                  </a:lnTo>
                  <a:lnTo>
                    <a:pt x="1837" y="376"/>
                  </a:lnTo>
                  <a:lnTo>
                    <a:pt x="1840" y="378"/>
                  </a:lnTo>
                  <a:lnTo>
                    <a:pt x="1840" y="390"/>
                  </a:lnTo>
                  <a:lnTo>
                    <a:pt x="1843" y="396"/>
                  </a:lnTo>
                  <a:lnTo>
                    <a:pt x="1847" y="394"/>
                  </a:lnTo>
                  <a:lnTo>
                    <a:pt x="1850" y="386"/>
                  </a:lnTo>
                  <a:lnTo>
                    <a:pt x="1857" y="380"/>
                  </a:lnTo>
                  <a:lnTo>
                    <a:pt x="1859" y="379"/>
                  </a:lnTo>
                  <a:lnTo>
                    <a:pt x="1861" y="379"/>
                  </a:lnTo>
                  <a:lnTo>
                    <a:pt x="1871" y="379"/>
                  </a:lnTo>
                  <a:lnTo>
                    <a:pt x="1880" y="375"/>
                  </a:lnTo>
                  <a:lnTo>
                    <a:pt x="1885" y="375"/>
                  </a:lnTo>
                  <a:lnTo>
                    <a:pt x="1888" y="382"/>
                  </a:lnTo>
                  <a:lnTo>
                    <a:pt x="1892" y="384"/>
                  </a:lnTo>
                  <a:lnTo>
                    <a:pt x="1901" y="384"/>
                  </a:lnTo>
                  <a:lnTo>
                    <a:pt x="1914" y="385"/>
                  </a:lnTo>
                  <a:lnTo>
                    <a:pt x="1919" y="384"/>
                  </a:lnTo>
                  <a:lnTo>
                    <a:pt x="1927" y="375"/>
                  </a:lnTo>
                  <a:lnTo>
                    <a:pt x="1930" y="378"/>
                  </a:lnTo>
                  <a:lnTo>
                    <a:pt x="1935" y="387"/>
                  </a:lnTo>
                  <a:lnTo>
                    <a:pt x="1937" y="391"/>
                  </a:lnTo>
                  <a:lnTo>
                    <a:pt x="1944" y="395"/>
                  </a:lnTo>
                  <a:lnTo>
                    <a:pt x="1949" y="401"/>
                  </a:lnTo>
                  <a:lnTo>
                    <a:pt x="1951" y="407"/>
                  </a:lnTo>
                  <a:lnTo>
                    <a:pt x="1954" y="410"/>
                  </a:lnTo>
                  <a:lnTo>
                    <a:pt x="1963" y="408"/>
                  </a:lnTo>
                  <a:lnTo>
                    <a:pt x="1973" y="402"/>
                  </a:lnTo>
                  <a:lnTo>
                    <a:pt x="1974" y="398"/>
                  </a:lnTo>
                  <a:lnTo>
                    <a:pt x="1973" y="393"/>
                  </a:lnTo>
                  <a:lnTo>
                    <a:pt x="1968" y="379"/>
                  </a:lnTo>
                  <a:lnTo>
                    <a:pt x="1963" y="377"/>
                  </a:lnTo>
                  <a:lnTo>
                    <a:pt x="1965" y="371"/>
                  </a:lnTo>
                  <a:lnTo>
                    <a:pt x="1968" y="361"/>
                  </a:lnTo>
                  <a:lnTo>
                    <a:pt x="1979" y="363"/>
                  </a:lnTo>
                  <a:lnTo>
                    <a:pt x="1986" y="364"/>
                  </a:lnTo>
                  <a:lnTo>
                    <a:pt x="1993" y="366"/>
                  </a:lnTo>
                  <a:lnTo>
                    <a:pt x="2000" y="368"/>
                  </a:lnTo>
                  <a:lnTo>
                    <a:pt x="2002" y="374"/>
                  </a:lnTo>
                  <a:lnTo>
                    <a:pt x="2010" y="371"/>
                  </a:lnTo>
                  <a:lnTo>
                    <a:pt x="2022" y="370"/>
                  </a:lnTo>
                  <a:lnTo>
                    <a:pt x="2035" y="370"/>
                  </a:lnTo>
                  <a:lnTo>
                    <a:pt x="2043" y="373"/>
                  </a:lnTo>
                  <a:lnTo>
                    <a:pt x="2048" y="376"/>
                  </a:lnTo>
                  <a:lnTo>
                    <a:pt x="2055" y="380"/>
                  </a:lnTo>
                  <a:lnTo>
                    <a:pt x="2063" y="381"/>
                  </a:lnTo>
                  <a:lnTo>
                    <a:pt x="2067" y="384"/>
                  </a:lnTo>
                  <a:lnTo>
                    <a:pt x="2075" y="390"/>
                  </a:lnTo>
                  <a:lnTo>
                    <a:pt x="2079" y="391"/>
                  </a:lnTo>
                  <a:lnTo>
                    <a:pt x="2083" y="394"/>
                  </a:lnTo>
                  <a:lnTo>
                    <a:pt x="2090" y="402"/>
                  </a:lnTo>
                  <a:lnTo>
                    <a:pt x="2090" y="436"/>
                  </a:lnTo>
                  <a:lnTo>
                    <a:pt x="2090" y="471"/>
                  </a:lnTo>
                  <a:lnTo>
                    <a:pt x="2090" y="503"/>
                  </a:lnTo>
                  <a:lnTo>
                    <a:pt x="2090" y="522"/>
                  </a:lnTo>
                  <a:lnTo>
                    <a:pt x="2090" y="524"/>
                  </a:lnTo>
                  <a:lnTo>
                    <a:pt x="2090" y="532"/>
                  </a:lnTo>
                  <a:lnTo>
                    <a:pt x="2090" y="535"/>
                  </a:lnTo>
                  <a:lnTo>
                    <a:pt x="2084" y="540"/>
                  </a:lnTo>
                  <a:lnTo>
                    <a:pt x="2080" y="541"/>
                  </a:lnTo>
                  <a:lnTo>
                    <a:pt x="2076" y="546"/>
                  </a:lnTo>
                  <a:lnTo>
                    <a:pt x="2073" y="547"/>
                  </a:lnTo>
                  <a:lnTo>
                    <a:pt x="2067" y="547"/>
                  </a:lnTo>
                  <a:lnTo>
                    <a:pt x="2065" y="546"/>
                  </a:lnTo>
                  <a:lnTo>
                    <a:pt x="2059" y="546"/>
                  </a:lnTo>
                  <a:lnTo>
                    <a:pt x="2059" y="541"/>
                  </a:lnTo>
                  <a:lnTo>
                    <a:pt x="2057" y="538"/>
                  </a:lnTo>
                  <a:lnTo>
                    <a:pt x="2054" y="538"/>
                  </a:lnTo>
                  <a:lnTo>
                    <a:pt x="2055" y="536"/>
                  </a:lnTo>
                  <a:lnTo>
                    <a:pt x="2050" y="540"/>
                  </a:lnTo>
                  <a:lnTo>
                    <a:pt x="2045" y="541"/>
                  </a:lnTo>
                  <a:lnTo>
                    <a:pt x="2043" y="538"/>
                  </a:lnTo>
                  <a:lnTo>
                    <a:pt x="2040" y="537"/>
                  </a:lnTo>
                  <a:lnTo>
                    <a:pt x="2042" y="543"/>
                  </a:lnTo>
                  <a:lnTo>
                    <a:pt x="2039" y="547"/>
                  </a:lnTo>
                  <a:lnTo>
                    <a:pt x="2041" y="549"/>
                  </a:lnTo>
                  <a:lnTo>
                    <a:pt x="2047" y="552"/>
                  </a:lnTo>
                  <a:lnTo>
                    <a:pt x="2050" y="547"/>
                  </a:lnTo>
                  <a:lnTo>
                    <a:pt x="2053" y="547"/>
                  </a:lnTo>
                  <a:lnTo>
                    <a:pt x="2055" y="548"/>
                  </a:lnTo>
                  <a:lnTo>
                    <a:pt x="2055" y="555"/>
                  </a:lnTo>
                  <a:lnTo>
                    <a:pt x="2056" y="558"/>
                  </a:lnTo>
                  <a:lnTo>
                    <a:pt x="2060" y="561"/>
                  </a:lnTo>
                  <a:lnTo>
                    <a:pt x="2067" y="558"/>
                  </a:lnTo>
                  <a:lnTo>
                    <a:pt x="2064" y="562"/>
                  </a:lnTo>
                  <a:lnTo>
                    <a:pt x="2069" y="559"/>
                  </a:lnTo>
                  <a:lnTo>
                    <a:pt x="2069" y="564"/>
                  </a:lnTo>
                  <a:lnTo>
                    <a:pt x="2071" y="567"/>
                  </a:lnTo>
                  <a:lnTo>
                    <a:pt x="2072" y="571"/>
                  </a:lnTo>
                  <a:lnTo>
                    <a:pt x="2072" y="574"/>
                  </a:lnTo>
                  <a:lnTo>
                    <a:pt x="2068" y="581"/>
                  </a:lnTo>
                  <a:lnTo>
                    <a:pt x="2071" y="580"/>
                  </a:lnTo>
                  <a:lnTo>
                    <a:pt x="2073" y="582"/>
                  </a:lnTo>
                  <a:lnTo>
                    <a:pt x="2076" y="589"/>
                  </a:lnTo>
                  <a:lnTo>
                    <a:pt x="2079" y="591"/>
                  </a:lnTo>
                  <a:lnTo>
                    <a:pt x="2080" y="594"/>
                  </a:lnTo>
                  <a:lnTo>
                    <a:pt x="2079" y="600"/>
                  </a:lnTo>
                  <a:lnTo>
                    <a:pt x="2084" y="598"/>
                  </a:lnTo>
                  <a:lnTo>
                    <a:pt x="2083" y="604"/>
                  </a:lnTo>
                  <a:lnTo>
                    <a:pt x="2083" y="607"/>
                  </a:lnTo>
                  <a:lnTo>
                    <a:pt x="2080" y="610"/>
                  </a:lnTo>
                  <a:lnTo>
                    <a:pt x="2076" y="613"/>
                  </a:lnTo>
                  <a:lnTo>
                    <a:pt x="2072" y="613"/>
                  </a:lnTo>
                  <a:lnTo>
                    <a:pt x="2070" y="611"/>
                  </a:lnTo>
                  <a:lnTo>
                    <a:pt x="2063" y="609"/>
                  </a:lnTo>
                  <a:lnTo>
                    <a:pt x="2057" y="608"/>
                  </a:lnTo>
                  <a:lnTo>
                    <a:pt x="2055" y="606"/>
                  </a:lnTo>
                  <a:lnTo>
                    <a:pt x="2056" y="603"/>
                  </a:lnTo>
                  <a:lnTo>
                    <a:pt x="2053" y="602"/>
                  </a:lnTo>
                  <a:lnTo>
                    <a:pt x="2051" y="603"/>
                  </a:lnTo>
                  <a:lnTo>
                    <a:pt x="2048" y="610"/>
                  </a:lnTo>
                  <a:lnTo>
                    <a:pt x="2048" y="611"/>
                  </a:lnTo>
                  <a:lnTo>
                    <a:pt x="2030" y="622"/>
                  </a:lnTo>
                  <a:lnTo>
                    <a:pt x="2023" y="625"/>
                  </a:lnTo>
                  <a:lnTo>
                    <a:pt x="2021" y="625"/>
                  </a:lnTo>
                  <a:lnTo>
                    <a:pt x="2019" y="627"/>
                  </a:lnTo>
                  <a:lnTo>
                    <a:pt x="2018" y="630"/>
                  </a:lnTo>
                  <a:lnTo>
                    <a:pt x="2014" y="632"/>
                  </a:lnTo>
                  <a:lnTo>
                    <a:pt x="2008" y="633"/>
                  </a:lnTo>
                  <a:lnTo>
                    <a:pt x="2006" y="634"/>
                  </a:lnTo>
                  <a:lnTo>
                    <a:pt x="2003" y="639"/>
                  </a:lnTo>
                  <a:lnTo>
                    <a:pt x="2000" y="642"/>
                  </a:lnTo>
                  <a:lnTo>
                    <a:pt x="1995" y="642"/>
                  </a:lnTo>
                  <a:lnTo>
                    <a:pt x="1990" y="649"/>
                  </a:lnTo>
                  <a:lnTo>
                    <a:pt x="1988" y="653"/>
                  </a:lnTo>
                  <a:lnTo>
                    <a:pt x="1978" y="658"/>
                  </a:lnTo>
                  <a:lnTo>
                    <a:pt x="1976" y="664"/>
                  </a:lnTo>
                  <a:lnTo>
                    <a:pt x="1969" y="667"/>
                  </a:lnTo>
                  <a:lnTo>
                    <a:pt x="1967" y="668"/>
                  </a:lnTo>
                  <a:lnTo>
                    <a:pt x="1966" y="672"/>
                  </a:lnTo>
                  <a:lnTo>
                    <a:pt x="1966" y="675"/>
                  </a:lnTo>
                  <a:lnTo>
                    <a:pt x="1963" y="679"/>
                  </a:lnTo>
                  <a:lnTo>
                    <a:pt x="1961" y="679"/>
                  </a:lnTo>
                  <a:lnTo>
                    <a:pt x="1957" y="675"/>
                  </a:lnTo>
                  <a:lnTo>
                    <a:pt x="1956" y="672"/>
                  </a:lnTo>
                  <a:lnTo>
                    <a:pt x="1955" y="668"/>
                  </a:lnTo>
                  <a:lnTo>
                    <a:pt x="1951" y="664"/>
                  </a:lnTo>
                  <a:lnTo>
                    <a:pt x="1945" y="664"/>
                  </a:lnTo>
                  <a:lnTo>
                    <a:pt x="1939" y="664"/>
                  </a:lnTo>
                  <a:lnTo>
                    <a:pt x="1932" y="666"/>
                  </a:lnTo>
                  <a:lnTo>
                    <a:pt x="1924" y="669"/>
                  </a:lnTo>
                  <a:lnTo>
                    <a:pt x="1921" y="671"/>
                  </a:lnTo>
                  <a:lnTo>
                    <a:pt x="1913" y="680"/>
                  </a:lnTo>
                  <a:lnTo>
                    <a:pt x="1910" y="683"/>
                  </a:lnTo>
                  <a:lnTo>
                    <a:pt x="1909" y="682"/>
                  </a:lnTo>
                  <a:lnTo>
                    <a:pt x="1913" y="666"/>
                  </a:lnTo>
                  <a:lnTo>
                    <a:pt x="1909" y="667"/>
                  </a:lnTo>
                  <a:lnTo>
                    <a:pt x="1907" y="666"/>
                  </a:lnTo>
                  <a:lnTo>
                    <a:pt x="1902" y="673"/>
                  </a:lnTo>
                  <a:lnTo>
                    <a:pt x="1898" y="675"/>
                  </a:lnTo>
                  <a:lnTo>
                    <a:pt x="1896" y="676"/>
                  </a:lnTo>
                  <a:lnTo>
                    <a:pt x="1895" y="682"/>
                  </a:lnTo>
                  <a:lnTo>
                    <a:pt x="1891" y="684"/>
                  </a:lnTo>
                  <a:lnTo>
                    <a:pt x="1889" y="682"/>
                  </a:lnTo>
                  <a:lnTo>
                    <a:pt x="1888" y="676"/>
                  </a:lnTo>
                  <a:lnTo>
                    <a:pt x="1885" y="673"/>
                  </a:lnTo>
                  <a:lnTo>
                    <a:pt x="1879" y="681"/>
                  </a:lnTo>
                  <a:lnTo>
                    <a:pt x="1881" y="679"/>
                  </a:lnTo>
                  <a:lnTo>
                    <a:pt x="1877" y="679"/>
                  </a:lnTo>
                  <a:lnTo>
                    <a:pt x="1876" y="680"/>
                  </a:lnTo>
                  <a:lnTo>
                    <a:pt x="1872" y="687"/>
                  </a:lnTo>
                  <a:lnTo>
                    <a:pt x="1871" y="690"/>
                  </a:lnTo>
                  <a:lnTo>
                    <a:pt x="1872" y="692"/>
                  </a:lnTo>
                  <a:lnTo>
                    <a:pt x="1874" y="694"/>
                  </a:lnTo>
                  <a:lnTo>
                    <a:pt x="1868" y="700"/>
                  </a:lnTo>
                  <a:lnTo>
                    <a:pt x="1867" y="702"/>
                  </a:lnTo>
                  <a:lnTo>
                    <a:pt x="1870" y="704"/>
                  </a:lnTo>
                  <a:lnTo>
                    <a:pt x="1866" y="708"/>
                  </a:lnTo>
                  <a:lnTo>
                    <a:pt x="1861" y="714"/>
                  </a:lnTo>
                  <a:lnTo>
                    <a:pt x="1857" y="720"/>
                  </a:lnTo>
                  <a:lnTo>
                    <a:pt x="1855" y="724"/>
                  </a:lnTo>
                  <a:lnTo>
                    <a:pt x="1855" y="730"/>
                  </a:lnTo>
                  <a:lnTo>
                    <a:pt x="1858" y="733"/>
                  </a:lnTo>
                  <a:lnTo>
                    <a:pt x="1860" y="734"/>
                  </a:lnTo>
                  <a:lnTo>
                    <a:pt x="1868" y="734"/>
                  </a:lnTo>
                  <a:lnTo>
                    <a:pt x="1872" y="735"/>
                  </a:lnTo>
                  <a:lnTo>
                    <a:pt x="1872" y="737"/>
                  </a:lnTo>
                  <a:lnTo>
                    <a:pt x="1870" y="742"/>
                  </a:lnTo>
                  <a:lnTo>
                    <a:pt x="1865" y="747"/>
                  </a:lnTo>
                  <a:lnTo>
                    <a:pt x="1864" y="750"/>
                  </a:lnTo>
                  <a:lnTo>
                    <a:pt x="1865" y="755"/>
                  </a:lnTo>
                  <a:lnTo>
                    <a:pt x="1867" y="760"/>
                  </a:lnTo>
                  <a:lnTo>
                    <a:pt x="1872" y="761"/>
                  </a:lnTo>
                  <a:lnTo>
                    <a:pt x="1873" y="765"/>
                  </a:lnTo>
                  <a:lnTo>
                    <a:pt x="1873" y="772"/>
                  </a:lnTo>
                  <a:lnTo>
                    <a:pt x="1871" y="776"/>
                  </a:lnTo>
                  <a:lnTo>
                    <a:pt x="1868" y="776"/>
                  </a:lnTo>
                  <a:lnTo>
                    <a:pt x="1865" y="774"/>
                  </a:lnTo>
                  <a:lnTo>
                    <a:pt x="1865" y="772"/>
                  </a:lnTo>
                  <a:lnTo>
                    <a:pt x="1867" y="766"/>
                  </a:lnTo>
                  <a:lnTo>
                    <a:pt x="1864" y="766"/>
                  </a:lnTo>
                  <a:lnTo>
                    <a:pt x="1862" y="769"/>
                  </a:lnTo>
                  <a:lnTo>
                    <a:pt x="1856" y="778"/>
                  </a:lnTo>
                  <a:lnTo>
                    <a:pt x="1853" y="784"/>
                  </a:lnTo>
                  <a:lnTo>
                    <a:pt x="1851" y="791"/>
                  </a:lnTo>
                  <a:lnTo>
                    <a:pt x="1853" y="798"/>
                  </a:lnTo>
                  <a:lnTo>
                    <a:pt x="1857" y="801"/>
                  </a:lnTo>
                  <a:lnTo>
                    <a:pt x="1858" y="803"/>
                  </a:lnTo>
                  <a:lnTo>
                    <a:pt x="1856" y="807"/>
                  </a:lnTo>
                  <a:lnTo>
                    <a:pt x="1852" y="810"/>
                  </a:lnTo>
                  <a:lnTo>
                    <a:pt x="1846" y="811"/>
                  </a:lnTo>
                  <a:lnTo>
                    <a:pt x="1843" y="810"/>
                  </a:lnTo>
                  <a:lnTo>
                    <a:pt x="1840" y="810"/>
                  </a:lnTo>
                  <a:lnTo>
                    <a:pt x="1837" y="812"/>
                  </a:lnTo>
                  <a:lnTo>
                    <a:pt x="1832" y="817"/>
                  </a:lnTo>
                  <a:lnTo>
                    <a:pt x="1831" y="818"/>
                  </a:lnTo>
                  <a:lnTo>
                    <a:pt x="1828" y="823"/>
                  </a:lnTo>
                  <a:lnTo>
                    <a:pt x="1827" y="826"/>
                  </a:lnTo>
                  <a:lnTo>
                    <a:pt x="1827" y="829"/>
                  </a:lnTo>
                  <a:lnTo>
                    <a:pt x="1830" y="833"/>
                  </a:lnTo>
                  <a:lnTo>
                    <a:pt x="1831" y="835"/>
                  </a:lnTo>
                  <a:lnTo>
                    <a:pt x="1830" y="837"/>
                  </a:lnTo>
                  <a:lnTo>
                    <a:pt x="1826" y="839"/>
                  </a:lnTo>
                  <a:lnTo>
                    <a:pt x="1823" y="839"/>
                  </a:lnTo>
                  <a:lnTo>
                    <a:pt x="1816" y="843"/>
                  </a:lnTo>
                  <a:lnTo>
                    <a:pt x="1811" y="846"/>
                  </a:lnTo>
                  <a:lnTo>
                    <a:pt x="1811" y="848"/>
                  </a:lnTo>
                  <a:lnTo>
                    <a:pt x="1811" y="851"/>
                  </a:lnTo>
                  <a:lnTo>
                    <a:pt x="1810" y="859"/>
                  </a:lnTo>
                  <a:lnTo>
                    <a:pt x="1809" y="863"/>
                  </a:lnTo>
                  <a:lnTo>
                    <a:pt x="1804" y="870"/>
                  </a:lnTo>
                  <a:lnTo>
                    <a:pt x="1795" y="880"/>
                  </a:lnTo>
                  <a:lnTo>
                    <a:pt x="1790" y="884"/>
                  </a:lnTo>
                  <a:lnTo>
                    <a:pt x="1788" y="885"/>
                  </a:lnTo>
                  <a:lnTo>
                    <a:pt x="1787" y="879"/>
                  </a:lnTo>
                  <a:lnTo>
                    <a:pt x="1786" y="872"/>
                  </a:lnTo>
                  <a:lnTo>
                    <a:pt x="1784" y="865"/>
                  </a:lnTo>
                  <a:lnTo>
                    <a:pt x="1784" y="858"/>
                  </a:lnTo>
                  <a:lnTo>
                    <a:pt x="1781" y="850"/>
                  </a:lnTo>
                  <a:lnTo>
                    <a:pt x="1780" y="847"/>
                  </a:lnTo>
                  <a:lnTo>
                    <a:pt x="1778" y="838"/>
                  </a:lnTo>
                  <a:lnTo>
                    <a:pt x="1775" y="824"/>
                  </a:lnTo>
                  <a:lnTo>
                    <a:pt x="1775" y="819"/>
                  </a:lnTo>
                  <a:lnTo>
                    <a:pt x="1774" y="813"/>
                  </a:lnTo>
                  <a:lnTo>
                    <a:pt x="1774" y="810"/>
                  </a:lnTo>
                  <a:lnTo>
                    <a:pt x="1774" y="808"/>
                  </a:lnTo>
                  <a:lnTo>
                    <a:pt x="1772" y="799"/>
                  </a:lnTo>
                  <a:lnTo>
                    <a:pt x="1772" y="791"/>
                  </a:lnTo>
                  <a:lnTo>
                    <a:pt x="1773" y="783"/>
                  </a:lnTo>
                  <a:lnTo>
                    <a:pt x="1774" y="768"/>
                  </a:lnTo>
                  <a:lnTo>
                    <a:pt x="1775" y="766"/>
                  </a:lnTo>
                  <a:lnTo>
                    <a:pt x="1782" y="756"/>
                  </a:lnTo>
                  <a:lnTo>
                    <a:pt x="1787" y="752"/>
                  </a:lnTo>
                  <a:lnTo>
                    <a:pt x="1790" y="744"/>
                  </a:lnTo>
                  <a:lnTo>
                    <a:pt x="1791" y="742"/>
                  </a:lnTo>
                  <a:lnTo>
                    <a:pt x="1790" y="738"/>
                  </a:lnTo>
                  <a:lnTo>
                    <a:pt x="1789" y="736"/>
                  </a:lnTo>
                  <a:lnTo>
                    <a:pt x="1799" y="733"/>
                  </a:lnTo>
                  <a:lnTo>
                    <a:pt x="1805" y="729"/>
                  </a:lnTo>
                  <a:lnTo>
                    <a:pt x="1810" y="726"/>
                  </a:lnTo>
                  <a:lnTo>
                    <a:pt x="1820" y="716"/>
                  </a:lnTo>
                  <a:lnTo>
                    <a:pt x="1823" y="711"/>
                  </a:lnTo>
                  <a:lnTo>
                    <a:pt x="1826" y="706"/>
                  </a:lnTo>
                  <a:lnTo>
                    <a:pt x="1827" y="702"/>
                  </a:lnTo>
                  <a:lnTo>
                    <a:pt x="1837" y="692"/>
                  </a:lnTo>
                  <a:lnTo>
                    <a:pt x="1843" y="687"/>
                  </a:lnTo>
                  <a:lnTo>
                    <a:pt x="1852" y="677"/>
                  </a:lnTo>
                  <a:lnTo>
                    <a:pt x="1854" y="673"/>
                  </a:lnTo>
                  <a:lnTo>
                    <a:pt x="1855" y="669"/>
                  </a:lnTo>
                  <a:lnTo>
                    <a:pt x="1862" y="663"/>
                  </a:lnTo>
                  <a:lnTo>
                    <a:pt x="1875" y="657"/>
                  </a:lnTo>
                  <a:lnTo>
                    <a:pt x="1876" y="652"/>
                  </a:lnTo>
                  <a:lnTo>
                    <a:pt x="1881" y="646"/>
                  </a:lnTo>
                  <a:lnTo>
                    <a:pt x="1882" y="643"/>
                  </a:lnTo>
                  <a:lnTo>
                    <a:pt x="1878" y="640"/>
                  </a:lnTo>
                  <a:lnTo>
                    <a:pt x="1883" y="629"/>
                  </a:lnTo>
                  <a:lnTo>
                    <a:pt x="1883" y="623"/>
                  </a:lnTo>
                  <a:lnTo>
                    <a:pt x="1884" y="618"/>
                  </a:lnTo>
                  <a:lnTo>
                    <a:pt x="1887" y="615"/>
                  </a:lnTo>
                  <a:lnTo>
                    <a:pt x="1898" y="614"/>
                  </a:lnTo>
                  <a:lnTo>
                    <a:pt x="1901" y="613"/>
                  </a:lnTo>
                  <a:lnTo>
                    <a:pt x="1898" y="609"/>
                  </a:lnTo>
                  <a:lnTo>
                    <a:pt x="1886" y="607"/>
                  </a:lnTo>
                  <a:lnTo>
                    <a:pt x="1882" y="608"/>
                  </a:lnTo>
                  <a:lnTo>
                    <a:pt x="1875" y="610"/>
                  </a:lnTo>
                  <a:lnTo>
                    <a:pt x="1871" y="612"/>
                  </a:lnTo>
                  <a:lnTo>
                    <a:pt x="1871" y="616"/>
                  </a:lnTo>
                  <a:lnTo>
                    <a:pt x="1867" y="628"/>
                  </a:lnTo>
                  <a:lnTo>
                    <a:pt x="1868" y="631"/>
                  </a:lnTo>
                  <a:lnTo>
                    <a:pt x="1867" y="633"/>
                  </a:lnTo>
                  <a:lnTo>
                    <a:pt x="1864" y="634"/>
                  </a:lnTo>
                  <a:lnTo>
                    <a:pt x="1861" y="635"/>
                  </a:lnTo>
                  <a:lnTo>
                    <a:pt x="1852" y="644"/>
                  </a:lnTo>
                  <a:lnTo>
                    <a:pt x="1840" y="657"/>
                  </a:lnTo>
                  <a:lnTo>
                    <a:pt x="1833" y="661"/>
                  </a:lnTo>
                  <a:lnTo>
                    <a:pt x="1832" y="660"/>
                  </a:lnTo>
                  <a:lnTo>
                    <a:pt x="1832" y="656"/>
                  </a:lnTo>
                  <a:lnTo>
                    <a:pt x="1835" y="651"/>
                  </a:lnTo>
                  <a:lnTo>
                    <a:pt x="1829" y="649"/>
                  </a:lnTo>
                  <a:lnTo>
                    <a:pt x="1828" y="646"/>
                  </a:lnTo>
                  <a:lnTo>
                    <a:pt x="1829" y="641"/>
                  </a:lnTo>
                  <a:lnTo>
                    <a:pt x="1832" y="635"/>
                  </a:lnTo>
                  <a:lnTo>
                    <a:pt x="1834" y="631"/>
                  </a:lnTo>
                  <a:lnTo>
                    <a:pt x="1833" y="628"/>
                  </a:lnTo>
                  <a:lnTo>
                    <a:pt x="1831" y="628"/>
                  </a:lnTo>
                  <a:lnTo>
                    <a:pt x="1824" y="634"/>
                  </a:lnTo>
                  <a:lnTo>
                    <a:pt x="1822" y="634"/>
                  </a:lnTo>
                  <a:lnTo>
                    <a:pt x="1820" y="630"/>
                  </a:lnTo>
                  <a:lnTo>
                    <a:pt x="1816" y="628"/>
                  </a:lnTo>
                  <a:lnTo>
                    <a:pt x="1807" y="629"/>
                  </a:lnTo>
                  <a:lnTo>
                    <a:pt x="1799" y="631"/>
                  </a:lnTo>
                  <a:lnTo>
                    <a:pt x="1793" y="632"/>
                  </a:lnTo>
                  <a:lnTo>
                    <a:pt x="1790" y="634"/>
                  </a:lnTo>
                  <a:lnTo>
                    <a:pt x="1785" y="638"/>
                  </a:lnTo>
                  <a:lnTo>
                    <a:pt x="1784" y="643"/>
                  </a:lnTo>
                  <a:lnTo>
                    <a:pt x="1785" y="646"/>
                  </a:lnTo>
                  <a:lnTo>
                    <a:pt x="1777" y="652"/>
                  </a:lnTo>
                  <a:lnTo>
                    <a:pt x="1775" y="655"/>
                  </a:lnTo>
                  <a:lnTo>
                    <a:pt x="1776" y="661"/>
                  </a:lnTo>
                  <a:lnTo>
                    <a:pt x="1768" y="665"/>
                  </a:lnTo>
                  <a:lnTo>
                    <a:pt x="1762" y="670"/>
                  </a:lnTo>
                  <a:lnTo>
                    <a:pt x="1757" y="676"/>
                  </a:lnTo>
                  <a:lnTo>
                    <a:pt x="1754" y="681"/>
                  </a:lnTo>
                  <a:lnTo>
                    <a:pt x="1752" y="687"/>
                  </a:lnTo>
                  <a:lnTo>
                    <a:pt x="1752" y="691"/>
                  </a:lnTo>
                  <a:lnTo>
                    <a:pt x="1756" y="694"/>
                  </a:lnTo>
                  <a:lnTo>
                    <a:pt x="1763" y="694"/>
                  </a:lnTo>
                  <a:lnTo>
                    <a:pt x="1765" y="697"/>
                  </a:lnTo>
                  <a:lnTo>
                    <a:pt x="1765" y="699"/>
                  </a:lnTo>
                  <a:lnTo>
                    <a:pt x="1758" y="700"/>
                  </a:lnTo>
                  <a:lnTo>
                    <a:pt x="1752" y="703"/>
                  </a:lnTo>
                  <a:lnTo>
                    <a:pt x="1746" y="703"/>
                  </a:lnTo>
                  <a:lnTo>
                    <a:pt x="1742" y="701"/>
                  </a:lnTo>
                  <a:lnTo>
                    <a:pt x="1739" y="702"/>
                  </a:lnTo>
                  <a:lnTo>
                    <a:pt x="1738" y="703"/>
                  </a:lnTo>
                  <a:lnTo>
                    <a:pt x="1733" y="707"/>
                  </a:lnTo>
                  <a:lnTo>
                    <a:pt x="1729" y="703"/>
                  </a:lnTo>
                  <a:lnTo>
                    <a:pt x="1723" y="708"/>
                  </a:lnTo>
                  <a:lnTo>
                    <a:pt x="1718" y="709"/>
                  </a:lnTo>
                  <a:lnTo>
                    <a:pt x="1716" y="708"/>
                  </a:lnTo>
                  <a:lnTo>
                    <a:pt x="1714" y="706"/>
                  </a:lnTo>
                  <a:lnTo>
                    <a:pt x="1715" y="703"/>
                  </a:lnTo>
                  <a:lnTo>
                    <a:pt x="1719" y="702"/>
                  </a:lnTo>
                  <a:lnTo>
                    <a:pt x="1724" y="700"/>
                  </a:lnTo>
                  <a:lnTo>
                    <a:pt x="1725" y="700"/>
                  </a:lnTo>
                  <a:lnTo>
                    <a:pt x="1721" y="693"/>
                  </a:lnTo>
                  <a:lnTo>
                    <a:pt x="1716" y="690"/>
                  </a:lnTo>
                  <a:lnTo>
                    <a:pt x="1709" y="690"/>
                  </a:lnTo>
                  <a:lnTo>
                    <a:pt x="1705" y="692"/>
                  </a:lnTo>
                  <a:lnTo>
                    <a:pt x="1702" y="691"/>
                  </a:lnTo>
                  <a:lnTo>
                    <a:pt x="1697" y="686"/>
                  </a:lnTo>
                  <a:lnTo>
                    <a:pt x="1693" y="686"/>
                  </a:lnTo>
                  <a:lnTo>
                    <a:pt x="1688" y="686"/>
                  </a:lnTo>
                  <a:lnTo>
                    <a:pt x="1684" y="689"/>
                  </a:lnTo>
                  <a:lnTo>
                    <a:pt x="1684" y="694"/>
                  </a:lnTo>
                  <a:lnTo>
                    <a:pt x="1683" y="696"/>
                  </a:lnTo>
                  <a:lnTo>
                    <a:pt x="1680" y="699"/>
                  </a:lnTo>
                  <a:lnTo>
                    <a:pt x="1676" y="696"/>
                  </a:lnTo>
                  <a:lnTo>
                    <a:pt x="1674" y="694"/>
                  </a:lnTo>
                  <a:lnTo>
                    <a:pt x="1666" y="695"/>
                  </a:lnTo>
                  <a:lnTo>
                    <a:pt x="1661" y="696"/>
                  </a:lnTo>
                  <a:lnTo>
                    <a:pt x="1658" y="696"/>
                  </a:lnTo>
                  <a:lnTo>
                    <a:pt x="1652" y="694"/>
                  </a:lnTo>
                  <a:lnTo>
                    <a:pt x="1649" y="695"/>
                  </a:lnTo>
                  <a:lnTo>
                    <a:pt x="1649" y="696"/>
                  </a:lnTo>
                  <a:lnTo>
                    <a:pt x="1648" y="702"/>
                  </a:lnTo>
                  <a:lnTo>
                    <a:pt x="1644" y="702"/>
                  </a:lnTo>
                  <a:lnTo>
                    <a:pt x="1642" y="700"/>
                  </a:lnTo>
                  <a:lnTo>
                    <a:pt x="1642" y="696"/>
                  </a:lnTo>
                  <a:lnTo>
                    <a:pt x="1641" y="693"/>
                  </a:lnTo>
                  <a:lnTo>
                    <a:pt x="1633" y="694"/>
                  </a:lnTo>
                  <a:lnTo>
                    <a:pt x="1628" y="693"/>
                  </a:lnTo>
                  <a:lnTo>
                    <a:pt x="1620" y="694"/>
                  </a:lnTo>
                  <a:lnTo>
                    <a:pt x="1613" y="694"/>
                  </a:lnTo>
                  <a:lnTo>
                    <a:pt x="1609" y="694"/>
                  </a:lnTo>
                  <a:lnTo>
                    <a:pt x="1607" y="694"/>
                  </a:lnTo>
                  <a:lnTo>
                    <a:pt x="1601" y="698"/>
                  </a:lnTo>
                  <a:lnTo>
                    <a:pt x="1595" y="703"/>
                  </a:lnTo>
                  <a:lnTo>
                    <a:pt x="1591" y="708"/>
                  </a:lnTo>
                  <a:lnTo>
                    <a:pt x="1588" y="714"/>
                  </a:lnTo>
                  <a:lnTo>
                    <a:pt x="1583" y="717"/>
                  </a:lnTo>
                  <a:lnTo>
                    <a:pt x="1578" y="720"/>
                  </a:lnTo>
                  <a:lnTo>
                    <a:pt x="1577" y="722"/>
                  </a:lnTo>
                  <a:lnTo>
                    <a:pt x="1571" y="735"/>
                  </a:lnTo>
                  <a:lnTo>
                    <a:pt x="1561" y="742"/>
                  </a:lnTo>
                  <a:lnTo>
                    <a:pt x="1555" y="748"/>
                  </a:lnTo>
                  <a:lnTo>
                    <a:pt x="1549" y="755"/>
                  </a:lnTo>
                  <a:lnTo>
                    <a:pt x="1539" y="769"/>
                  </a:lnTo>
                  <a:lnTo>
                    <a:pt x="1534" y="775"/>
                  </a:lnTo>
                  <a:lnTo>
                    <a:pt x="1525" y="784"/>
                  </a:lnTo>
                  <a:lnTo>
                    <a:pt x="1519" y="788"/>
                  </a:lnTo>
                  <a:lnTo>
                    <a:pt x="1508" y="797"/>
                  </a:lnTo>
                  <a:lnTo>
                    <a:pt x="1505" y="801"/>
                  </a:lnTo>
                  <a:lnTo>
                    <a:pt x="1504" y="804"/>
                  </a:lnTo>
                  <a:lnTo>
                    <a:pt x="1504" y="807"/>
                  </a:lnTo>
                  <a:lnTo>
                    <a:pt x="1506" y="810"/>
                  </a:lnTo>
                  <a:lnTo>
                    <a:pt x="1509" y="811"/>
                  </a:lnTo>
                  <a:lnTo>
                    <a:pt x="1514" y="811"/>
                  </a:lnTo>
                  <a:lnTo>
                    <a:pt x="1520" y="809"/>
                  </a:lnTo>
                  <a:lnTo>
                    <a:pt x="1524" y="810"/>
                  </a:lnTo>
                  <a:lnTo>
                    <a:pt x="1522" y="822"/>
                  </a:lnTo>
                  <a:lnTo>
                    <a:pt x="1522" y="826"/>
                  </a:lnTo>
                  <a:lnTo>
                    <a:pt x="1524" y="828"/>
                  </a:lnTo>
                  <a:lnTo>
                    <a:pt x="1528" y="827"/>
                  </a:lnTo>
                  <a:lnTo>
                    <a:pt x="1531" y="823"/>
                  </a:lnTo>
                  <a:lnTo>
                    <a:pt x="1536" y="824"/>
                  </a:lnTo>
                  <a:lnTo>
                    <a:pt x="1535" y="826"/>
                  </a:lnTo>
                  <a:lnTo>
                    <a:pt x="1532" y="829"/>
                  </a:lnTo>
                  <a:lnTo>
                    <a:pt x="1532" y="831"/>
                  </a:lnTo>
                  <a:lnTo>
                    <a:pt x="1534" y="832"/>
                  </a:lnTo>
                  <a:lnTo>
                    <a:pt x="1544" y="832"/>
                  </a:lnTo>
                  <a:lnTo>
                    <a:pt x="1547" y="829"/>
                  </a:lnTo>
                  <a:lnTo>
                    <a:pt x="1549" y="824"/>
                  </a:lnTo>
                  <a:lnTo>
                    <a:pt x="1549" y="818"/>
                  </a:lnTo>
                  <a:lnTo>
                    <a:pt x="1554" y="818"/>
                  </a:lnTo>
                  <a:lnTo>
                    <a:pt x="1558" y="818"/>
                  </a:lnTo>
                  <a:lnTo>
                    <a:pt x="1562" y="818"/>
                  </a:lnTo>
                  <a:lnTo>
                    <a:pt x="1568" y="821"/>
                  </a:lnTo>
                  <a:lnTo>
                    <a:pt x="1571" y="824"/>
                  </a:lnTo>
                  <a:lnTo>
                    <a:pt x="1574" y="830"/>
                  </a:lnTo>
                  <a:lnTo>
                    <a:pt x="1579" y="836"/>
                  </a:lnTo>
                  <a:lnTo>
                    <a:pt x="1582" y="838"/>
                  </a:lnTo>
                  <a:lnTo>
                    <a:pt x="1585" y="841"/>
                  </a:lnTo>
                  <a:lnTo>
                    <a:pt x="1585" y="842"/>
                  </a:lnTo>
                  <a:lnTo>
                    <a:pt x="1581" y="846"/>
                  </a:lnTo>
                  <a:lnTo>
                    <a:pt x="1584" y="848"/>
                  </a:lnTo>
                  <a:lnTo>
                    <a:pt x="1585" y="851"/>
                  </a:lnTo>
                  <a:lnTo>
                    <a:pt x="1582" y="858"/>
                  </a:lnTo>
                  <a:lnTo>
                    <a:pt x="1585" y="859"/>
                  </a:lnTo>
                  <a:lnTo>
                    <a:pt x="1586" y="861"/>
                  </a:lnTo>
                  <a:lnTo>
                    <a:pt x="1585" y="866"/>
                  </a:lnTo>
                  <a:lnTo>
                    <a:pt x="1583" y="870"/>
                  </a:lnTo>
                  <a:lnTo>
                    <a:pt x="1580" y="875"/>
                  </a:lnTo>
                  <a:lnTo>
                    <a:pt x="1576" y="888"/>
                  </a:lnTo>
                  <a:lnTo>
                    <a:pt x="1574" y="894"/>
                  </a:lnTo>
                  <a:lnTo>
                    <a:pt x="1575" y="896"/>
                  </a:lnTo>
                  <a:lnTo>
                    <a:pt x="1576" y="903"/>
                  </a:lnTo>
                  <a:lnTo>
                    <a:pt x="1575" y="911"/>
                  </a:lnTo>
                  <a:lnTo>
                    <a:pt x="1574" y="918"/>
                  </a:lnTo>
                  <a:lnTo>
                    <a:pt x="1572" y="931"/>
                  </a:lnTo>
                  <a:lnTo>
                    <a:pt x="1571" y="935"/>
                  </a:lnTo>
                  <a:lnTo>
                    <a:pt x="1560" y="948"/>
                  </a:lnTo>
                  <a:lnTo>
                    <a:pt x="1558" y="952"/>
                  </a:lnTo>
                  <a:lnTo>
                    <a:pt x="1556" y="958"/>
                  </a:lnTo>
                  <a:lnTo>
                    <a:pt x="1553" y="961"/>
                  </a:lnTo>
                  <a:lnTo>
                    <a:pt x="1549" y="967"/>
                  </a:lnTo>
                  <a:lnTo>
                    <a:pt x="1547" y="970"/>
                  </a:lnTo>
                  <a:lnTo>
                    <a:pt x="1544" y="978"/>
                  </a:lnTo>
                  <a:lnTo>
                    <a:pt x="1540" y="983"/>
                  </a:lnTo>
                  <a:lnTo>
                    <a:pt x="1535" y="990"/>
                  </a:lnTo>
                  <a:lnTo>
                    <a:pt x="1524" y="1002"/>
                  </a:lnTo>
                  <a:lnTo>
                    <a:pt x="1522" y="1006"/>
                  </a:lnTo>
                  <a:lnTo>
                    <a:pt x="1520" y="1010"/>
                  </a:lnTo>
                  <a:lnTo>
                    <a:pt x="1518" y="1013"/>
                  </a:lnTo>
                  <a:lnTo>
                    <a:pt x="1514" y="1016"/>
                  </a:lnTo>
                  <a:lnTo>
                    <a:pt x="1510" y="1020"/>
                  </a:lnTo>
                  <a:lnTo>
                    <a:pt x="1507" y="1025"/>
                  </a:lnTo>
                  <a:lnTo>
                    <a:pt x="1504" y="1029"/>
                  </a:lnTo>
                  <a:lnTo>
                    <a:pt x="1499" y="1034"/>
                  </a:lnTo>
                  <a:lnTo>
                    <a:pt x="1493" y="1038"/>
                  </a:lnTo>
                  <a:lnTo>
                    <a:pt x="1483" y="1042"/>
                  </a:lnTo>
                  <a:lnTo>
                    <a:pt x="1478" y="1044"/>
                  </a:lnTo>
                  <a:lnTo>
                    <a:pt x="1477" y="1041"/>
                  </a:lnTo>
                  <a:lnTo>
                    <a:pt x="1474" y="1040"/>
                  </a:lnTo>
                  <a:lnTo>
                    <a:pt x="1472" y="1040"/>
                  </a:lnTo>
                  <a:lnTo>
                    <a:pt x="1470" y="1039"/>
                  </a:lnTo>
                  <a:lnTo>
                    <a:pt x="1468" y="1035"/>
                  </a:lnTo>
                  <a:lnTo>
                    <a:pt x="1464" y="1037"/>
                  </a:lnTo>
                  <a:lnTo>
                    <a:pt x="1462" y="1038"/>
                  </a:lnTo>
                  <a:lnTo>
                    <a:pt x="1464" y="1033"/>
                  </a:lnTo>
                  <a:lnTo>
                    <a:pt x="1460" y="1034"/>
                  </a:lnTo>
                  <a:lnTo>
                    <a:pt x="1457" y="1038"/>
                  </a:lnTo>
                  <a:lnTo>
                    <a:pt x="1453" y="1042"/>
                  </a:lnTo>
                  <a:lnTo>
                    <a:pt x="1445" y="1051"/>
                  </a:lnTo>
                  <a:lnTo>
                    <a:pt x="1445" y="1051"/>
                  </a:lnTo>
                  <a:lnTo>
                    <a:pt x="1444" y="1048"/>
                  </a:lnTo>
                  <a:lnTo>
                    <a:pt x="1442" y="1044"/>
                  </a:lnTo>
                  <a:lnTo>
                    <a:pt x="1443" y="1044"/>
                  </a:lnTo>
                  <a:lnTo>
                    <a:pt x="1450" y="1040"/>
                  </a:lnTo>
                  <a:lnTo>
                    <a:pt x="1453" y="1037"/>
                  </a:lnTo>
                  <a:lnTo>
                    <a:pt x="1454" y="1034"/>
                  </a:lnTo>
                  <a:lnTo>
                    <a:pt x="1454" y="1032"/>
                  </a:lnTo>
                  <a:lnTo>
                    <a:pt x="1454" y="1030"/>
                  </a:lnTo>
                  <a:lnTo>
                    <a:pt x="1454" y="1027"/>
                  </a:lnTo>
                  <a:lnTo>
                    <a:pt x="1454" y="1023"/>
                  </a:lnTo>
                  <a:lnTo>
                    <a:pt x="1454" y="1017"/>
                  </a:lnTo>
                  <a:lnTo>
                    <a:pt x="1452" y="1010"/>
                  </a:lnTo>
                  <a:lnTo>
                    <a:pt x="1453" y="1005"/>
                  </a:lnTo>
                  <a:lnTo>
                    <a:pt x="1462" y="997"/>
                  </a:lnTo>
                  <a:lnTo>
                    <a:pt x="1465" y="997"/>
                  </a:lnTo>
                  <a:lnTo>
                    <a:pt x="1469" y="999"/>
                  </a:lnTo>
                  <a:lnTo>
                    <a:pt x="1472" y="1001"/>
                  </a:lnTo>
                  <a:lnTo>
                    <a:pt x="1476" y="1002"/>
                  </a:lnTo>
                  <a:lnTo>
                    <a:pt x="1478" y="999"/>
                  </a:lnTo>
                  <a:lnTo>
                    <a:pt x="1482" y="993"/>
                  </a:lnTo>
                  <a:lnTo>
                    <a:pt x="1484" y="990"/>
                  </a:lnTo>
                  <a:lnTo>
                    <a:pt x="1487" y="981"/>
                  </a:lnTo>
                  <a:lnTo>
                    <a:pt x="1490" y="972"/>
                  </a:lnTo>
                  <a:lnTo>
                    <a:pt x="1492" y="964"/>
                  </a:lnTo>
                  <a:lnTo>
                    <a:pt x="1494" y="958"/>
                  </a:lnTo>
                  <a:lnTo>
                    <a:pt x="1498" y="954"/>
                  </a:lnTo>
                  <a:lnTo>
                    <a:pt x="1501" y="951"/>
                  </a:lnTo>
                  <a:lnTo>
                    <a:pt x="1501" y="946"/>
                  </a:lnTo>
                  <a:lnTo>
                    <a:pt x="1500" y="943"/>
                  </a:lnTo>
                  <a:lnTo>
                    <a:pt x="1500" y="940"/>
                  </a:lnTo>
                  <a:lnTo>
                    <a:pt x="1499" y="940"/>
                  </a:lnTo>
                  <a:lnTo>
                    <a:pt x="1493" y="940"/>
                  </a:lnTo>
                  <a:lnTo>
                    <a:pt x="1486" y="942"/>
                  </a:lnTo>
                  <a:lnTo>
                    <a:pt x="1478" y="945"/>
                  </a:lnTo>
                  <a:lnTo>
                    <a:pt x="1473" y="947"/>
                  </a:lnTo>
                  <a:lnTo>
                    <a:pt x="1469" y="949"/>
                  </a:lnTo>
                  <a:lnTo>
                    <a:pt x="1459" y="949"/>
                  </a:lnTo>
                  <a:lnTo>
                    <a:pt x="1456" y="950"/>
                  </a:lnTo>
                  <a:lnTo>
                    <a:pt x="1451" y="950"/>
                  </a:lnTo>
                  <a:lnTo>
                    <a:pt x="1450" y="946"/>
                  </a:lnTo>
                  <a:lnTo>
                    <a:pt x="1447" y="935"/>
                  </a:lnTo>
                  <a:lnTo>
                    <a:pt x="1446" y="927"/>
                  </a:lnTo>
                  <a:lnTo>
                    <a:pt x="1445" y="926"/>
                  </a:lnTo>
                  <a:lnTo>
                    <a:pt x="1429" y="918"/>
                  </a:lnTo>
                  <a:lnTo>
                    <a:pt x="1420" y="916"/>
                  </a:lnTo>
                  <a:lnTo>
                    <a:pt x="1412" y="913"/>
                  </a:lnTo>
                  <a:lnTo>
                    <a:pt x="1409" y="911"/>
                  </a:lnTo>
                  <a:lnTo>
                    <a:pt x="1407" y="907"/>
                  </a:lnTo>
                  <a:lnTo>
                    <a:pt x="1402" y="890"/>
                  </a:lnTo>
                  <a:lnTo>
                    <a:pt x="1396" y="875"/>
                  </a:lnTo>
                  <a:lnTo>
                    <a:pt x="1390" y="852"/>
                  </a:lnTo>
                  <a:lnTo>
                    <a:pt x="1385" y="843"/>
                  </a:lnTo>
                  <a:lnTo>
                    <a:pt x="1381" y="838"/>
                  </a:lnTo>
                  <a:lnTo>
                    <a:pt x="1378" y="838"/>
                  </a:lnTo>
                  <a:lnTo>
                    <a:pt x="1370" y="840"/>
                  </a:lnTo>
                  <a:lnTo>
                    <a:pt x="1366" y="838"/>
                  </a:lnTo>
                  <a:lnTo>
                    <a:pt x="1360" y="833"/>
                  </a:lnTo>
                  <a:lnTo>
                    <a:pt x="1353" y="831"/>
                  </a:lnTo>
                  <a:lnTo>
                    <a:pt x="1347" y="831"/>
                  </a:lnTo>
                  <a:lnTo>
                    <a:pt x="1340" y="832"/>
                  </a:lnTo>
                  <a:lnTo>
                    <a:pt x="1335" y="834"/>
                  </a:lnTo>
                  <a:lnTo>
                    <a:pt x="1324" y="835"/>
                  </a:lnTo>
                  <a:lnTo>
                    <a:pt x="1321" y="836"/>
                  </a:lnTo>
                  <a:lnTo>
                    <a:pt x="1318" y="838"/>
                  </a:lnTo>
                  <a:lnTo>
                    <a:pt x="1311" y="846"/>
                  </a:lnTo>
                  <a:lnTo>
                    <a:pt x="1309" y="848"/>
                  </a:lnTo>
                  <a:lnTo>
                    <a:pt x="1308" y="851"/>
                  </a:lnTo>
                  <a:lnTo>
                    <a:pt x="1313" y="850"/>
                  </a:lnTo>
                  <a:lnTo>
                    <a:pt x="1316" y="850"/>
                  </a:lnTo>
                  <a:lnTo>
                    <a:pt x="1319" y="853"/>
                  </a:lnTo>
                  <a:lnTo>
                    <a:pt x="1319" y="856"/>
                  </a:lnTo>
                  <a:lnTo>
                    <a:pt x="1319" y="863"/>
                  </a:lnTo>
                  <a:lnTo>
                    <a:pt x="1310" y="869"/>
                  </a:lnTo>
                  <a:lnTo>
                    <a:pt x="1307" y="874"/>
                  </a:lnTo>
                  <a:lnTo>
                    <a:pt x="1303" y="882"/>
                  </a:lnTo>
                  <a:lnTo>
                    <a:pt x="1301" y="886"/>
                  </a:lnTo>
                  <a:lnTo>
                    <a:pt x="1298" y="891"/>
                  </a:lnTo>
                  <a:lnTo>
                    <a:pt x="1298" y="893"/>
                  </a:lnTo>
                  <a:lnTo>
                    <a:pt x="1298" y="894"/>
                  </a:lnTo>
                  <a:lnTo>
                    <a:pt x="1300" y="897"/>
                  </a:lnTo>
                  <a:lnTo>
                    <a:pt x="1300" y="900"/>
                  </a:lnTo>
                  <a:lnTo>
                    <a:pt x="1300" y="902"/>
                  </a:lnTo>
                  <a:lnTo>
                    <a:pt x="1295" y="906"/>
                  </a:lnTo>
                  <a:lnTo>
                    <a:pt x="1281" y="912"/>
                  </a:lnTo>
                  <a:lnTo>
                    <a:pt x="1278" y="913"/>
                  </a:lnTo>
                  <a:lnTo>
                    <a:pt x="1276" y="913"/>
                  </a:lnTo>
                  <a:lnTo>
                    <a:pt x="1270" y="908"/>
                  </a:lnTo>
                  <a:lnTo>
                    <a:pt x="1267" y="907"/>
                  </a:lnTo>
                  <a:lnTo>
                    <a:pt x="1267" y="906"/>
                  </a:lnTo>
                  <a:lnTo>
                    <a:pt x="1264" y="905"/>
                  </a:lnTo>
                  <a:lnTo>
                    <a:pt x="1260" y="905"/>
                  </a:lnTo>
                  <a:lnTo>
                    <a:pt x="1253" y="908"/>
                  </a:lnTo>
                  <a:lnTo>
                    <a:pt x="1248" y="906"/>
                  </a:lnTo>
                  <a:lnTo>
                    <a:pt x="1246" y="905"/>
                  </a:lnTo>
                  <a:lnTo>
                    <a:pt x="1241" y="900"/>
                  </a:lnTo>
                  <a:lnTo>
                    <a:pt x="1237" y="899"/>
                  </a:lnTo>
                  <a:lnTo>
                    <a:pt x="1234" y="899"/>
                  </a:lnTo>
                  <a:lnTo>
                    <a:pt x="1232" y="899"/>
                  </a:lnTo>
                  <a:lnTo>
                    <a:pt x="1225" y="904"/>
                  </a:lnTo>
                  <a:lnTo>
                    <a:pt x="1220" y="908"/>
                  </a:lnTo>
                  <a:lnTo>
                    <a:pt x="1218" y="912"/>
                  </a:lnTo>
                  <a:lnTo>
                    <a:pt x="1214" y="914"/>
                  </a:lnTo>
                  <a:lnTo>
                    <a:pt x="1211" y="916"/>
                  </a:lnTo>
                  <a:lnTo>
                    <a:pt x="1204" y="917"/>
                  </a:lnTo>
                  <a:lnTo>
                    <a:pt x="1199" y="918"/>
                  </a:lnTo>
                  <a:lnTo>
                    <a:pt x="1196" y="919"/>
                  </a:lnTo>
                  <a:lnTo>
                    <a:pt x="1190" y="919"/>
                  </a:lnTo>
                  <a:lnTo>
                    <a:pt x="1181" y="920"/>
                  </a:lnTo>
                  <a:lnTo>
                    <a:pt x="1177" y="920"/>
                  </a:lnTo>
                  <a:lnTo>
                    <a:pt x="1171" y="919"/>
                  </a:lnTo>
                  <a:lnTo>
                    <a:pt x="1165" y="917"/>
                  </a:lnTo>
                  <a:lnTo>
                    <a:pt x="1157" y="915"/>
                  </a:lnTo>
                  <a:lnTo>
                    <a:pt x="1153" y="911"/>
                  </a:lnTo>
                  <a:lnTo>
                    <a:pt x="1146" y="909"/>
                  </a:lnTo>
                  <a:lnTo>
                    <a:pt x="1142" y="906"/>
                  </a:lnTo>
                  <a:lnTo>
                    <a:pt x="1135" y="898"/>
                  </a:lnTo>
                  <a:lnTo>
                    <a:pt x="1130" y="897"/>
                  </a:lnTo>
                  <a:lnTo>
                    <a:pt x="1122" y="896"/>
                  </a:lnTo>
                  <a:lnTo>
                    <a:pt x="1115" y="896"/>
                  </a:lnTo>
                  <a:lnTo>
                    <a:pt x="1110" y="897"/>
                  </a:lnTo>
                  <a:lnTo>
                    <a:pt x="1096" y="901"/>
                  </a:lnTo>
                  <a:lnTo>
                    <a:pt x="1092" y="900"/>
                  </a:lnTo>
                  <a:lnTo>
                    <a:pt x="1082" y="895"/>
                  </a:lnTo>
                  <a:lnTo>
                    <a:pt x="1079" y="892"/>
                  </a:lnTo>
                  <a:lnTo>
                    <a:pt x="1077" y="888"/>
                  </a:lnTo>
                  <a:lnTo>
                    <a:pt x="1076" y="884"/>
                  </a:lnTo>
                  <a:lnTo>
                    <a:pt x="1076" y="879"/>
                  </a:lnTo>
                  <a:lnTo>
                    <a:pt x="1075" y="877"/>
                  </a:lnTo>
                  <a:lnTo>
                    <a:pt x="1071" y="876"/>
                  </a:lnTo>
                  <a:lnTo>
                    <a:pt x="1065" y="873"/>
                  </a:lnTo>
                  <a:lnTo>
                    <a:pt x="1061" y="870"/>
                  </a:lnTo>
                  <a:lnTo>
                    <a:pt x="1051" y="867"/>
                  </a:lnTo>
                  <a:lnTo>
                    <a:pt x="1044" y="865"/>
                  </a:lnTo>
                  <a:lnTo>
                    <a:pt x="1038" y="865"/>
                  </a:lnTo>
                  <a:lnTo>
                    <a:pt x="1033" y="862"/>
                  </a:lnTo>
                  <a:lnTo>
                    <a:pt x="1026" y="872"/>
                  </a:lnTo>
                  <a:lnTo>
                    <a:pt x="1021" y="880"/>
                  </a:lnTo>
                  <a:lnTo>
                    <a:pt x="1020" y="882"/>
                  </a:lnTo>
                  <a:lnTo>
                    <a:pt x="1022" y="891"/>
                  </a:lnTo>
                  <a:lnTo>
                    <a:pt x="1025" y="893"/>
                  </a:lnTo>
                  <a:lnTo>
                    <a:pt x="1025" y="895"/>
                  </a:lnTo>
                  <a:lnTo>
                    <a:pt x="1024" y="900"/>
                  </a:lnTo>
                  <a:lnTo>
                    <a:pt x="1020" y="905"/>
                  </a:lnTo>
                  <a:lnTo>
                    <a:pt x="1018" y="907"/>
                  </a:lnTo>
                  <a:lnTo>
                    <a:pt x="1014" y="909"/>
                  </a:lnTo>
                  <a:lnTo>
                    <a:pt x="1010" y="909"/>
                  </a:lnTo>
                  <a:lnTo>
                    <a:pt x="1007" y="908"/>
                  </a:lnTo>
                  <a:lnTo>
                    <a:pt x="1005" y="907"/>
                  </a:lnTo>
                  <a:lnTo>
                    <a:pt x="1000" y="906"/>
                  </a:lnTo>
                  <a:lnTo>
                    <a:pt x="995" y="906"/>
                  </a:lnTo>
                  <a:lnTo>
                    <a:pt x="991" y="905"/>
                  </a:lnTo>
                  <a:lnTo>
                    <a:pt x="982" y="906"/>
                  </a:lnTo>
                  <a:lnTo>
                    <a:pt x="978" y="904"/>
                  </a:lnTo>
                  <a:lnTo>
                    <a:pt x="976" y="901"/>
                  </a:lnTo>
                  <a:lnTo>
                    <a:pt x="972" y="894"/>
                  </a:lnTo>
                  <a:lnTo>
                    <a:pt x="967" y="893"/>
                  </a:lnTo>
                  <a:lnTo>
                    <a:pt x="956" y="892"/>
                  </a:lnTo>
                  <a:lnTo>
                    <a:pt x="951" y="890"/>
                  </a:lnTo>
                  <a:lnTo>
                    <a:pt x="945" y="889"/>
                  </a:lnTo>
                  <a:lnTo>
                    <a:pt x="940" y="891"/>
                  </a:lnTo>
                  <a:lnTo>
                    <a:pt x="931" y="895"/>
                  </a:lnTo>
                  <a:lnTo>
                    <a:pt x="925" y="899"/>
                  </a:lnTo>
                  <a:lnTo>
                    <a:pt x="920" y="902"/>
                  </a:lnTo>
                  <a:lnTo>
                    <a:pt x="914" y="909"/>
                  </a:lnTo>
                  <a:lnTo>
                    <a:pt x="914" y="909"/>
                  </a:lnTo>
                  <a:lnTo>
                    <a:pt x="910" y="912"/>
                  </a:lnTo>
                  <a:lnTo>
                    <a:pt x="906" y="913"/>
                  </a:lnTo>
                  <a:lnTo>
                    <a:pt x="898" y="914"/>
                  </a:lnTo>
                  <a:lnTo>
                    <a:pt x="895" y="916"/>
                  </a:lnTo>
                  <a:lnTo>
                    <a:pt x="890" y="920"/>
                  </a:lnTo>
                  <a:lnTo>
                    <a:pt x="889" y="921"/>
                  </a:lnTo>
                  <a:lnTo>
                    <a:pt x="887" y="921"/>
                  </a:lnTo>
                  <a:lnTo>
                    <a:pt x="884" y="921"/>
                  </a:lnTo>
                  <a:lnTo>
                    <a:pt x="883" y="921"/>
                  </a:lnTo>
                  <a:lnTo>
                    <a:pt x="883" y="920"/>
                  </a:lnTo>
                  <a:lnTo>
                    <a:pt x="879" y="920"/>
                  </a:lnTo>
                  <a:lnTo>
                    <a:pt x="877" y="916"/>
                  </a:lnTo>
                  <a:lnTo>
                    <a:pt x="875" y="913"/>
                  </a:lnTo>
                  <a:lnTo>
                    <a:pt x="875" y="910"/>
                  </a:lnTo>
                  <a:lnTo>
                    <a:pt x="871" y="911"/>
                  </a:lnTo>
                  <a:lnTo>
                    <a:pt x="869" y="915"/>
                  </a:lnTo>
                  <a:lnTo>
                    <a:pt x="863" y="914"/>
                  </a:lnTo>
                  <a:lnTo>
                    <a:pt x="858" y="913"/>
                  </a:lnTo>
                  <a:lnTo>
                    <a:pt x="854" y="907"/>
                  </a:lnTo>
                  <a:lnTo>
                    <a:pt x="850" y="902"/>
                  </a:lnTo>
                  <a:lnTo>
                    <a:pt x="845" y="900"/>
                  </a:lnTo>
                  <a:lnTo>
                    <a:pt x="843" y="895"/>
                  </a:lnTo>
                  <a:lnTo>
                    <a:pt x="838" y="889"/>
                  </a:lnTo>
                  <a:lnTo>
                    <a:pt x="834" y="885"/>
                  </a:lnTo>
                  <a:lnTo>
                    <a:pt x="828" y="886"/>
                  </a:lnTo>
                  <a:lnTo>
                    <a:pt x="824" y="888"/>
                  </a:lnTo>
                  <a:lnTo>
                    <a:pt x="818" y="889"/>
                  </a:lnTo>
                  <a:lnTo>
                    <a:pt x="812" y="889"/>
                  </a:lnTo>
                  <a:lnTo>
                    <a:pt x="809" y="889"/>
                  </a:lnTo>
                  <a:lnTo>
                    <a:pt x="808" y="888"/>
                  </a:lnTo>
                  <a:lnTo>
                    <a:pt x="806" y="886"/>
                  </a:lnTo>
                  <a:lnTo>
                    <a:pt x="803" y="886"/>
                  </a:lnTo>
                  <a:lnTo>
                    <a:pt x="803" y="882"/>
                  </a:lnTo>
                  <a:lnTo>
                    <a:pt x="801" y="879"/>
                  </a:lnTo>
                  <a:lnTo>
                    <a:pt x="796" y="879"/>
                  </a:lnTo>
                  <a:lnTo>
                    <a:pt x="793" y="884"/>
                  </a:lnTo>
                  <a:lnTo>
                    <a:pt x="791" y="886"/>
                  </a:lnTo>
                  <a:lnTo>
                    <a:pt x="788" y="889"/>
                  </a:lnTo>
                  <a:lnTo>
                    <a:pt x="782" y="875"/>
                  </a:lnTo>
                  <a:lnTo>
                    <a:pt x="777" y="867"/>
                  </a:lnTo>
                  <a:lnTo>
                    <a:pt x="767" y="846"/>
                  </a:lnTo>
                  <a:lnTo>
                    <a:pt x="761" y="836"/>
                  </a:lnTo>
                  <a:lnTo>
                    <a:pt x="753" y="829"/>
                  </a:lnTo>
                  <a:lnTo>
                    <a:pt x="748" y="826"/>
                  </a:lnTo>
                  <a:lnTo>
                    <a:pt x="742" y="820"/>
                  </a:lnTo>
                  <a:lnTo>
                    <a:pt x="743" y="816"/>
                  </a:lnTo>
                  <a:lnTo>
                    <a:pt x="746" y="815"/>
                  </a:lnTo>
                  <a:lnTo>
                    <a:pt x="746" y="811"/>
                  </a:lnTo>
                  <a:lnTo>
                    <a:pt x="741" y="811"/>
                  </a:lnTo>
                  <a:lnTo>
                    <a:pt x="738" y="814"/>
                  </a:lnTo>
                  <a:lnTo>
                    <a:pt x="733" y="816"/>
                  </a:lnTo>
                  <a:lnTo>
                    <a:pt x="728" y="821"/>
                  </a:lnTo>
                  <a:lnTo>
                    <a:pt x="721" y="823"/>
                  </a:lnTo>
                  <a:lnTo>
                    <a:pt x="717" y="828"/>
                  </a:lnTo>
                  <a:lnTo>
                    <a:pt x="715" y="831"/>
                  </a:lnTo>
                  <a:lnTo>
                    <a:pt x="712" y="829"/>
                  </a:lnTo>
                  <a:lnTo>
                    <a:pt x="709" y="829"/>
                  </a:lnTo>
                  <a:lnTo>
                    <a:pt x="704" y="829"/>
                  </a:lnTo>
                  <a:lnTo>
                    <a:pt x="702" y="831"/>
                  </a:lnTo>
                  <a:lnTo>
                    <a:pt x="700" y="829"/>
                  </a:lnTo>
                  <a:lnTo>
                    <a:pt x="702" y="824"/>
                  </a:lnTo>
                  <a:lnTo>
                    <a:pt x="704" y="822"/>
                  </a:lnTo>
                  <a:lnTo>
                    <a:pt x="706" y="819"/>
                  </a:lnTo>
                  <a:lnTo>
                    <a:pt x="703" y="819"/>
                  </a:lnTo>
                  <a:lnTo>
                    <a:pt x="701" y="822"/>
                  </a:lnTo>
                  <a:lnTo>
                    <a:pt x="698" y="820"/>
                  </a:lnTo>
                  <a:lnTo>
                    <a:pt x="695" y="817"/>
                  </a:lnTo>
                  <a:lnTo>
                    <a:pt x="693" y="817"/>
                  </a:lnTo>
                  <a:lnTo>
                    <a:pt x="692" y="819"/>
                  </a:lnTo>
                  <a:lnTo>
                    <a:pt x="691" y="820"/>
                  </a:lnTo>
                  <a:lnTo>
                    <a:pt x="689" y="818"/>
                  </a:lnTo>
                  <a:lnTo>
                    <a:pt x="687" y="814"/>
                  </a:lnTo>
                  <a:lnTo>
                    <a:pt x="685" y="813"/>
                  </a:lnTo>
                  <a:lnTo>
                    <a:pt x="683" y="815"/>
                  </a:lnTo>
                  <a:lnTo>
                    <a:pt x="681" y="814"/>
                  </a:lnTo>
                  <a:lnTo>
                    <a:pt x="679" y="816"/>
                  </a:lnTo>
                  <a:lnTo>
                    <a:pt x="676" y="815"/>
                  </a:lnTo>
                  <a:lnTo>
                    <a:pt x="674" y="816"/>
                  </a:lnTo>
                  <a:lnTo>
                    <a:pt x="672" y="816"/>
                  </a:lnTo>
                  <a:lnTo>
                    <a:pt x="671" y="813"/>
                  </a:lnTo>
                  <a:lnTo>
                    <a:pt x="673" y="813"/>
                  </a:lnTo>
                  <a:lnTo>
                    <a:pt x="672" y="810"/>
                  </a:lnTo>
                  <a:lnTo>
                    <a:pt x="673" y="807"/>
                  </a:lnTo>
                  <a:lnTo>
                    <a:pt x="674" y="804"/>
                  </a:lnTo>
                  <a:lnTo>
                    <a:pt x="671" y="801"/>
                  </a:lnTo>
                  <a:lnTo>
                    <a:pt x="670" y="799"/>
                  </a:lnTo>
                  <a:lnTo>
                    <a:pt x="670" y="796"/>
                  </a:lnTo>
                  <a:lnTo>
                    <a:pt x="668" y="792"/>
                  </a:lnTo>
                  <a:lnTo>
                    <a:pt x="663" y="792"/>
                  </a:lnTo>
                  <a:lnTo>
                    <a:pt x="659" y="793"/>
                  </a:lnTo>
                  <a:lnTo>
                    <a:pt x="655" y="790"/>
                  </a:lnTo>
                  <a:lnTo>
                    <a:pt x="652" y="789"/>
                  </a:lnTo>
                  <a:lnTo>
                    <a:pt x="646" y="787"/>
                  </a:lnTo>
                  <a:lnTo>
                    <a:pt x="642" y="788"/>
                  </a:lnTo>
                  <a:lnTo>
                    <a:pt x="641" y="790"/>
                  </a:lnTo>
                  <a:lnTo>
                    <a:pt x="638" y="792"/>
                  </a:lnTo>
                  <a:lnTo>
                    <a:pt x="635" y="793"/>
                  </a:lnTo>
                  <a:lnTo>
                    <a:pt x="635" y="796"/>
                  </a:lnTo>
                  <a:lnTo>
                    <a:pt x="632" y="799"/>
                  </a:lnTo>
                  <a:lnTo>
                    <a:pt x="629" y="800"/>
                  </a:lnTo>
                  <a:lnTo>
                    <a:pt x="618" y="801"/>
                  </a:lnTo>
                  <a:lnTo>
                    <a:pt x="606" y="805"/>
                  </a:lnTo>
                  <a:lnTo>
                    <a:pt x="599" y="805"/>
                  </a:lnTo>
                  <a:lnTo>
                    <a:pt x="595" y="809"/>
                  </a:lnTo>
                  <a:lnTo>
                    <a:pt x="594" y="812"/>
                  </a:lnTo>
                  <a:lnTo>
                    <a:pt x="592" y="811"/>
                  </a:lnTo>
                  <a:lnTo>
                    <a:pt x="589" y="812"/>
                  </a:lnTo>
                  <a:lnTo>
                    <a:pt x="580" y="813"/>
                  </a:lnTo>
                  <a:lnTo>
                    <a:pt x="575" y="814"/>
                  </a:lnTo>
                  <a:lnTo>
                    <a:pt x="569" y="814"/>
                  </a:lnTo>
                  <a:lnTo>
                    <a:pt x="561" y="819"/>
                  </a:lnTo>
                  <a:lnTo>
                    <a:pt x="559" y="820"/>
                  </a:lnTo>
                  <a:lnTo>
                    <a:pt x="554" y="820"/>
                  </a:lnTo>
                  <a:lnTo>
                    <a:pt x="551" y="820"/>
                  </a:lnTo>
                  <a:lnTo>
                    <a:pt x="545" y="819"/>
                  </a:lnTo>
                  <a:lnTo>
                    <a:pt x="543" y="820"/>
                  </a:lnTo>
                  <a:lnTo>
                    <a:pt x="542" y="825"/>
                  </a:lnTo>
                  <a:lnTo>
                    <a:pt x="542" y="829"/>
                  </a:lnTo>
                  <a:lnTo>
                    <a:pt x="544" y="831"/>
                  </a:lnTo>
                  <a:lnTo>
                    <a:pt x="542" y="832"/>
                  </a:lnTo>
                  <a:lnTo>
                    <a:pt x="542" y="835"/>
                  </a:lnTo>
                  <a:lnTo>
                    <a:pt x="548" y="837"/>
                  </a:lnTo>
                  <a:lnTo>
                    <a:pt x="554" y="840"/>
                  </a:lnTo>
                  <a:lnTo>
                    <a:pt x="553" y="842"/>
                  </a:lnTo>
                  <a:lnTo>
                    <a:pt x="550" y="843"/>
                  </a:lnTo>
                  <a:lnTo>
                    <a:pt x="544" y="841"/>
                  </a:lnTo>
                  <a:lnTo>
                    <a:pt x="540" y="843"/>
                  </a:lnTo>
                  <a:lnTo>
                    <a:pt x="536" y="848"/>
                  </a:lnTo>
                  <a:lnTo>
                    <a:pt x="537" y="850"/>
                  </a:lnTo>
                  <a:lnTo>
                    <a:pt x="539" y="855"/>
                  </a:lnTo>
                  <a:lnTo>
                    <a:pt x="538" y="858"/>
                  </a:lnTo>
                  <a:lnTo>
                    <a:pt x="534" y="859"/>
                  </a:lnTo>
                  <a:lnTo>
                    <a:pt x="530" y="863"/>
                  </a:lnTo>
                  <a:lnTo>
                    <a:pt x="527" y="864"/>
                  </a:lnTo>
                  <a:lnTo>
                    <a:pt x="528" y="866"/>
                  </a:lnTo>
                  <a:lnTo>
                    <a:pt x="529" y="866"/>
                  </a:lnTo>
                  <a:lnTo>
                    <a:pt x="532" y="867"/>
                  </a:lnTo>
                  <a:lnTo>
                    <a:pt x="531" y="869"/>
                  </a:lnTo>
                  <a:lnTo>
                    <a:pt x="533" y="870"/>
                  </a:lnTo>
                  <a:lnTo>
                    <a:pt x="537" y="871"/>
                  </a:lnTo>
                  <a:lnTo>
                    <a:pt x="539" y="874"/>
                  </a:lnTo>
                  <a:lnTo>
                    <a:pt x="545" y="876"/>
                  </a:lnTo>
                  <a:lnTo>
                    <a:pt x="547" y="878"/>
                  </a:lnTo>
                  <a:lnTo>
                    <a:pt x="546" y="884"/>
                  </a:lnTo>
                  <a:lnTo>
                    <a:pt x="545" y="887"/>
                  </a:lnTo>
                  <a:lnTo>
                    <a:pt x="536" y="891"/>
                  </a:lnTo>
                  <a:lnTo>
                    <a:pt x="530" y="891"/>
                  </a:lnTo>
                  <a:lnTo>
                    <a:pt x="529" y="888"/>
                  </a:lnTo>
                  <a:lnTo>
                    <a:pt x="527" y="888"/>
                  </a:lnTo>
                  <a:lnTo>
                    <a:pt x="526" y="890"/>
                  </a:lnTo>
                  <a:lnTo>
                    <a:pt x="522" y="894"/>
                  </a:lnTo>
                  <a:lnTo>
                    <a:pt x="520" y="892"/>
                  </a:lnTo>
                  <a:lnTo>
                    <a:pt x="515" y="891"/>
                  </a:lnTo>
                  <a:lnTo>
                    <a:pt x="510" y="888"/>
                  </a:lnTo>
                  <a:lnTo>
                    <a:pt x="508" y="883"/>
                  </a:lnTo>
                  <a:lnTo>
                    <a:pt x="504" y="882"/>
                  </a:lnTo>
                  <a:lnTo>
                    <a:pt x="498" y="883"/>
                  </a:lnTo>
                  <a:lnTo>
                    <a:pt x="497" y="886"/>
                  </a:lnTo>
                  <a:lnTo>
                    <a:pt x="493" y="887"/>
                  </a:lnTo>
                  <a:lnTo>
                    <a:pt x="490" y="883"/>
                  </a:lnTo>
                  <a:lnTo>
                    <a:pt x="485" y="883"/>
                  </a:lnTo>
                  <a:lnTo>
                    <a:pt x="481" y="882"/>
                  </a:lnTo>
                  <a:lnTo>
                    <a:pt x="478" y="886"/>
                  </a:lnTo>
                  <a:lnTo>
                    <a:pt x="475" y="889"/>
                  </a:lnTo>
                  <a:lnTo>
                    <a:pt x="474" y="892"/>
                  </a:lnTo>
                  <a:lnTo>
                    <a:pt x="470" y="893"/>
                  </a:lnTo>
                  <a:lnTo>
                    <a:pt x="467" y="891"/>
                  </a:lnTo>
                  <a:lnTo>
                    <a:pt x="463" y="890"/>
                  </a:lnTo>
                  <a:lnTo>
                    <a:pt x="460" y="885"/>
                  </a:lnTo>
                  <a:lnTo>
                    <a:pt x="456" y="884"/>
                  </a:lnTo>
                  <a:lnTo>
                    <a:pt x="456" y="886"/>
                  </a:lnTo>
                  <a:lnTo>
                    <a:pt x="457" y="891"/>
                  </a:lnTo>
                  <a:lnTo>
                    <a:pt x="456" y="893"/>
                  </a:lnTo>
                  <a:lnTo>
                    <a:pt x="454" y="892"/>
                  </a:lnTo>
                  <a:lnTo>
                    <a:pt x="454" y="886"/>
                  </a:lnTo>
                  <a:lnTo>
                    <a:pt x="451" y="884"/>
                  </a:lnTo>
                  <a:lnTo>
                    <a:pt x="447" y="881"/>
                  </a:lnTo>
                  <a:lnTo>
                    <a:pt x="443" y="879"/>
                  </a:lnTo>
                  <a:lnTo>
                    <a:pt x="443" y="876"/>
                  </a:lnTo>
                  <a:lnTo>
                    <a:pt x="437" y="874"/>
                  </a:lnTo>
                  <a:lnTo>
                    <a:pt x="434" y="875"/>
                  </a:lnTo>
                  <a:lnTo>
                    <a:pt x="429" y="874"/>
                  </a:lnTo>
                  <a:lnTo>
                    <a:pt x="427" y="870"/>
                  </a:lnTo>
                  <a:lnTo>
                    <a:pt x="425" y="869"/>
                  </a:lnTo>
                  <a:lnTo>
                    <a:pt x="421" y="871"/>
                  </a:lnTo>
                  <a:lnTo>
                    <a:pt x="419" y="872"/>
                  </a:lnTo>
                  <a:lnTo>
                    <a:pt x="415" y="874"/>
                  </a:lnTo>
                  <a:lnTo>
                    <a:pt x="414" y="871"/>
                  </a:lnTo>
                  <a:lnTo>
                    <a:pt x="411" y="871"/>
                  </a:lnTo>
                  <a:lnTo>
                    <a:pt x="407" y="870"/>
                  </a:lnTo>
                  <a:lnTo>
                    <a:pt x="404" y="873"/>
                  </a:lnTo>
                  <a:lnTo>
                    <a:pt x="401" y="877"/>
                  </a:lnTo>
                  <a:lnTo>
                    <a:pt x="396" y="880"/>
                  </a:lnTo>
                  <a:lnTo>
                    <a:pt x="393" y="881"/>
                  </a:lnTo>
                  <a:lnTo>
                    <a:pt x="390" y="882"/>
                  </a:lnTo>
                  <a:lnTo>
                    <a:pt x="388" y="885"/>
                  </a:lnTo>
                  <a:lnTo>
                    <a:pt x="387" y="888"/>
                  </a:lnTo>
                  <a:lnTo>
                    <a:pt x="382" y="891"/>
                  </a:lnTo>
                  <a:lnTo>
                    <a:pt x="379" y="893"/>
                  </a:lnTo>
                  <a:lnTo>
                    <a:pt x="379" y="897"/>
                  </a:lnTo>
                  <a:lnTo>
                    <a:pt x="380" y="901"/>
                  </a:lnTo>
                  <a:lnTo>
                    <a:pt x="380" y="905"/>
                  </a:lnTo>
                  <a:lnTo>
                    <a:pt x="377" y="907"/>
                  </a:lnTo>
                  <a:lnTo>
                    <a:pt x="374" y="907"/>
                  </a:lnTo>
                  <a:lnTo>
                    <a:pt x="371" y="904"/>
                  </a:lnTo>
                  <a:lnTo>
                    <a:pt x="368" y="898"/>
                  </a:lnTo>
                  <a:lnTo>
                    <a:pt x="365" y="897"/>
                  </a:lnTo>
                  <a:lnTo>
                    <a:pt x="362" y="897"/>
                  </a:lnTo>
                  <a:lnTo>
                    <a:pt x="362" y="900"/>
                  </a:lnTo>
                  <a:lnTo>
                    <a:pt x="360" y="905"/>
                  </a:lnTo>
                  <a:lnTo>
                    <a:pt x="355" y="906"/>
                  </a:lnTo>
                  <a:lnTo>
                    <a:pt x="354" y="918"/>
                  </a:lnTo>
                  <a:lnTo>
                    <a:pt x="356" y="919"/>
                  </a:lnTo>
                  <a:lnTo>
                    <a:pt x="357" y="922"/>
                  </a:lnTo>
                  <a:lnTo>
                    <a:pt x="356" y="924"/>
                  </a:lnTo>
                  <a:lnTo>
                    <a:pt x="353" y="926"/>
                  </a:lnTo>
                  <a:lnTo>
                    <a:pt x="349" y="937"/>
                  </a:lnTo>
                  <a:lnTo>
                    <a:pt x="358" y="940"/>
                  </a:lnTo>
                  <a:lnTo>
                    <a:pt x="358" y="943"/>
                  </a:lnTo>
                  <a:lnTo>
                    <a:pt x="358" y="946"/>
                  </a:lnTo>
                  <a:lnTo>
                    <a:pt x="361" y="950"/>
                  </a:lnTo>
                  <a:lnTo>
                    <a:pt x="361" y="947"/>
                  </a:lnTo>
                  <a:lnTo>
                    <a:pt x="365" y="949"/>
                  </a:lnTo>
                  <a:lnTo>
                    <a:pt x="367" y="949"/>
                  </a:lnTo>
                  <a:lnTo>
                    <a:pt x="370" y="949"/>
                  </a:lnTo>
                  <a:lnTo>
                    <a:pt x="373" y="953"/>
                  </a:lnTo>
                  <a:lnTo>
                    <a:pt x="376" y="955"/>
                  </a:lnTo>
                  <a:lnTo>
                    <a:pt x="378" y="959"/>
                  </a:lnTo>
                  <a:lnTo>
                    <a:pt x="383" y="969"/>
                  </a:lnTo>
                  <a:lnTo>
                    <a:pt x="383" y="970"/>
                  </a:lnTo>
                  <a:lnTo>
                    <a:pt x="380" y="969"/>
                  </a:lnTo>
                  <a:lnTo>
                    <a:pt x="378" y="968"/>
                  </a:lnTo>
                  <a:lnTo>
                    <a:pt x="376" y="969"/>
                  </a:lnTo>
                  <a:lnTo>
                    <a:pt x="377" y="972"/>
                  </a:lnTo>
                  <a:lnTo>
                    <a:pt x="382" y="975"/>
                  </a:lnTo>
                  <a:lnTo>
                    <a:pt x="385" y="976"/>
                  </a:lnTo>
                  <a:lnTo>
                    <a:pt x="384" y="978"/>
                  </a:lnTo>
                  <a:lnTo>
                    <a:pt x="382" y="981"/>
                  </a:lnTo>
                  <a:lnTo>
                    <a:pt x="380" y="982"/>
                  </a:lnTo>
                  <a:lnTo>
                    <a:pt x="379" y="982"/>
                  </a:lnTo>
                  <a:lnTo>
                    <a:pt x="379" y="983"/>
                  </a:lnTo>
                  <a:lnTo>
                    <a:pt x="379" y="985"/>
                  </a:lnTo>
                  <a:lnTo>
                    <a:pt x="378" y="985"/>
                  </a:lnTo>
                  <a:lnTo>
                    <a:pt x="376" y="984"/>
                  </a:lnTo>
                  <a:lnTo>
                    <a:pt x="374" y="985"/>
                  </a:lnTo>
                  <a:lnTo>
                    <a:pt x="372" y="987"/>
                  </a:lnTo>
                  <a:lnTo>
                    <a:pt x="368" y="988"/>
                  </a:lnTo>
                  <a:lnTo>
                    <a:pt x="366" y="989"/>
                  </a:lnTo>
                  <a:lnTo>
                    <a:pt x="365" y="988"/>
                  </a:lnTo>
                  <a:lnTo>
                    <a:pt x="364" y="988"/>
                  </a:lnTo>
                  <a:lnTo>
                    <a:pt x="363" y="988"/>
                  </a:lnTo>
                  <a:lnTo>
                    <a:pt x="363" y="990"/>
                  </a:lnTo>
                  <a:lnTo>
                    <a:pt x="364" y="992"/>
                  </a:lnTo>
                  <a:lnTo>
                    <a:pt x="362" y="993"/>
                  </a:lnTo>
                  <a:lnTo>
                    <a:pt x="361" y="996"/>
                  </a:lnTo>
                  <a:lnTo>
                    <a:pt x="360" y="999"/>
                  </a:lnTo>
                  <a:lnTo>
                    <a:pt x="358" y="1002"/>
                  </a:lnTo>
                  <a:lnTo>
                    <a:pt x="357" y="1004"/>
                  </a:lnTo>
                  <a:lnTo>
                    <a:pt x="355" y="1006"/>
                  </a:lnTo>
                  <a:lnTo>
                    <a:pt x="353" y="1008"/>
                  </a:lnTo>
                  <a:lnTo>
                    <a:pt x="353" y="1010"/>
                  </a:lnTo>
                  <a:lnTo>
                    <a:pt x="353" y="1012"/>
                  </a:lnTo>
                  <a:lnTo>
                    <a:pt x="355" y="1014"/>
                  </a:lnTo>
                  <a:lnTo>
                    <a:pt x="357" y="1014"/>
                  </a:lnTo>
                  <a:lnTo>
                    <a:pt x="358" y="1016"/>
                  </a:lnTo>
                  <a:lnTo>
                    <a:pt x="359" y="1017"/>
                  </a:lnTo>
                  <a:lnTo>
                    <a:pt x="361" y="1020"/>
                  </a:lnTo>
                  <a:lnTo>
                    <a:pt x="362" y="1023"/>
                  </a:lnTo>
                  <a:lnTo>
                    <a:pt x="362" y="1026"/>
                  </a:lnTo>
                  <a:lnTo>
                    <a:pt x="361" y="1028"/>
                  </a:lnTo>
                  <a:lnTo>
                    <a:pt x="362" y="1029"/>
                  </a:lnTo>
                  <a:lnTo>
                    <a:pt x="362" y="1027"/>
                  </a:lnTo>
                  <a:lnTo>
                    <a:pt x="363" y="1024"/>
                  </a:lnTo>
                  <a:lnTo>
                    <a:pt x="364" y="1023"/>
                  </a:lnTo>
                  <a:lnTo>
                    <a:pt x="365" y="1023"/>
                  </a:lnTo>
                  <a:lnTo>
                    <a:pt x="364" y="1026"/>
                  </a:lnTo>
                  <a:lnTo>
                    <a:pt x="362" y="1029"/>
                  </a:lnTo>
                  <a:lnTo>
                    <a:pt x="363" y="1032"/>
                  </a:lnTo>
                  <a:lnTo>
                    <a:pt x="364" y="1033"/>
                  </a:lnTo>
                  <a:lnTo>
                    <a:pt x="362" y="1035"/>
                  </a:lnTo>
                  <a:lnTo>
                    <a:pt x="362" y="1038"/>
                  </a:lnTo>
                  <a:lnTo>
                    <a:pt x="365" y="1040"/>
                  </a:lnTo>
                  <a:lnTo>
                    <a:pt x="365" y="1041"/>
                  </a:lnTo>
                  <a:lnTo>
                    <a:pt x="366" y="1045"/>
                  </a:lnTo>
                  <a:lnTo>
                    <a:pt x="368" y="1045"/>
                  </a:lnTo>
                  <a:lnTo>
                    <a:pt x="370" y="1049"/>
                  </a:lnTo>
                  <a:lnTo>
                    <a:pt x="371" y="1051"/>
                  </a:lnTo>
                  <a:lnTo>
                    <a:pt x="374" y="1054"/>
                  </a:lnTo>
                  <a:lnTo>
                    <a:pt x="374" y="1057"/>
                  </a:lnTo>
                  <a:lnTo>
                    <a:pt x="377" y="1057"/>
                  </a:lnTo>
                  <a:lnTo>
                    <a:pt x="377" y="1059"/>
                  </a:lnTo>
                  <a:lnTo>
                    <a:pt x="375" y="1062"/>
                  </a:lnTo>
                  <a:lnTo>
                    <a:pt x="372" y="1065"/>
                  </a:lnTo>
                  <a:lnTo>
                    <a:pt x="371" y="1065"/>
                  </a:lnTo>
                  <a:lnTo>
                    <a:pt x="369" y="1068"/>
                  </a:lnTo>
                  <a:lnTo>
                    <a:pt x="368" y="1069"/>
                  </a:lnTo>
                  <a:lnTo>
                    <a:pt x="366" y="1070"/>
                  </a:lnTo>
                  <a:lnTo>
                    <a:pt x="363" y="1069"/>
                  </a:lnTo>
                  <a:lnTo>
                    <a:pt x="359" y="1068"/>
                  </a:lnTo>
                  <a:lnTo>
                    <a:pt x="359" y="1066"/>
                  </a:lnTo>
                  <a:lnTo>
                    <a:pt x="358" y="1063"/>
                  </a:lnTo>
                  <a:lnTo>
                    <a:pt x="357" y="1063"/>
                  </a:lnTo>
                  <a:lnTo>
                    <a:pt x="357" y="1062"/>
                  </a:lnTo>
                  <a:lnTo>
                    <a:pt x="354" y="1060"/>
                  </a:lnTo>
                  <a:lnTo>
                    <a:pt x="353" y="1059"/>
                  </a:lnTo>
                  <a:lnTo>
                    <a:pt x="352" y="1059"/>
                  </a:lnTo>
                  <a:lnTo>
                    <a:pt x="351" y="1059"/>
                  </a:lnTo>
                  <a:lnTo>
                    <a:pt x="350" y="1058"/>
                  </a:lnTo>
                  <a:lnTo>
                    <a:pt x="349" y="1058"/>
                  </a:lnTo>
                  <a:lnTo>
                    <a:pt x="349" y="1056"/>
                  </a:lnTo>
                  <a:lnTo>
                    <a:pt x="347" y="1056"/>
                  </a:lnTo>
                  <a:lnTo>
                    <a:pt x="346" y="1056"/>
                  </a:lnTo>
                  <a:lnTo>
                    <a:pt x="344" y="1056"/>
                  </a:lnTo>
                  <a:lnTo>
                    <a:pt x="343" y="1055"/>
                  </a:lnTo>
                  <a:lnTo>
                    <a:pt x="341" y="1054"/>
                  </a:lnTo>
                  <a:lnTo>
                    <a:pt x="339" y="1051"/>
                  </a:lnTo>
                  <a:lnTo>
                    <a:pt x="340" y="1049"/>
                  </a:lnTo>
                  <a:lnTo>
                    <a:pt x="340" y="1047"/>
                  </a:lnTo>
                  <a:lnTo>
                    <a:pt x="340" y="1046"/>
                  </a:lnTo>
                  <a:lnTo>
                    <a:pt x="337" y="1046"/>
                  </a:lnTo>
                  <a:lnTo>
                    <a:pt x="335" y="1046"/>
                  </a:lnTo>
                  <a:lnTo>
                    <a:pt x="334" y="1045"/>
                  </a:lnTo>
                  <a:lnTo>
                    <a:pt x="333" y="1044"/>
                  </a:lnTo>
                  <a:lnTo>
                    <a:pt x="331" y="1044"/>
                  </a:lnTo>
                  <a:lnTo>
                    <a:pt x="331" y="1043"/>
                  </a:lnTo>
                  <a:lnTo>
                    <a:pt x="329" y="1042"/>
                  </a:lnTo>
                  <a:lnTo>
                    <a:pt x="329" y="1042"/>
                  </a:lnTo>
                  <a:lnTo>
                    <a:pt x="328" y="1043"/>
                  </a:lnTo>
                  <a:lnTo>
                    <a:pt x="327" y="1044"/>
                  </a:lnTo>
                  <a:lnTo>
                    <a:pt x="326" y="1043"/>
                  </a:lnTo>
                  <a:lnTo>
                    <a:pt x="325" y="1042"/>
                  </a:lnTo>
                  <a:lnTo>
                    <a:pt x="322" y="1042"/>
                  </a:lnTo>
                  <a:lnTo>
                    <a:pt x="321" y="1043"/>
                  </a:lnTo>
                  <a:lnTo>
                    <a:pt x="321" y="1044"/>
                  </a:lnTo>
                  <a:lnTo>
                    <a:pt x="320" y="1045"/>
                  </a:lnTo>
                  <a:lnTo>
                    <a:pt x="318" y="1045"/>
                  </a:lnTo>
                  <a:lnTo>
                    <a:pt x="316" y="1046"/>
                  </a:lnTo>
                  <a:lnTo>
                    <a:pt x="315" y="1045"/>
                  </a:lnTo>
                  <a:lnTo>
                    <a:pt x="314" y="1044"/>
                  </a:lnTo>
                  <a:lnTo>
                    <a:pt x="314" y="1044"/>
                  </a:lnTo>
                  <a:lnTo>
                    <a:pt x="315" y="1042"/>
                  </a:lnTo>
                  <a:lnTo>
                    <a:pt x="313" y="1042"/>
                  </a:lnTo>
                  <a:lnTo>
                    <a:pt x="311" y="1041"/>
                  </a:lnTo>
                  <a:lnTo>
                    <a:pt x="310" y="1040"/>
                  </a:lnTo>
                  <a:lnTo>
                    <a:pt x="307" y="1039"/>
                  </a:lnTo>
                  <a:lnTo>
                    <a:pt x="305" y="1038"/>
                  </a:lnTo>
                  <a:lnTo>
                    <a:pt x="304" y="1036"/>
                  </a:lnTo>
                  <a:lnTo>
                    <a:pt x="302" y="1035"/>
                  </a:lnTo>
                  <a:lnTo>
                    <a:pt x="301" y="1035"/>
                  </a:lnTo>
                  <a:lnTo>
                    <a:pt x="299" y="1035"/>
                  </a:lnTo>
                  <a:lnTo>
                    <a:pt x="297" y="1034"/>
                  </a:lnTo>
                  <a:lnTo>
                    <a:pt x="294" y="1034"/>
                  </a:lnTo>
                  <a:lnTo>
                    <a:pt x="291" y="1035"/>
                  </a:lnTo>
                  <a:lnTo>
                    <a:pt x="290" y="1035"/>
                  </a:lnTo>
                  <a:lnTo>
                    <a:pt x="287" y="1034"/>
                  </a:lnTo>
                  <a:lnTo>
                    <a:pt x="286" y="1034"/>
                  </a:lnTo>
                  <a:lnTo>
                    <a:pt x="284" y="1033"/>
                  </a:lnTo>
                  <a:lnTo>
                    <a:pt x="283" y="1032"/>
                  </a:lnTo>
                  <a:lnTo>
                    <a:pt x="281" y="1032"/>
                  </a:lnTo>
                  <a:lnTo>
                    <a:pt x="280" y="1032"/>
                  </a:lnTo>
                  <a:lnTo>
                    <a:pt x="278" y="1031"/>
                  </a:lnTo>
                  <a:lnTo>
                    <a:pt x="277" y="1030"/>
                  </a:lnTo>
                  <a:lnTo>
                    <a:pt x="276" y="1029"/>
                  </a:lnTo>
                  <a:lnTo>
                    <a:pt x="274" y="1029"/>
                  </a:lnTo>
                  <a:lnTo>
                    <a:pt x="271" y="1029"/>
                  </a:lnTo>
                  <a:lnTo>
                    <a:pt x="269" y="1028"/>
                  </a:lnTo>
                  <a:lnTo>
                    <a:pt x="269" y="1028"/>
                  </a:lnTo>
                  <a:lnTo>
                    <a:pt x="267" y="1027"/>
                  </a:lnTo>
                  <a:lnTo>
                    <a:pt x="265" y="1029"/>
                  </a:lnTo>
                  <a:lnTo>
                    <a:pt x="265" y="1031"/>
                  </a:lnTo>
                  <a:lnTo>
                    <a:pt x="256" y="1023"/>
                  </a:lnTo>
                  <a:lnTo>
                    <a:pt x="250" y="1016"/>
                  </a:lnTo>
                  <a:lnTo>
                    <a:pt x="245" y="1013"/>
                  </a:lnTo>
                  <a:lnTo>
                    <a:pt x="241" y="1012"/>
                  </a:lnTo>
                  <a:lnTo>
                    <a:pt x="239" y="1011"/>
                  </a:lnTo>
                  <a:lnTo>
                    <a:pt x="236" y="1007"/>
                  </a:lnTo>
                  <a:lnTo>
                    <a:pt x="235" y="1006"/>
                  </a:lnTo>
                  <a:lnTo>
                    <a:pt x="232" y="1008"/>
                  </a:lnTo>
                  <a:lnTo>
                    <a:pt x="230" y="1008"/>
                  </a:lnTo>
                  <a:lnTo>
                    <a:pt x="229" y="1003"/>
                  </a:lnTo>
                  <a:lnTo>
                    <a:pt x="224" y="997"/>
                  </a:lnTo>
                  <a:lnTo>
                    <a:pt x="227" y="996"/>
                  </a:lnTo>
                  <a:lnTo>
                    <a:pt x="230" y="996"/>
                  </a:lnTo>
                  <a:lnTo>
                    <a:pt x="233" y="995"/>
                  </a:lnTo>
                  <a:lnTo>
                    <a:pt x="233" y="991"/>
                  </a:lnTo>
                  <a:lnTo>
                    <a:pt x="236" y="987"/>
                  </a:lnTo>
                  <a:lnTo>
                    <a:pt x="237" y="983"/>
                  </a:lnTo>
                  <a:lnTo>
                    <a:pt x="240" y="983"/>
                  </a:lnTo>
                  <a:lnTo>
                    <a:pt x="244" y="982"/>
                  </a:lnTo>
                  <a:lnTo>
                    <a:pt x="241" y="977"/>
                  </a:lnTo>
                  <a:lnTo>
                    <a:pt x="237" y="975"/>
                  </a:lnTo>
                  <a:lnTo>
                    <a:pt x="234" y="972"/>
                  </a:lnTo>
                  <a:lnTo>
                    <a:pt x="236" y="971"/>
                  </a:lnTo>
                  <a:lnTo>
                    <a:pt x="238" y="970"/>
                  </a:lnTo>
                  <a:lnTo>
                    <a:pt x="243" y="969"/>
                  </a:lnTo>
                  <a:lnTo>
                    <a:pt x="247" y="966"/>
                  </a:lnTo>
                  <a:lnTo>
                    <a:pt x="254" y="963"/>
                  </a:lnTo>
                  <a:lnTo>
                    <a:pt x="253" y="960"/>
                  </a:lnTo>
                  <a:lnTo>
                    <a:pt x="253" y="959"/>
                  </a:lnTo>
                  <a:lnTo>
                    <a:pt x="248" y="960"/>
                  </a:lnTo>
                  <a:lnTo>
                    <a:pt x="240" y="961"/>
                  </a:lnTo>
                  <a:lnTo>
                    <a:pt x="240" y="960"/>
                  </a:lnTo>
                  <a:lnTo>
                    <a:pt x="240" y="959"/>
                  </a:lnTo>
                  <a:lnTo>
                    <a:pt x="240" y="957"/>
                  </a:lnTo>
                  <a:lnTo>
                    <a:pt x="241" y="953"/>
                  </a:lnTo>
                  <a:lnTo>
                    <a:pt x="242" y="952"/>
                  </a:lnTo>
                  <a:lnTo>
                    <a:pt x="244" y="952"/>
                  </a:lnTo>
                  <a:lnTo>
                    <a:pt x="247" y="951"/>
                  </a:lnTo>
                  <a:lnTo>
                    <a:pt x="248" y="949"/>
                  </a:lnTo>
                  <a:lnTo>
                    <a:pt x="248" y="948"/>
                  </a:lnTo>
                  <a:lnTo>
                    <a:pt x="250" y="948"/>
                  </a:lnTo>
                  <a:lnTo>
                    <a:pt x="254" y="947"/>
                  </a:lnTo>
                  <a:lnTo>
                    <a:pt x="259" y="948"/>
                  </a:lnTo>
                  <a:lnTo>
                    <a:pt x="260" y="947"/>
                  </a:lnTo>
                  <a:lnTo>
                    <a:pt x="260" y="946"/>
                  </a:lnTo>
                  <a:lnTo>
                    <a:pt x="262" y="943"/>
                  </a:lnTo>
                  <a:lnTo>
                    <a:pt x="262" y="939"/>
                  </a:lnTo>
                  <a:lnTo>
                    <a:pt x="262" y="939"/>
                  </a:lnTo>
                  <a:lnTo>
                    <a:pt x="262" y="937"/>
                  </a:lnTo>
                  <a:lnTo>
                    <a:pt x="261" y="935"/>
                  </a:lnTo>
                  <a:lnTo>
                    <a:pt x="261" y="934"/>
                  </a:lnTo>
                  <a:lnTo>
                    <a:pt x="260" y="933"/>
                  </a:lnTo>
                  <a:lnTo>
                    <a:pt x="259" y="933"/>
                  </a:lnTo>
                  <a:lnTo>
                    <a:pt x="259" y="931"/>
                  </a:lnTo>
                  <a:lnTo>
                    <a:pt x="260" y="929"/>
                  </a:lnTo>
                  <a:lnTo>
                    <a:pt x="261" y="929"/>
                  </a:lnTo>
                  <a:lnTo>
                    <a:pt x="263" y="929"/>
                  </a:lnTo>
                  <a:lnTo>
                    <a:pt x="263" y="928"/>
                  </a:lnTo>
                  <a:lnTo>
                    <a:pt x="262" y="927"/>
                  </a:lnTo>
                  <a:lnTo>
                    <a:pt x="260" y="927"/>
                  </a:lnTo>
                  <a:lnTo>
                    <a:pt x="259" y="924"/>
                  </a:lnTo>
                  <a:lnTo>
                    <a:pt x="261" y="924"/>
                  </a:lnTo>
                  <a:lnTo>
                    <a:pt x="263" y="922"/>
                  </a:lnTo>
                  <a:lnTo>
                    <a:pt x="264" y="922"/>
                  </a:lnTo>
                  <a:lnTo>
                    <a:pt x="265" y="921"/>
                  </a:lnTo>
                  <a:lnTo>
                    <a:pt x="265" y="919"/>
                  </a:lnTo>
                  <a:lnTo>
                    <a:pt x="265" y="917"/>
                  </a:lnTo>
                  <a:lnTo>
                    <a:pt x="264" y="916"/>
                  </a:lnTo>
                  <a:lnTo>
                    <a:pt x="264" y="915"/>
                  </a:lnTo>
                  <a:lnTo>
                    <a:pt x="265" y="914"/>
                  </a:lnTo>
                  <a:lnTo>
                    <a:pt x="264" y="913"/>
                  </a:lnTo>
                  <a:lnTo>
                    <a:pt x="263" y="914"/>
                  </a:lnTo>
                  <a:lnTo>
                    <a:pt x="262" y="914"/>
                  </a:lnTo>
                  <a:lnTo>
                    <a:pt x="260" y="914"/>
                  </a:lnTo>
                  <a:lnTo>
                    <a:pt x="258" y="913"/>
                  </a:lnTo>
                  <a:lnTo>
                    <a:pt x="257" y="910"/>
                  </a:lnTo>
                  <a:lnTo>
                    <a:pt x="255" y="910"/>
                  </a:lnTo>
                  <a:lnTo>
                    <a:pt x="253" y="910"/>
                  </a:lnTo>
                  <a:lnTo>
                    <a:pt x="252" y="908"/>
                  </a:lnTo>
                  <a:lnTo>
                    <a:pt x="250" y="909"/>
                  </a:lnTo>
                  <a:lnTo>
                    <a:pt x="248" y="907"/>
                  </a:lnTo>
                  <a:lnTo>
                    <a:pt x="245" y="907"/>
                  </a:lnTo>
                  <a:lnTo>
                    <a:pt x="243" y="906"/>
                  </a:lnTo>
                  <a:lnTo>
                    <a:pt x="241" y="903"/>
                  </a:lnTo>
                  <a:lnTo>
                    <a:pt x="240" y="904"/>
                  </a:lnTo>
                  <a:lnTo>
                    <a:pt x="240" y="906"/>
                  </a:lnTo>
                  <a:lnTo>
                    <a:pt x="238" y="907"/>
                  </a:lnTo>
                  <a:lnTo>
                    <a:pt x="237" y="906"/>
                  </a:lnTo>
                  <a:lnTo>
                    <a:pt x="236" y="904"/>
                  </a:lnTo>
                  <a:lnTo>
                    <a:pt x="233" y="904"/>
                  </a:lnTo>
                  <a:lnTo>
                    <a:pt x="233" y="903"/>
                  </a:lnTo>
                  <a:lnTo>
                    <a:pt x="232" y="901"/>
                  </a:lnTo>
                  <a:lnTo>
                    <a:pt x="232" y="900"/>
                  </a:lnTo>
                  <a:lnTo>
                    <a:pt x="230" y="898"/>
                  </a:lnTo>
                  <a:lnTo>
                    <a:pt x="230" y="897"/>
                  </a:lnTo>
                  <a:lnTo>
                    <a:pt x="227" y="897"/>
                  </a:lnTo>
                  <a:lnTo>
                    <a:pt x="224" y="898"/>
                  </a:lnTo>
                  <a:lnTo>
                    <a:pt x="223" y="898"/>
                  </a:lnTo>
                  <a:lnTo>
                    <a:pt x="221" y="899"/>
                  </a:lnTo>
                  <a:lnTo>
                    <a:pt x="218" y="900"/>
                  </a:lnTo>
                  <a:lnTo>
                    <a:pt x="217" y="899"/>
                  </a:lnTo>
                  <a:lnTo>
                    <a:pt x="217" y="899"/>
                  </a:lnTo>
                  <a:lnTo>
                    <a:pt x="215" y="899"/>
                  </a:lnTo>
                  <a:lnTo>
                    <a:pt x="212" y="897"/>
                  </a:lnTo>
                  <a:lnTo>
                    <a:pt x="211" y="896"/>
                  </a:lnTo>
                  <a:lnTo>
                    <a:pt x="208" y="897"/>
                  </a:lnTo>
                  <a:lnTo>
                    <a:pt x="206" y="898"/>
                  </a:lnTo>
                  <a:lnTo>
                    <a:pt x="205" y="896"/>
                  </a:lnTo>
                  <a:lnTo>
                    <a:pt x="204" y="895"/>
                  </a:lnTo>
                  <a:lnTo>
                    <a:pt x="203" y="893"/>
                  </a:lnTo>
                  <a:lnTo>
                    <a:pt x="204" y="891"/>
                  </a:lnTo>
                  <a:lnTo>
                    <a:pt x="203" y="889"/>
                  </a:lnTo>
                  <a:lnTo>
                    <a:pt x="202" y="886"/>
                  </a:lnTo>
                  <a:lnTo>
                    <a:pt x="202" y="883"/>
                  </a:lnTo>
                  <a:lnTo>
                    <a:pt x="200" y="883"/>
                  </a:lnTo>
                  <a:lnTo>
                    <a:pt x="200" y="880"/>
                  </a:lnTo>
                  <a:lnTo>
                    <a:pt x="197" y="880"/>
                  </a:lnTo>
                  <a:lnTo>
                    <a:pt x="194" y="880"/>
                  </a:lnTo>
                  <a:lnTo>
                    <a:pt x="193" y="879"/>
                  </a:lnTo>
                  <a:lnTo>
                    <a:pt x="190" y="879"/>
                  </a:lnTo>
                  <a:lnTo>
                    <a:pt x="188" y="877"/>
                  </a:lnTo>
                  <a:lnTo>
                    <a:pt x="187" y="873"/>
                  </a:lnTo>
                  <a:lnTo>
                    <a:pt x="187" y="871"/>
                  </a:lnTo>
                  <a:lnTo>
                    <a:pt x="188" y="869"/>
                  </a:lnTo>
                  <a:lnTo>
                    <a:pt x="190" y="870"/>
                  </a:lnTo>
                  <a:lnTo>
                    <a:pt x="190" y="867"/>
                  </a:lnTo>
                  <a:lnTo>
                    <a:pt x="188" y="865"/>
                  </a:lnTo>
                  <a:lnTo>
                    <a:pt x="187" y="864"/>
                  </a:lnTo>
                  <a:lnTo>
                    <a:pt x="186" y="862"/>
                  </a:lnTo>
                  <a:lnTo>
                    <a:pt x="185" y="859"/>
                  </a:lnTo>
                  <a:lnTo>
                    <a:pt x="183" y="858"/>
                  </a:lnTo>
                  <a:lnTo>
                    <a:pt x="182" y="855"/>
                  </a:lnTo>
                  <a:lnTo>
                    <a:pt x="179" y="856"/>
                  </a:lnTo>
                  <a:lnTo>
                    <a:pt x="175" y="855"/>
                  </a:lnTo>
                  <a:lnTo>
                    <a:pt x="171" y="857"/>
                  </a:lnTo>
                  <a:lnTo>
                    <a:pt x="167" y="858"/>
                  </a:lnTo>
                  <a:lnTo>
                    <a:pt x="164" y="855"/>
                  </a:lnTo>
                  <a:lnTo>
                    <a:pt x="164" y="858"/>
                  </a:lnTo>
                  <a:lnTo>
                    <a:pt x="163" y="861"/>
                  </a:lnTo>
                  <a:lnTo>
                    <a:pt x="161" y="862"/>
                  </a:lnTo>
                  <a:lnTo>
                    <a:pt x="158" y="862"/>
                  </a:lnTo>
                  <a:lnTo>
                    <a:pt x="156" y="861"/>
                  </a:lnTo>
                  <a:close/>
                  <a:moveTo>
                    <a:pt x="1605" y="830"/>
                  </a:moveTo>
                  <a:lnTo>
                    <a:pt x="1607" y="834"/>
                  </a:lnTo>
                  <a:lnTo>
                    <a:pt x="1610" y="841"/>
                  </a:lnTo>
                  <a:lnTo>
                    <a:pt x="1611" y="845"/>
                  </a:lnTo>
                  <a:lnTo>
                    <a:pt x="1611" y="852"/>
                  </a:lnTo>
                  <a:lnTo>
                    <a:pt x="1610" y="857"/>
                  </a:lnTo>
                  <a:lnTo>
                    <a:pt x="1609" y="864"/>
                  </a:lnTo>
                  <a:lnTo>
                    <a:pt x="1609" y="871"/>
                  </a:lnTo>
                  <a:lnTo>
                    <a:pt x="1610" y="879"/>
                  </a:lnTo>
                  <a:lnTo>
                    <a:pt x="1614" y="887"/>
                  </a:lnTo>
                  <a:lnTo>
                    <a:pt x="1618" y="900"/>
                  </a:lnTo>
                  <a:lnTo>
                    <a:pt x="1623" y="915"/>
                  </a:lnTo>
                  <a:lnTo>
                    <a:pt x="1630" y="930"/>
                  </a:lnTo>
                  <a:lnTo>
                    <a:pt x="1622" y="924"/>
                  </a:lnTo>
                  <a:lnTo>
                    <a:pt x="1617" y="921"/>
                  </a:lnTo>
                  <a:lnTo>
                    <a:pt x="1611" y="920"/>
                  </a:lnTo>
                  <a:lnTo>
                    <a:pt x="1610" y="921"/>
                  </a:lnTo>
                  <a:lnTo>
                    <a:pt x="1607" y="922"/>
                  </a:lnTo>
                  <a:lnTo>
                    <a:pt x="1605" y="932"/>
                  </a:lnTo>
                  <a:lnTo>
                    <a:pt x="1603" y="942"/>
                  </a:lnTo>
                  <a:lnTo>
                    <a:pt x="1603" y="947"/>
                  </a:lnTo>
                  <a:lnTo>
                    <a:pt x="1604" y="955"/>
                  </a:lnTo>
                  <a:lnTo>
                    <a:pt x="1606" y="957"/>
                  </a:lnTo>
                  <a:lnTo>
                    <a:pt x="1609" y="965"/>
                  </a:lnTo>
                  <a:lnTo>
                    <a:pt x="1612" y="967"/>
                  </a:lnTo>
                  <a:lnTo>
                    <a:pt x="1615" y="972"/>
                  </a:lnTo>
                  <a:lnTo>
                    <a:pt x="1613" y="983"/>
                  </a:lnTo>
                  <a:lnTo>
                    <a:pt x="1609" y="972"/>
                  </a:lnTo>
                  <a:lnTo>
                    <a:pt x="1604" y="970"/>
                  </a:lnTo>
                  <a:lnTo>
                    <a:pt x="1603" y="970"/>
                  </a:lnTo>
                  <a:lnTo>
                    <a:pt x="1601" y="972"/>
                  </a:lnTo>
                  <a:lnTo>
                    <a:pt x="1599" y="977"/>
                  </a:lnTo>
                  <a:lnTo>
                    <a:pt x="1595" y="985"/>
                  </a:lnTo>
                  <a:lnTo>
                    <a:pt x="1592" y="981"/>
                  </a:lnTo>
                  <a:lnTo>
                    <a:pt x="1591" y="973"/>
                  </a:lnTo>
                  <a:lnTo>
                    <a:pt x="1595" y="963"/>
                  </a:lnTo>
                  <a:lnTo>
                    <a:pt x="1593" y="955"/>
                  </a:lnTo>
                  <a:lnTo>
                    <a:pt x="1594" y="951"/>
                  </a:lnTo>
                  <a:lnTo>
                    <a:pt x="1597" y="946"/>
                  </a:lnTo>
                  <a:lnTo>
                    <a:pt x="1596" y="939"/>
                  </a:lnTo>
                  <a:lnTo>
                    <a:pt x="1595" y="936"/>
                  </a:lnTo>
                  <a:lnTo>
                    <a:pt x="1593" y="931"/>
                  </a:lnTo>
                  <a:lnTo>
                    <a:pt x="1593" y="929"/>
                  </a:lnTo>
                  <a:lnTo>
                    <a:pt x="1595" y="926"/>
                  </a:lnTo>
                  <a:lnTo>
                    <a:pt x="1597" y="918"/>
                  </a:lnTo>
                  <a:lnTo>
                    <a:pt x="1597" y="911"/>
                  </a:lnTo>
                  <a:lnTo>
                    <a:pt x="1597" y="899"/>
                  </a:lnTo>
                  <a:lnTo>
                    <a:pt x="1598" y="887"/>
                  </a:lnTo>
                  <a:lnTo>
                    <a:pt x="1598" y="880"/>
                  </a:lnTo>
                  <a:lnTo>
                    <a:pt x="1597" y="876"/>
                  </a:lnTo>
                  <a:lnTo>
                    <a:pt x="1592" y="867"/>
                  </a:lnTo>
                  <a:lnTo>
                    <a:pt x="1591" y="859"/>
                  </a:lnTo>
                  <a:lnTo>
                    <a:pt x="1592" y="857"/>
                  </a:lnTo>
                  <a:lnTo>
                    <a:pt x="1594" y="850"/>
                  </a:lnTo>
                  <a:lnTo>
                    <a:pt x="1594" y="843"/>
                  </a:lnTo>
                  <a:lnTo>
                    <a:pt x="1592" y="838"/>
                  </a:lnTo>
                  <a:lnTo>
                    <a:pt x="1593" y="836"/>
                  </a:lnTo>
                  <a:lnTo>
                    <a:pt x="1595" y="836"/>
                  </a:lnTo>
                  <a:lnTo>
                    <a:pt x="1599" y="835"/>
                  </a:lnTo>
                  <a:lnTo>
                    <a:pt x="1605" y="83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7" name="Freeform 79">
              <a:extLst>
                <a:ext uri="{FF2B5EF4-FFF2-40B4-BE49-F238E27FC236}">
                  <a16:creationId xmlns:a16="http://schemas.microsoft.com/office/drawing/2014/main" id="{22644D24-B975-3B7D-D225-3533D4918EDF}"/>
                </a:ext>
              </a:extLst>
            </p:cNvPr>
            <p:cNvSpPr>
              <a:spLocks/>
            </p:cNvSpPr>
            <p:nvPr/>
          </p:nvSpPr>
          <p:spPr bwMode="auto">
            <a:xfrm>
              <a:off x="5168484" y="4921250"/>
              <a:ext cx="165100" cy="117475"/>
            </a:xfrm>
            <a:custGeom>
              <a:avLst/>
              <a:gdLst/>
              <a:ahLst/>
              <a:cxnLst>
                <a:cxn ang="0">
                  <a:pos x="70" y="53"/>
                </a:cxn>
                <a:cxn ang="0">
                  <a:pos x="63" y="56"/>
                </a:cxn>
                <a:cxn ang="0">
                  <a:pos x="50" y="56"/>
                </a:cxn>
                <a:cxn ang="0">
                  <a:pos x="36" y="57"/>
                </a:cxn>
                <a:cxn ang="0">
                  <a:pos x="37" y="71"/>
                </a:cxn>
                <a:cxn ang="0">
                  <a:pos x="36" y="74"/>
                </a:cxn>
                <a:cxn ang="0">
                  <a:pos x="28" y="71"/>
                </a:cxn>
                <a:cxn ang="0">
                  <a:pos x="20" y="72"/>
                </a:cxn>
                <a:cxn ang="0">
                  <a:pos x="15" y="74"/>
                </a:cxn>
                <a:cxn ang="0">
                  <a:pos x="10" y="72"/>
                </a:cxn>
                <a:cxn ang="0">
                  <a:pos x="7" y="66"/>
                </a:cxn>
                <a:cxn ang="0">
                  <a:pos x="2" y="65"/>
                </a:cxn>
                <a:cxn ang="0">
                  <a:pos x="1" y="63"/>
                </a:cxn>
                <a:cxn ang="0">
                  <a:pos x="2" y="60"/>
                </a:cxn>
                <a:cxn ang="0">
                  <a:pos x="4" y="50"/>
                </a:cxn>
                <a:cxn ang="0">
                  <a:pos x="5" y="44"/>
                </a:cxn>
                <a:cxn ang="0">
                  <a:pos x="9" y="43"/>
                </a:cxn>
                <a:cxn ang="0">
                  <a:pos x="14" y="39"/>
                </a:cxn>
                <a:cxn ang="0">
                  <a:pos x="18" y="25"/>
                </a:cxn>
                <a:cxn ang="0">
                  <a:pos x="22" y="23"/>
                </a:cxn>
                <a:cxn ang="0">
                  <a:pos x="27" y="26"/>
                </a:cxn>
                <a:cxn ang="0">
                  <a:pos x="30" y="24"/>
                </a:cxn>
                <a:cxn ang="0">
                  <a:pos x="36" y="15"/>
                </a:cxn>
                <a:cxn ang="0">
                  <a:pos x="41" y="11"/>
                </a:cxn>
                <a:cxn ang="0">
                  <a:pos x="46" y="13"/>
                </a:cxn>
                <a:cxn ang="0">
                  <a:pos x="49" y="9"/>
                </a:cxn>
                <a:cxn ang="0">
                  <a:pos x="57" y="5"/>
                </a:cxn>
                <a:cxn ang="0">
                  <a:pos x="66" y="0"/>
                </a:cxn>
                <a:cxn ang="0">
                  <a:pos x="70" y="1"/>
                </a:cxn>
                <a:cxn ang="0">
                  <a:pos x="75" y="6"/>
                </a:cxn>
                <a:cxn ang="0">
                  <a:pos x="78" y="14"/>
                </a:cxn>
                <a:cxn ang="0">
                  <a:pos x="83" y="18"/>
                </a:cxn>
                <a:cxn ang="0">
                  <a:pos x="87" y="23"/>
                </a:cxn>
                <a:cxn ang="0">
                  <a:pos x="85" y="27"/>
                </a:cxn>
                <a:cxn ang="0">
                  <a:pos x="91" y="33"/>
                </a:cxn>
                <a:cxn ang="0">
                  <a:pos x="97" y="33"/>
                </a:cxn>
                <a:cxn ang="0">
                  <a:pos x="103" y="39"/>
                </a:cxn>
                <a:cxn ang="0">
                  <a:pos x="103" y="46"/>
                </a:cxn>
                <a:cxn ang="0">
                  <a:pos x="98" y="50"/>
                </a:cxn>
                <a:cxn ang="0">
                  <a:pos x="91" y="50"/>
                </a:cxn>
                <a:cxn ang="0">
                  <a:pos x="87" y="55"/>
                </a:cxn>
                <a:cxn ang="0">
                  <a:pos x="85" y="56"/>
                </a:cxn>
                <a:cxn ang="0">
                  <a:pos x="80" y="55"/>
                </a:cxn>
              </a:cxnLst>
              <a:rect l="0" t="0" r="r" b="b"/>
              <a:pathLst>
                <a:path w="104" h="74">
                  <a:moveTo>
                    <a:pt x="74" y="54"/>
                  </a:moveTo>
                  <a:lnTo>
                    <a:pt x="70" y="53"/>
                  </a:lnTo>
                  <a:lnTo>
                    <a:pt x="69" y="53"/>
                  </a:lnTo>
                  <a:lnTo>
                    <a:pt x="63" y="56"/>
                  </a:lnTo>
                  <a:lnTo>
                    <a:pt x="55" y="56"/>
                  </a:lnTo>
                  <a:lnTo>
                    <a:pt x="50" y="56"/>
                  </a:lnTo>
                  <a:lnTo>
                    <a:pt x="37" y="56"/>
                  </a:lnTo>
                  <a:lnTo>
                    <a:pt x="36" y="57"/>
                  </a:lnTo>
                  <a:lnTo>
                    <a:pt x="35" y="59"/>
                  </a:lnTo>
                  <a:lnTo>
                    <a:pt x="37" y="71"/>
                  </a:lnTo>
                  <a:lnTo>
                    <a:pt x="37" y="73"/>
                  </a:lnTo>
                  <a:lnTo>
                    <a:pt x="36" y="74"/>
                  </a:lnTo>
                  <a:lnTo>
                    <a:pt x="32" y="71"/>
                  </a:lnTo>
                  <a:lnTo>
                    <a:pt x="28" y="71"/>
                  </a:lnTo>
                  <a:lnTo>
                    <a:pt x="24" y="71"/>
                  </a:lnTo>
                  <a:lnTo>
                    <a:pt x="20" y="72"/>
                  </a:lnTo>
                  <a:lnTo>
                    <a:pt x="18" y="73"/>
                  </a:lnTo>
                  <a:lnTo>
                    <a:pt x="15" y="74"/>
                  </a:lnTo>
                  <a:lnTo>
                    <a:pt x="13" y="74"/>
                  </a:lnTo>
                  <a:lnTo>
                    <a:pt x="10" y="72"/>
                  </a:lnTo>
                  <a:lnTo>
                    <a:pt x="7" y="69"/>
                  </a:lnTo>
                  <a:lnTo>
                    <a:pt x="7" y="66"/>
                  </a:lnTo>
                  <a:lnTo>
                    <a:pt x="5" y="65"/>
                  </a:lnTo>
                  <a:lnTo>
                    <a:pt x="2" y="65"/>
                  </a:lnTo>
                  <a:lnTo>
                    <a:pt x="0" y="63"/>
                  </a:lnTo>
                  <a:lnTo>
                    <a:pt x="1" y="63"/>
                  </a:lnTo>
                  <a:lnTo>
                    <a:pt x="1" y="62"/>
                  </a:lnTo>
                  <a:lnTo>
                    <a:pt x="2" y="60"/>
                  </a:lnTo>
                  <a:lnTo>
                    <a:pt x="3" y="55"/>
                  </a:lnTo>
                  <a:lnTo>
                    <a:pt x="4" y="50"/>
                  </a:lnTo>
                  <a:lnTo>
                    <a:pt x="4" y="45"/>
                  </a:lnTo>
                  <a:lnTo>
                    <a:pt x="5" y="44"/>
                  </a:lnTo>
                  <a:lnTo>
                    <a:pt x="6" y="44"/>
                  </a:lnTo>
                  <a:lnTo>
                    <a:pt x="9" y="43"/>
                  </a:lnTo>
                  <a:lnTo>
                    <a:pt x="12" y="41"/>
                  </a:lnTo>
                  <a:lnTo>
                    <a:pt x="14" y="39"/>
                  </a:lnTo>
                  <a:lnTo>
                    <a:pt x="16" y="32"/>
                  </a:lnTo>
                  <a:lnTo>
                    <a:pt x="18" y="25"/>
                  </a:lnTo>
                  <a:lnTo>
                    <a:pt x="20" y="23"/>
                  </a:lnTo>
                  <a:lnTo>
                    <a:pt x="22" y="23"/>
                  </a:lnTo>
                  <a:lnTo>
                    <a:pt x="24" y="24"/>
                  </a:lnTo>
                  <a:lnTo>
                    <a:pt x="27" y="26"/>
                  </a:lnTo>
                  <a:lnTo>
                    <a:pt x="29" y="26"/>
                  </a:lnTo>
                  <a:lnTo>
                    <a:pt x="30" y="24"/>
                  </a:lnTo>
                  <a:lnTo>
                    <a:pt x="33" y="20"/>
                  </a:lnTo>
                  <a:lnTo>
                    <a:pt x="36" y="15"/>
                  </a:lnTo>
                  <a:lnTo>
                    <a:pt x="39" y="12"/>
                  </a:lnTo>
                  <a:lnTo>
                    <a:pt x="41" y="11"/>
                  </a:lnTo>
                  <a:lnTo>
                    <a:pt x="44" y="12"/>
                  </a:lnTo>
                  <a:lnTo>
                    <a:pt x="46" y="13"/>
                  </a:lnTo>
                  <a:lnTo>
                    <a:pt x="48" y="14"/>
                  </a:lnTo>
                  <a:lnTo>
                    <a:pt x="49" y="9"/>
                  </a:lnTo>
                  <a:lnTo>
                    <a:pt x="51" y="7"/>
                  </a:lnTo>
                  <a:lnTo>
                    <a:pt x="57" y="5"/>
                  </a:lnTo>
                  <a:lnTo>
                    <a:pt x="64" y="0"/>
                  </a:lnTo>
                  <a:lnTo>
                    <a:pt x="66" y="0"/>
                  </a:lnTo>
                  <a:lnTo>
                    <a:pt x="68" y="0"/>
                  </a:lnTo>
                  <a:lnTo>
                    <a:pt x="70" y="1"/>
                  </a:lnTo>
                  <a:lnTo>
                    <a:pt x="76" y="2"/>
                  </a:lnTo>
                  <a:lnTo>
                    <a:pt x="75" y="6"/>
                  </a:lnTo>
                  <a:lnTo>
                    <a:pt x="76" y="8"/>
                  </a:lnTo>
                  <a:lnTo>
                    <a:pt x="78" y="14"/>
                  </a:lnTo>
                  <a:lnTo>
                    <a:pt x="81" y="17"/>
                  </a:lnTo>
                  <a:lnTo>
                    <a:pt x="83" y="18"/>
                  </a:lnTo>
                  <a:lnTo>
                    <a:pt x="86" y="21"/>
                  </a:lnTo>
                  <a:lnTo>
                    <a:pt x="87" y="23"/>
                  </a:lnTo>
                  <a:lnTo>
                    <a:pt x="87" y="24"/>
                  </a:lnTo>
                  <a:lnTo>
                    <a:pt x="85" y="27"/>
                  </a:lnTo>
                  <a:lnTo>
                    <a:pt x="85" y="28"/>
                  </a:lnTo>
                  <a:lnTo>
                    <a:pt x="91" y="33"/>
                  </a:lnTo>
                  <a:lnTo>
                    <a:pt x="94" y="34"/>
                  </a:lnTo>
                  <a:lnTo>
                    <a:pt x="97" y="33"/>
                  </a:lnTo>
                  <a:lnTo>
                    <a:pt x="100" y="33"/>
                  </a:lnTo>
                  <a:lnTo>
                    <a:pt x="103" y="39"/>
                  </a:lnTo>
                  <a:lnTo>
                    <a:pt x="104" y="42"/>
                  </a:lnTo>
                  <a:lnTo>
                    <a:pt x="103" y="46"/>
                  </a:lnTo>
                  <a:lnTo>
                    <a:pt x="100" y="49"/>
                  </a:lnTo>
                  <a:lnTo>
                    <a:pt x="98" y="50"/>
                  </a:lnTo>
                  <a:lnTo>
                    <a:pt x="94" y="50"/>
                  </a:lnTo>
                  <a:lnTo>
                    <a:pt x="91" y="50"/>
                  </a:lnTo>
                  <a:lnTo>
                    <a:pt x="89" y="51"/>
                  </a:lnTo>
                  <a:lnTo>
                    <a:pt x="87" y="55"/>
                  </a:lnTo>
                  <a:lnTo>
                    <a:pt x="85" y="56"/>
                  </a:lnTo>
                  <a:lnTo>
                    <a:pt x="85" y="56"/>
                  </a:lnTo>
                  <a:lnTo>
                    <a:pt x="83" y="56"/>
                  </a:lnTo>
                  <a:lnTo>
                    <a:pt x="80" y="55"/>
                  </a:lnTo>
                  <a:lnTo>
                    <a:pt x="74" y="5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8" name="Freeform 80">
              <a:extLst>
                <a:ext uri="{FF2B5EF4-FFF2-40B4-BE49-F238E27FC236}">
                  <a16:creationId xmlns:a16="http://schemas.microsoft.com/office/drawing/2014/main" id="{0D25935A-335F-D7C1-4ADD-8CF7E9112AA3}"/>
                </a:ext>
              </a:extLst>
            </p:cNvPr>
            <p:cNvSpPr>
              <a:spLocks/>
            </p:cNvSpPr>
            <p:nvPr/>
          </p:nvSpPr>
          <p:spPr bwMode="auto">
            <a:xfrm>
              <a:off x="5684421" y="4260850"/>
              <a:ext cx="36513" cy="82550"/>
            </a:xfrm>
            <a:custGeom>
              <a:avLst/>
              <a:gdLst/>
              <a:ahLst/>
              <a:cxnLst>
                <a:cxn ang="0">
                  <a:pos x="11" y="52"/>
                </a:cxn>
                <a:cxn ang="0">
                  <a:pos x="10" y="51"/>
                </a:cxn>
                <a:cxn ang="0">
                  <a:pos x="9" y="48"/>
                </a:cxn>
                <a:cxn ang="0">
                  <a:pos x="6" y="44"/>
                </a:cxn>
                <a:cxn ang="0">
                  <a:pos x="1" y="40"/>
                </a:cxn>
                <a:cxn ang="0">
                  <a:pos x="1" y="39"/>
                </a:cxn>
                <a:cxn ang="0">
                  <a:pos x="2" y="40"/>
                </a:cxn>
                <a:cxn ang="0">
                  <a:pos x="3" y="38"/>
                </a:cxn>
                <a:cxn ang="0">
                  <a:pos x="0" y="34"/>
                </a:cxn>
                <a:cxn ang="0">
                  <a:pos x="3" y="29"/>
                </a:cxn>
                <a:cxn ang="0">
                  <a:pos x="2" y="28"/>
                </a:cxn>
                <a:cxn ang="0">
                  <a:pos x="3" y="23"/>
                </a:cxn>
                <a:cxn ang="0">
                  <a:pos x="2" y="21"/>
                </a:cxn>
                <a:cxn ang="0">
                  <a:pos x="3" y="18"/>
                </a:cxn>
                <a:cxn ang="0">
                  <a:pos x="4" y="17"/>
                </a:cxn>
                <a:cxn ang="0">
                  <a:pos x="4" y="14"/>
                </a:cxn>
                <a:cxn ang="0">
                  <a:pos x="2" y="13"/>
                </a:cxn>
                <a:cxn ang="0">
                  <a:pos x="1" y="13"/>
                </a:cxn>
                <a:cxn ang="0">
                  <a:pos x="1" y="10"/>
                </a:cxn>
                <a:cxn ang="0">
                  <a:pos x="0" y="7"/>
                </a:cxn>
                <a:cxn ang="0">
                  <a:pos x="2" y="2"/>
                </a:cxn>
                <a:cxn ang="0">
                  <a:pos x="3" y="0"/>
                </a:cxn>
                <a:cxn ang="0">
                  <a:pos x="8" y="1"/>
                </a:cxn>
                <a:cxn ang="0">
                  <a:pos x="10" y="1"/>
                </a:cxn>
                <a:cxn ang="0">
                  <a:pos x="10" y="1"/>
                </a:cxn>
                <a:cxn ang="0">
                  <a:pos x="12" y="4"/>
                </a:cxn>
                <a:cxn ang="0">
                  <a:pos x="17" y="11"/>
                </a:cxn>
                <a:cxn ang="0">
                  <a:pos x="17" y="12"/>
                </a:cxn>
                <a:cxn ang="0">
                  <a:pos x="17" y="14"/>
                </a:cxn>
                <a:cxn ang="0">
                  <a:pos x="16" y="17"/>
                </a:cxn>
                <a:cxn ang="0">
                  <a:pos x="17" y="22"/>
                </a:cxn>
                <a:cxn ang="0">
                  <a:pos x="18" y="27"/>
                </a:cxn>
                <a:cxn ang="0">
                  <a:pos x="23" y="32"/>
                </a:cxn>
                <a:cxn ang="0">
                  <a:pos x="22" y="32"/>
                </a:cxn>
                <a:cxn ang="0">
                  <a:pos x="20" y="39"/>
                </a:cxn>
                <a:cxn ang="0">
                  <a:pos x="17" y="42"/>
                </a:cxn>
                <a:cxn ang="0">
                  <a:pos x="14" y="45"/>
                </a:cxn>
                <a:cxn ang="0">
                  <a:pos x="11" y="52"/>
                </a:cxn>
              </a:cxnLst>
              <a:rect l="0" t="0" r="r" b="b"/>
              <a:pathLst>
                <a:path w="23" h="52">
                  <a:moveTo>
                    <a:pt x="11" y="52"/>
                  </a:moveTo>
                  <a:lnTo>
                    <a:pt x="10" y="51"/>
                  </a:lnTo>
                  <a:lnTo>
                    <a:pt x="9" y="48"/>
                  </a:lnTo>
                  <a:lnTo>
                    <a:pt x="6" y="44"/>
                  </a:lnTo>
                  <a:lnTo>
                    <a:pt x="1" y="40"/>
                  </a:lnTo>
                  <a:lnTo>
                    <a:pt x="1" y="39"/>
                  </a:lnTo>
                  <a:lnTo>
                    <a:pt x="2" y="40"/>
                  </a:lnTo>
                  <a:lnTo>
                    <a:pt x="3" y="38"/>
                  </a:lnTo>
                  <a:lnTo>
                    <a:pt x="0" y="34"/>
                  </a:lnTo>
                  <a:lnTo>
                    <a:pt x="3" y="29"/>
                  </a:lnTo>
                  <a:lnTo>
                    <a:pt x="2" y="28"/>
                  </a:lnTo>
                  <a:lnTo>
                    <a:pt x="3" y="23"/>
                  </a:lnTo>
                  <a:lnTo>
                    <a:pt x="2" y="21"/>
                  </a:lnTo>
                  <a:lnTo>
                    <a:pt x="3" y="18"/>
                  </a:lnTo>
                  <a:lnTo>
                    <a:pt x="4" y="17"/>
                  </a:lnTo>
                  <a:lnTo>
                    <a:pt x="4" y="14"/>
                  </a:lnTo>
                  <a:lnTo>
                    <a:pt x="2" y="13"/>
                  </a:lnTo>
                  <a:lnTo>
                    <a:pt x="1" y="13"/>
                  </a:lnTo>
                  <a:lnTo>
                    <a:pt x="1" y="10"/>
                  </a:lnTo>
                  <a:lnTo>
                    <a:pt x="0" y="7"/>
                  </a:lnTo>
                  <a:lnTo>
                    <a:pt x="2" y="2"/>
                  </a:lnTo>
                  <a:lnTo>
                    <a:pt x="3" y="0"/>
                  </a:lnTo>
                  <a:lnTo>
                    <a:pt x="8" y="1"/>
                  </a:lnTo>
                  <a:lnTo>
                    <a:pt x="10" y="1"/>
                  </a:lnTo>
                  <a:lnTo>
                    <a:pt x="10" y="1"/>
                  </a:lnTo>
                  <a:lnTo>
                    <a:pt x="12" y="4"/>
                  </a:lnTo>
                  <a:lnTo>
                    <a:pt x="17" y="11"/>
                  </a:lnTo>
                  <a:lnTo>
                    <a:pt x="17" y="12"/>
                  </a:lnTo>
                  <a:lnTo>
                    <a:pt x="17" y="14"/>
                  </a:lnTo>
                  <a:lnTo>
                    <a:pt x="16" y="17"/>
                  </a:lnTo>
                  <a:lnTo>
                    <a:pt x="17" y="22"/>
                  </a:lnTo>
                  <a:lnTo>
                    <a:pt x="18" y="27"/>
                  </a:lnTo>
                  <a:lnTo>
                    <a:pt x="23" y="32"/>
                  </a:lnTo>
                  <a:lnTo>
                    <a:pt x="22" y="32"/>
                  </a:lnTo>
                  <a:lnTo>
                    <a:pt x="20" y="39"/>
                  </a:lnTo>
                  <a:lnTo>
                    <a:pt x="17" y="42"/>
                  </a:lnTo>
                  <a:lnTo>
                    <a:pt x="14" y="45"/>
                  </a:lnTo>
                  <a:lnTo>
                    <a:pt x="11" y="5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09" name="Freeform 81">
              <a:extLst>
                <a:ext uri="{FF2B5EF4-FFF2-40B4-BE49-F238E27FC236}">
                  <a16:creationId xmlns:a16="http://schemas.microsoft.com/office/drawing/2014/main" id="{0A72838D-F21C-4E00-4BA8-98BCFD2DEA28}"/>
                </a:ext>
              </a:extLst>
            </p:cNvPr>
            <p:cNvSpPr>
              <a:spLocks/>
            </p:cNvSpPr>
            <p:nvPr/>
          </p:nvSpPr>
          <p:spPr bwMode="auto">
            <a:xfrm>
              <a:off x="5709821" y="4267200"/>
              <a:ext cx="50800" cy="44450"/>
            </a:xfrm>
            <a:custGeom>
              <a:avLst/>
              <a:gdLst/>
              <a:ahLst/>
              <a:cxnLst>
                <a:cxn ang="0">
                  <a:pos x="31" y="19"/>
                </a:cxn>
                <a:cxn ang="0">
                  <a:pos x="28" y="21"/>
                </a:cxn>
                <a:cxn ang="0">
                  <a:pos x="25" y="22"/>
                </a:cxn>
                <a:cxn ang="0">
                  <a:pos x="22" y="22"/>
                </a:cxn>
                <a:cxn ang="0">
                  <a:pos x="19" y="22"/>
                </a:cxn>
                <a:cxn ang="0">
                  <a:pos x="17" y="23"/>
                </a:cxn>
                <a:cxn ang="0">
                  <a:pos x="15" y="26"/>
                </a:cxn>
                <a:cxn ang="0">
                  <a:pos x="11" y="27"/>
                </a:cxn>
                <a:cxn ang="0">
                  <a:pos x="7" y="28"/>
                </a:cxn>
                <a:cxn ang="0">
                  <a:pos x="2" y="23"/>
                </a:cxn>
                <a:cxn ang="0">
                  <a:pos x="1" y="18"/>
                </a:cxn>
                <a:cxn ang="0">
                  <a:pos x="0" y="13"/>
                </a:cxn>
                <a:cxn ang="0">
                  <a:pos x="1" y="10"/>
                </a:cxn>
                <a:cxn ang="0">
                  <a:pos x="1" y="8"/>
                </a:cxn>
                <a:cxn ang="0">
                  <a:pos x="2" y="8"/>
                </a:cxn>
                <a:cxn ang="0">
                  <a:pos x="3" y="8"/>
                </a:cxn>
                <a:cxn ang="0">
                  <a:pos x="3" y="7"/>
                </a:cxn>
                <a:cxn ang="0">
                  <a:pos x="3" y="7"/>
                </a:cxn>
                <a:cxn ang="0">
                  <a:pos x="3" y="6"/>
                </a:cxn>
                <a:cxn ang="0">
                  <a:pos x="4" y="5"/>
                </a:cxn>
                <a:cxn ang="0">
                  <a:pos x="4" y="4"/>
                </a:cxn>
                <a:cxn ang="0">
                  <a:pos x="5" y="4"/>
                </a:cxn>
                <a:cxn ang="0">
                  <a:pos x="7" y="3"/>
                </a:cxn>
                <a:cxn ang="0">
                  <a:pos x="7" y="3"/>
                </a:cxn>
                <a:cxn ang="0">
                  <a:pos x="8" y="2"/>
                </a:cxn>
                <a:cxn ang="0">
                  <a:pos x="8" y="3"/>
                </a:cxn>
                <a:cxn ang="0">
                  <a:pos x="9" y="3"/>
                </a:cxn>
                <a:cxn ang="0">
                  <a:pos x="10" y="4"/>
                </a:cxn>
                <a:cxn ang="0">
                  <a:pos x="10" y="4"/>
                </a:cxn>
                <a:cxn ang="0">
                  <a:pos x="11" y="4"/>
                </a:cxn>
                <a:cxn ang="0">
                  <a:pos x="10" y="3"/>
                </a:cxn>
                <a:cxn ang="0">
                  <a:pos x="11" y="3"/>
                </a:cxn>
                <a:cxn ang="0">
                  <a:pos x="12" y="2"/>
                </a:cxn>
                <a:cxn ang="0">
                  <a:pos x="13" y="1"/>
                </a:cxn>
                <a:cxn ang="0">
                  <a:pos x="14" y="1"/>
                </a:cxn>
                <a:cxn ang="0">
                  <a:pos x="14" y="1"/>
                </a:cxn>
                <a:cxn ang="0">
                  <a:pos x="15" y="1"/>
                </a:cxn>
                <a:cxn ang="0">
                  <a:pos x="16" y="2"/>
                </a:cxn>
                <a:cxn ang="0">
                  <a:pos x="17" y="1"/>
                </a:cxn>
                <a:cxn ang="0">
                  <a:pos x="17" y="0"/>
                </a:cxn>
                <a:cxn ang="0">
                  <a:pos x="18" y="0"/>
                </a:cxn>
                <a:cxn ang="0">
                  <a:pos x="19" y="1"/>
                </a:cxn>
                <a:cxn ang="0">
                  <a:pos x="19" y="0"/>
                </a:cxn>
                <a:cxn ang="0">
                  <a:pos x="19" y="0"/>
                </a:cxn>
                <a:cxn ang="0">
                  <a:pos x="20" y="1"/>
                </a:cxn>
                <a:cxn ang="0">
                  <a:pos x="20" y="0"/>
                </a:cxn>
                <a:cxn ang="0">
                  <a:pos x="21" y="0"/>
                </a:cxn>
                <a:cxn ang="0">
                  <a:pos x="22" y="0"/>
                </a:cxn>
                <a:cxn ang="0">
                  <a:pos x="23" y="0"/>
                </a:cxn>
                <a:cxn ang="0">
                  <a:pos x="23" y="0"/>
                </a:cxn>
                <a:cxn ang="0">
                  <a:pos x="23" y="0"/>
                </a:cxn>
                <a:cxn ang="0">
                  <a:pos x="23" y="1"/>
                </a:cxn>
                <a:cxn ang="0">
                  <a:pos x="24" y="2"/>
                </a:cxn>
                <a:cxn ang="0">
                  <a:pos x="28" y="5"/>
                </a:cxn>
                <a:cxn ang="0">
                  <a:pos x="30" y="8"/>
                </a:cxn>
                <a:cxn ang="0">
                  <a:pos x="32" y="12"/>
                </a:cxn>
                <a:cxn ang="0">
                  <a:pos x="32" y="15"/>
                </a:cxn>
                <a:cxn ang="0">
                  <a:pos x="31" y="18"/>
                </a:cxn>
                <a:cxn ang="0">
                  <a:pos x="31" y="19"/>
                </a:cxn>
              </a:cxnLst>
              <a:rect l="0" t="0" r="r" b="b"/>
              <a:pathLst>
                <a:path w="32" h="28">
                  <a:moveTo>
                    <a:pt x="31" y="19"/>
                  </a:moveTo>
                  <a:lnTo>
                    <a:pt x="28" y="21"/>
                  </a:lnTo>
                  <a:lnTo>
                    <a:pt x="25" y="22"/>
                  </a:lnTo>
                  <a:lnTo>
                    <a:pt x="22" y="22"/>
                  </a:lnTo>
                  <a:lnTo>
                    <a:pt x="19" y="22"/>
                  </a:lnTo>
                  <a:lnTo>
                    <a:pt x="17" y="23"/>
                  </a:lnTo>
                  <a:lnTo>
                    <a:pt x="15" y="26"/>
                  </a:lnTo>
                  <a:lnTo>
                    <a:pt x="11" y="27"/>
                  </a:lnTo>
                  <a:lnTo>
                    <a:pt x="7" y="28"/>
                  </a:lnTo>
                  <a:lnTo>
                    <a:pt x="2" y="23"/>
                  </a:lnTo>
                  <a:lnTo>
                    <a:pt x="1" y="18"/>
                  </a:lnTo>
                  <a:lnTo>
                    <a:pt x="0" y="13"/>
                  </a:lnTo>
                  <a:lnTo>
                    <a:pt x="1" y="10"/>
                  </a:lnTo>
                  <a:lnTo>
                    <a:pt x="1" y="8"/>
                  </a:lnTo>
                  <a:lnTo>
                    <a:pt x="2" y="8"/>
                  </a:lnTo>
                  <a:lnTo>
                    <a:pt x="3" y="8"/>
                  </a:lnTo>
                  <a:lnTo>
                    <a:pt x="3" y="7"/>
                  </a:lnTo>
                  <a:lnTo>
                    <a:pt x="3" y="7"/>
                  </a:lnTo>
                  <a:lnTo>
                    <a:pt x="3" y="6"/>
                  </a:lnTo>
                  <a:lnTo>
                    <a:pt x="4" y="5"/>
                  </a:lnTo>
                  <a:lnTo>
                    <a:pt x="4" y="4"/>
                  </a:lnTo>
                  <a:lnTo>
                    <a:pt x="5" y="4"/>
                  </a:lnTo>
                  <a:lnTo>
                    <a:pt x="7" y="3"/>
                  </a:lnTo>
                  <a:lnTo>
                    <a:pt x="7" y="3"/>
                  </a:lnTo>
                  <a:lnTo>
                    <a:pt x="8" y="2"/>
                  </a:lnTo>
                  <a:lnTo>
                    <a:pt x="8" y="3"/>
                  </a:lnTo>
                  <a:lnTo>
                    <a:pt x="9" y="3"/>
                  </a:lnTo>
                  <a:lnTo>
                    <a:pt x="10" y="4"/>
                  </a:lnTo>
                  <a:lnTo>
                    <a:pt x="10" y="4"/>
                  </a:lnTo>
                  <a:lnTo>
                    <a:pt x="11" y="4"/>
                  </a:lnTo>
                  <a:lnTo>
                    <a:pt x="10" y="3"/>
                  </a:lnTo>
                  <a:lnTo>
                    <a:pt x="11" y="3"/>
                  </a:lnTo>
                  <a:lnTo>
                    <a:pt x="12" y="2"/>
                  </a:lnTo>
                  <a:lnTo>
                    <a:pt x="13" y="1"/>
                  </a:lnTo>
                  <a:lnTo>
                    <a:pt x="14" y="1"/>
                  </a:lnTo>
                  <a:lnTo>
                    <a:pt x="14" y="1"/>
                  </a:lnTo>
                  <a:lnTo>
                    <a:pt x="15" y="1"/>
                  </a:lnTo>
                  <a:lnTo>
                    <a:pt x="16" y="2"/>
                  </a:lnTo>
                  <a:lnTo>
                    <a:pt x="17" y="1"/>
                  </a:lnTo>
                  <a:lnTo>
                    <a:pt x="17" y="0"/>
                  </a:lnTo>
                  <a:lnTo>
                    <a:pt x="18" y="0"/>
                  </a:lnTo>
                  <a:lnTo>
                    <a:pt x="19" y="1"/>
                  </a:lnTo>
                  <a:lnTo>
                    <a:pt x="19" y="0"/>
                  </a:lnTo>
                  <a:lnTo>
                    <a:pt x="19" y="0"/>
                  </a:lnTo>
                  <a:lnTo>
                    <a:pt x="20" y="1"/>
                  </a:lnTo>
                  <a:lnTo>
                    <a:pt x="20" y="0"/>
                  </a:lnTo>
                  <a:lnTo>
                    <a:pt x="21" y="0"/>
                  </a:lnTo>
                  <a:lnTo>
                    <a:pt x="22" y="0"/>
                  </a:lnTo>
                  <a:lnTo>
                    <a:pt x="23" y="0"/>
                  </a:lnTo>
                  <a:lnTo>
                    <a:pt x="23" y="0"/>
                  </a:lnTo>
                  <a:lnTo>
                    <a:pt x="23" y="0"/>
                  </a:lnTo>
                  <a:lnTo>
                    <a:pt x="23" y="1"/>
                  </a:lnTo>
                  <a:lnTo>
                    <a:pt x="24" y="2"/>
                  </a:lnTo>
                  <a:lnTo>
                    <a:pt x="28" y="5"/>
                  </a:lnTo>
                  <a:lnTo>
                    <a:pt x="30" y="8"/>
                  </a:lnTo>
                  <a:lnTo>
                    <a:pt x="32" y="12"/>
                  </a:lnTo>
                  <a:lnTo>
                    <a:pt x="32" y="15"/>
                  </a:lnTo>
                  <a:lnTo>
                    <a:pt x="31" y="18"/>
                  </a:lnTo>
                  <a:lnTo>
                    <a:pt x="31" y="1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0" name="Freeform 82">
              <a:extLst>
                <a:ext uri="{FF2B5EF4-FFF2-40B4-BE49-F238E27FC236}">
                  <a16:creationId xmlns:a16="http://schemas.microsoft.com/office/drawing/2014/main" id="{0EBF279C-3575-EA5D-4BF2-5FCF5731A77B}"/>
                </a:ext>
              </a:extLst>
            </p:cNvPr>
            <p:cNvSpPr>
              <a:spLocks/>
            </p:cNvSpPr>
            <p:nvPr/>
          </p:nvSpPr>
          <p:spPr bwMode="auto">
            <a:xfrm>
              <a:off x="5106571" y="5016500"/>
              <a:ext cx="125413" cy="131763"/>
            </a:xfrm>
            <a:custGeom>
              <a:avLst/>
              <a:gdLst/>
              <a:ahLst/>
              <a:cxnLst>
                <a:cxn ang="0">
                  <a:pos x="13" y="77"/>
                </a:cxn>
                <a:cxn ang="0">
                  <a:pos x="15" y="69"/>
                </a:cxn>
                <a:cxn ang="0">
                  <a:pos x="15" y="65"/>
                </a:cxn>
                <a:cxn ang="0">
                  <a:pos x="4" y="57"/>
                </a:cxn>
                <a:cxn ang="0">
                  <a:pos x="1" y="55"/>
                </a:cxn>
                <a:cxn ang="0">
                  <a:pos x="3" y="49"/>
                </a:cxn>
                <a:cxn ang="0">
                  <a:pos x="3" y="43"/>
                </a:cxn>
                <a:cxn ang="0">
                  <a:pos x="4" y="42"/>
                </a:cxn>
                <a:cxn ang="0">
                  <a:pos x="8" y="36"/>
                </a:cxn>
                <a:cxn ang="0">
                  <a:pos x="6" y="32"/>
                </a:cxn>
                <a:cxn ang="0">
                  <a:pos x="7" y="30"/>
                </a:cxn>
                <a:cxn ang="0">
                  <a:pos x="12" y="31"/>
                </a:cxn>
                <a:cxn ang="0">
                  <a:pos x="15" y="30"/>
                </a:cxn>
                <a:cxn ang="0">
                  <a:pos x="10" y="26"/>
                </a:cxn>
                <a:cxn ang="0">
                  <a:pos x="10" y="21"/>
                </a:cxn>
                <a:cxn ang="0">
                  <a:pos x="10" y="18"/>
                </a:cxn>
                <a:cxn ang="0">
                  <a:pos x="5" y="13"/>
                </a:cxn>
                <a:cxn ang="0">
                  <a:pos x="9" y="7"/>
                </a:cxn>
                <a:cxn ang="0">
                  <a:pos x="14" y="3"/>
                </a:cxn>
                <a:cxn ang="0">
                  <a:pos x="20" y="8"/>
                </a:cxn>
                <a:cxn ang="0">
                  <a:pos x="24" y="3"/>
                </a:cxn>
                <a:cxn ang="0">
                  <a:pos x="28" y="0"/>
                </a:cxn>
                <a:cxn ang="0">
                  <a:pos x="31" y="2"/>
                </a:cxn>
                <a:cxn ang="0">
                  <a:pos x="32" y="6"/>
                </a:cxn>
                <a:cxn ang="0">
                  <a:pos x="35" y="6"/>
                </a:cxn>
                <a:cxn ang="0">
                  <a:pos x="39" y="3"/>
                </a:cxn>
                <a:cxn ang="0">
                  <a:pos x="44" y="5"/>
                </a:cxn>
                <a:cxn ang="0">
                  <a:pos x="46" y="9"/>
                </a:cxn>
                <a:cxn ang="0">
                  <a:pos x="52" y="14"/>
                </a:cxn>
                <a:cxn ang="0">
                  <a:pos x="57" y="13"/>
                </a:cxn>
                <a:cxn ang="0">
                  <a:pos x="63" y="11"/>
                </a:cxn>
                <a:cxn ang="0">
                  <a:pos x="71" y="11"/>
                </a:cxn>
                <a:cxn ang="0">
                  <a:pos x="76" y="15"/>
                </a:cxn>
                <a:cxn ang="0">
                  <a:pos x="79" y="31"/>
                </a:cxn>
                <a:cxn ang="0">
                  <a:pos x="75" y="40"/>
                </a:cxn>
                <a:cxn ang="0">
                  <a:pos x="70" y="53"/>
                </a:cxn>
                <a:cxn ang="0">
                  <a:pos x="72" y="62"/>
                </a:cxn>
                <a:cxn ang="0">
                  <a:pos x="76" y="73"/>
                </a:cxn>
                <a:cxn ang="0">
                  <a:pos x="73" y="71"/>
                </a:cxn>
                <a:cxn ang="0">
                  <a:pos x="72" y="72"/>
                </a:cxn>
                <a:cxn ang="0">
                  <a:pos x="68" y="72"/>
                </a:cxn>
                <a:cxn ang="0">
                  <a:pos x="60" y="71"/>
                </a:cxn>
                <a:cxn ang="0">
                  <a:pos x="39" y="72"/>
                </a:cxn>
                <a:cxn ang="0">
                  <a:pos x="29" y="76"/>
                </a:cxn>
                <a:cxn ang="0">
                  <a:pos x="15" y="83"/>
                </a:cxn>
                <a:cxn ang="0">
                  <a:pos x="13" y="83"/>
                </a:cxn>
              </a:cxnLst>
              <a:rect l="0" t="0" r="r" b="b"/>
              <a:pathLst>
                <a:path w="79" h="83">
                  <a:moveTo>
                    <a:pt x="13" y="83"/>
                  </a:moveTo>
                  <a:lnTo>
                    <a:pt x="13" y="77"/>
                  </a:lnTo>
                  <a:lnTo>
                    <a:pt x="14" y="74"/>
                  </a:lnTo>
                  <a:lnTo>
                    <a:pt x="15" y="69"/>
                  </a:lnTo>
                  <a:lnTo>
                    <a:pt x="16" y="66"/>
                  </a:lnTo>
                  <a:lnTo>
                    <a:pt x="15" y="65"/>
                  </a:lnTo>
                  <a:lnTo>
                    <a:pt x="7" y="57"/>
                  </a:lnTo>
                  <a:lnTo>
                    <a:pt x="4" y="57"/>
                  </a:lnTo>
                  <a:lnTo>
                    <a:pt x="2" y="56"/>
                  </a:lnTo>
                  <a:lnTo>
                    <a:pt x="1" y="55"/>
                  </a:lnTo>
                  <a:lnTo>
                    <a:pt x="0" y="54"/>
                  </a:lnTo>
                  <a:lnTo>
                    <a:pt x="3" y="49"/>
                  </a:lnTo>
                  <a:lnTo>
                    <a:pt x="4" y="47"/>
                  </a:lnTo>
                  <a:lnTo>
                    <a:pt x="3" y="43"/>
                  </a:lnTo>
                  <a:lnTo>
                    <a:pt x="3" y="42"/>
                  </a:lnTo>
                  <a:lnTo>
                    <a:pt x="4" y="42"/>
                  </a:lnTo>
                  <a:lnTo>
                    <a:pt x="7" y="38"/>
                  </a:lnTo>
                  <a:lnTo>
                    <a:pt x="8" y="36"/>
                  </a:lnTo>
                  <a:lnTo>
                    <a:pt x="7" y="35"/>
                  </a:lnTo>
                  <a:lnTo>
                    <a:pt x="6" y="32"/>
                  </a:lnTo>
                  <a:lnTo>
                    <a:pt x="6" y="31"/>
                  </a:lnTo>
                  <a:lnTo>
                    <a:pt x="7" y="30"/>
                  </a:lnTo>
                  <a:lnTo>
                    <a:pt x="8" y="30"/>
                  </a:lnTo>
                  <a:lnTo>
                    <a:pt x="12" y="31"/>
                  </a:lnTo>
                  <a:lnTo>
                    <a:pt x="13" y="31"/>
                  </a:lnTo>
                  <a:lnTo>
                    <a:pt x="15" y="30"/>
                  </a:lnTo>
                  <a:lnTo>
                    <a:pt x="14" y="29"/>
                  </a:lnTo>
                  <a:lnTo>
                    <a:pt x="10" y="26"/>
                  </a:lnTo>
                  <a:lnTo>
                    <a:pt x="9" y="23"/>
                  </a:lnTo>
                  <a:lnTo>
                    <a:pt x="10" y="21"/>
                  </a:lnTo>
                  <a:lnTo>
                    <a:pt x="11" y="20"/>
                  </a:lnTo>
                  <a:lnTo>
                    <a:pt x="10" y="18"/>
                  </a:lnTo>
                  <a:lnTo>
                    <a:pt x="6" y="15"/>
                  </a:lnTo>
                  <a:lnTo>
                    <a:pt x="5" y="13"/>
                  </a:lnTo>
                  <a:lnTo>
                    <a:pt x="6" y="9"/>
                  </a:lnTo>
                  <a:lnTo>
                    <a:pt x="9" y="7"/>
                  </a:lnTo>
                  <a:lnTo>
                    <a:pt x="12" y="3"/>
                  </a:lnTo>
                  <a:lnTo>
                    <a:pt x="14" y="3"/>
                  </a:lnTo>
                  <a:lnTo>
                    <a:pt x="17" y="5"/>
                  </a:lnTo>
                  <a:lnTo>
                    <a:pt x="20" y="8"/>
                  </a:lnTo>
                  <a:lnTo>
                    <a:pt x="22" y="6"/>
                  </a:lnTo>
                  <a:lnTo>
                    <a:pt x="24" y="3"/>
                  </a:lnTo>
                  <a:lnTo>
                    <a:pt x="27" y="1"/>
                  </a:lnTo>
                  <a:lnTo>
                    <a:pt x="28" y="0"/>
                  </a:lnTo>
                  <a:lnTo>
                    <a:pt x="30" y="0"/>
                  </a:lnTo>
                  <a:lnTo>
                    <a:pt x="31" y="2"/>
                  </a:lnTo>
                  <a:lnTo>
                    <a:pt x="31" y="3"/>
                  </a:lnTo>
                  <a:lnTo>
                    <a:pt x="32" y="6"/>
                  </a:lnTo>
                  <a:lnTo>
                    <a:pt x="33" y="7"/>
                  </a:lnTo>
                  <a:lnTo>
                    <a:pt x="35" y="6"/>
                  </a:lnTo>
                  <a:lnTo>
                    <a:pt x="38" y="4"/>
                  </a:lnTo>
                  <a:lnTo>
                    <a:pt x="39" y="3"/>
                  </a:lnTo>
                  <a:lnTo>
                    <a:pt x="41" y="5"/>
                  </a:lnTo>
                  <a:lnTo>
                    <a:pt x="44" y="5"/>
                  </a:lnTo>
                  <a:lnTo>
                    <a:pt x="46" y="6"/>
                  </a:lnTo>
                  <a:lnTo>
                    <a:pt x="46" y="9"/>
                  </a:lnTo>
                  <a:lnTo>
                    <a:pt x="49" y="12"/>
                  </a:lnTo>
                  <a:lnTo>
                    <a:pt x="52" y="14"/>
                  </a:lnTo>
                  <a:lnTo>
                    <a:pt x="54" y="14"/>
                  </a:lnTo>
                  <a:lnTo>
                    <a:pt x="57" y="13"/>
                  </a:lnTo>
                  <a:lnTo>
                    <a:pt x="59" y="12"/>
                  </a:lnTo>
                  <a:lnTo>
                    <a:pt x="63" y="11"/>
                  </a:lnTo>
                  <a:lnTo>
                    <a:pt x="67" y="11"/>
                  </a:lnTo>
                  <a:lnTo>
                    <a:pt x="71" y="11"/>
                  </a:lnTo>
                  <a:lnTo>
                    <a:pt x="75" y="14"/>
                  </a:lnTo>
                  <a:lnTo>
                    <a:pt x="76" y="15"/>
                  </a:lnTo>
                  <a:lnTo>
                    <a:pt x="77" y="23"/>
                  </a:lnTo>
                  <a:lnTo>
                    <a:pt x="79" y="31"/>
                  </a:lnTo>
                  <a:lnTo>
                    <a:pt x="78" y="35"/>
                  </a:lnTo>
                  <a:lnTo>
                    <a:pt x="75" y="40"/>
                  </a:lnTo>
                  <a:lnTo>
                    <a:pt x="72" y="47"/>
                  </a:lnTo>
                  <a:lnTo>
                    <a:pt x="70" y="53"/>
                  </a:lnTo>
                  <a:lnTo>
                    <a:pt x="71" y="57"/>
                  </a:lnTo>
                  <a:lnTo>
                    <a:pt x="72" y="62"/>
                  </a:lnTo>
                  <a:lnTo>
                    <a:pt x="76" y="69"/>
                  </a:lnTo>
                  <a:lnTo>
                    <a:pt x="76" y="73"/>
                  </a:lnTo>
                  <a:lnTo>
                    <a:pt x="75" y="72"/>
                  </a:lnTo>
                  <a:lnTo>
                    <a:pt x="73" y="71"/>
                  </a:lnTo>
                  <a:lnTo>
                    <a:pt x="72" y="71"/>
                  </a:lnTo>
                  <a:lnTo>
                    <a:pt x="72" y="72"/>
                  </a:lnTo>
                  <a:lnTo>
                    <a:pt x="71" y="72"/>
                  </a:lnTo>
                  <a:lnTo>
                    <a:pt x="68" y="72"/>
                  </a:lnTo>
                  <a:lnTo>
                    <a:pt x="64" y="71"/>
                  </a:lnTo>
                  <a:lnTo>
                    <a:pt x="60" y="71"/>
                  </a:lnTo>
                  <a:lnTo>
                    <a:pt x="46" y="71"/>
                  </a:lnTo>
                  <a:lnTo>
                    <a:pt x="39" y="72"/>
                  </a:lnTo>
                  <a:lnTo>
                    <a:pt x="36" y="74"/>
                  </a:lnTo>
                  <a:lnTo>
                    <a:pt x="29" y="76"/>
                  </a:lnTo>
                  <a:lnTo>
                    <a:pt x="19" y="81"/>
                  </a:lnTo>
                  <a:lnTo>
                    <a:pt x="15" y="83"/>
                  </a:lnTo>
                  <a:lnTo>
                    <a:pt x="13" y="83"/>
                  </a:lnTo>
                  <a:lnTo>
                    <a:pt x="13" y="8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1" name="Freeform 83">
              <a:extLst>
                <a:ext uri="{FF2B5EF4-FFF2-40B4-BE49-F238E27FC236}">
                  <a16:creationId xmlns:a16="http://schemas.microsoft.com/office/drawing/2014/main" id="{F4CAF9CB-843F-5480-1BFC-4A9EB2AE1760}"/>
                </a:ext>
              </a:extLst>
            </p:cNvPr>
            <p:cNvSpPr>
              <a:spLocks/>
            </p:cNvSpPr>
            <p:nvPr/>
          </p:nvSpPr>
          <p:spPr bwMode="auto">
            <a:xfrm>
              <a:off x="5746334" y="4211638"/>
              <a:ext cx="128588" cy="88900"/>
            </a:xfrm>
            <a:custGeom>
              <a:avLst/>
              <a:gdLst/>
              <a:ahLst/>
              <a:cxnLst>
                <a:cxn ang="0">
                  <a:pos x="1" y="33"/>
                </a:cxn>
                <a:cxn ang="0">
                  <a:pos x="2" y="27"/>
                </a:cxn>
                <a:cxn ang="0">
                  <a:pos x="8" y="21"/>
                </a:cxn>
                <a:cxn ang="0">
                  <a:pos x="0" y="11"/>
                </a:cxn>
                <a:cxn ang="0">
                  <a:pos x="1" y="6"/>
                </a:cxn>
                <a:cxn ang="0">
                  <a:pos x="5" y="0"/>
                </a:cxn>
                <a:cxn ang="0">
                  <a:pos x="10" y="3"/>
                </a:cxn>
                <a:cxn ang="0">
                  <a:pos x="9" y="7"/>
                </a:cxn>
                <a:cxn ang="0">
                  <a:pos x="15" y="5"/>
                </a:cxn>
                <a:cxn ang="0">
                  <a:pos x="24" y="8"/>
                </a:cxn>
                <a:cxn ang="0">
                  <a:pos x="30" y="6"/>
                </a:cxn>
                <a:cxn ang="0">
                  <a:pos x="41" y="9"/>
                </a:cxn>
                <a:cxn ang="0">
                  <a:pos x="54" y="2"/>
                </a:cxn>
                <a:cxn ang="0">
                  <a:pos x="61" y="1"/>
                </a:cxn>
                <a:cxn ang="0">
                  <a:pos x="66" y="4"/>
                </a:cxn>
                <a:cxn ang="0">
                  <a:pos x="77" y="9"/>
                </a:cxn>
                <a:cxn ang="0">
                  <a:pos x="81" y="12"/>
                </a:cxn>
                <a:cxn ang="0">
                  <a:pos x="79" y="15"/>
                </a:cxn>
                <a:cxn ang="0">
                  <a:pos x="75" y="16"/>
                </a:cxn>
                <a:cxn ang="0">
                  <a:pos x="73" y="27"/>
                </a:cxn>
                <a:cxn ang="0">
                  <a:pos x="70" y="29"/>
                </a:cxn>
                <a:cxn ang="0">
                  <a:pos x="68" y="34"/>
                </a:cxn>
                <a:cxn ang="0">
                  <a:pos x="71" y="35"/>
                </a:cxn>
                <a:cxn ang="0">
                  <a:pos x="74" y="39"/>
                </a:cxn>
                <a:cxn ang="0">
                  <a:pos x="66" y="41"/>
                </a:cxn>
                <a:cxn ang="0">
                  <a:pos x="60" y="41"/>
                </a:cxn>
                <a:cxn ang="0">
                  <a:pos x="53" y="47"/>
                </a:cxn>
                <a:cxn ang="0">
                  <a:pos x="49" y="48"/>
                </a:cxn>
                <a:cxn ang="0">
                  <a:pos x="49" y="53"/>
                </a:cxn>
                <a:cxn ang="0">
                  <a:pos x="40" y="56"/>
                </a:cxn>
                <a:cxn ang="0">
                  <a:pos x="28" y="50"/>
                </a:cxn>
                <a:cxn ang="0">
                  <a:pos x="20" y="53"/>
                </a:cxn>
                <a:cxn ang="0">
                  <a:pos x="8" y="54"/>
                </a:cxn>
                <a:cxn ang="0">
                  <a:pos x="9" y="50"/>
                </a:cxn>
                <a:cxn ang="0">
                  <a:pos x="7" y="43"/>
                </a:cxn>
                <a:cxn ang="0">
                  <a:pos x="1" y="37"/>
                </a:cxn>
                <a:cxn ang="0">
                  <a:pos x="0" y="35"/>
                </a:cxn>
              </a:cxnLst>
              <a:rect l="0" t="0" r="r" b="b"/>
              <a:pathLst>
                <a:path w="81" h="56">
                  <a:moveTo>
                    <a:pt x="0" y="35"/>
                  </a:moveTo>
                  <a:lnTo>
                    <a:pt x="1" y="33"/>
                  </a:lnTo>
                  <a:lnTo>
                    <a:pt x="1" y="29"/>
                  </a:lnTo>
                  <a:lnTo>
                    <a:pt x="2" y="27"/>
                  </a:lnTo>
                  <a:lnTo>
                    <a:pt x="7" y="24"/>
                  </a:lnTo>
                  <a:lnTo>
                    <a:pt x="8" y="21"/>
                  </a:lnTo>
                  <a:lnTo>
                    <a:pt x="8" y="20"/>
                  </a:lnTo>
                  <a:lnTo>
                    <a:pt x="0" y="11"/>
                  </a:lnTo>
                  <a:lnTo>
                    <a:pt x="0" y="9"/>
                  </a:lnTo>
                  <a:lnTo>
                    <a:pt x="1" y="6"/>
                  </a:lnTo>
                  <a:lnTo>
                    <a:pt x="3" y="3"/>
                  </a:lnTo>
                  <a:lnTo>
                    <a:pt x="5" y="0"/>
                  </a:lnTo>
                  <a:lnTo>
                    <a:pt x="8" y="2"/>
                  </a:lnTo>
                  <a:lnTo>
                    <a:pt x="10" y="3"/>
                  </a:lnTo>
                  <a:lnTo>
                    <a:pt x="8" y="5"/>
                  </a:lnTo>
                  <a:lnTo>
                    <a:pt x="9" y="7"/>
                  </a:lnTo>
                  <a:lnTo>
                    <a:pt x="10" y="7"/>
                  </a:lnTo>
                  <a:lnTo>
                    <a:pt x="15" y="5"/>
                  </a:lnTo>
                  <a:lnTo>
                    <a:pt x="18" y="5"/>
                  </a:lnTo>
                  <a:lnTo>
                    <a:pt x="24" y="8"/>
                  </a:lnTo>
                  <a:lnTo>
                    <a:pt x="26" y="8"/>
                  </a:lnTo>
                  <a:lnTo>
                    <a:pt x="30" y="6"/>
                  </a:lnTo>
                  <a:lnTo>
                    <a:pt x="32" y="6"/>
                  </a:lnTo>
                  <a:lnTo>
                    <a:pt x="41" y="9"/>
                  </a:lnTo>
                  <a:lnTo>
                    <a:pt x="43" y="9"/>
                  </a:lnTo>
                  <a:lnTo>
                    <a:pt x="54" y="2"/>
                  </a:lnTo>
                  <a:lnTo>
                    <a:pt x="57" y="0"/>
                  </a:lnTo>
                  <a:lnTo>
                    <a:pt x="61" y="1"/>
                  </a:lnTo>
                  <a:lnTo>
                    <a:pt x="65" y="4"/>
                  </a:lnTo>
                  <a:lnTo>
                    <a:pt x="66" y="4"/>
                  </a:lnTo>
                  <a:lnTo>
                    <a:pt x="69" y="6"/>
                  </a:lnTo>
                  <a:lnTo>
                    <a:pt x="77" y="9"/>
                  </a:lnTo>
                  <a:lnTo>
                    <a:pt x="81" y="10"/>
                  </a:lnTo>
                  <a:lnTo>
                    <a:pt x="81" y="12"/>
                  </a:lnTo>
                  <a:lnTo>
                    <a:pt x="81" y="15"/>
                  </a:lnTo>
                  <a:lnTo>
                    <a:pt x="79" y="15"/>
                  </a:lnTo>
                  <a:lnTo>
                    <a:pt x="77" y="15"/>
                  </a:lnTo>
                  <a:lnTo>
                    <a:pt x="75" y="16"/>
                  </a:lnTo>
                  <a:lnTo>
                    <a:pt x="73" y="22"/>
                  </a:lnTo>
                  <a:lnTo>
                    <a:pt x="73" y="27"/>
                  </a:lnTo>
                  <a:lnTo>
                    <a:pt x="72" y="28"/>
                  </a:lnTo>
                  <a:lnTo>
                    <a:pt x="70" y="29"/>
                  </a:lnTo>
                  <a:lnTo>
                    <a:pt x="68" y="32"/>
                  </a:lnTo>
                  <a:lnTo>
                    <a:pt x="68" y="34"/>
                  </a:lnTo>
                  <a:lnTo>
                    <a:pt x="69" y="33"/>
                  </a:lnTo>
                  <a:lnTo>
                    <a:pt x="71" y="35"/>
                  </a:lnTo>
                  <a:lnTo>
                    <a:pt x="71" y="36"/>
                  </a:lnTo>
                  <a:lnTo>
                    <a:pt x="74" y="39"/>
                  </a:lnTo>
                  <a:lnTo>
                    <a:pt x="74" y="41"/>
                  </a:lnTo>
                  <a:lnTo>
                    <a:pt x="66" y="41"/>
                  </a:lnTo>
                  <a:lnTo>
                    <a:pt x="63" y="40"/>
                  </a:lnTo>
                  <a:lnTo>
                    <a:pt x="60" y="41"/>
                  </a:lnTo>
                  <a:lnTo>
                    <a:pt x="56" y="44"/>
                  </a:lnTo>
                  <a:lnTo>
                    <a:pt x="53" y="47"/>
                  </a:lnTo>
                  <a:lnTo>
                    <a:pt x="51" y="47"/>
                  </a:lnTo>
                  <a:lnTo>
                    <a:pt x="49" y="48"/>
                  </a:lnTo>
                  <a:lnTo>
                    <a:pt x="50" y="51"/>
                  </a:lnTo>
                  <a:lnTo>
                    <a:pt x="49" y="53"/>
                  </a:lnTo>
                  <a:lnTo>
                    <a:pt x="42" y="55"/>
                  </a:lnTo>
                  <a:lnTo>
                    <a:pt x="40" y="56"/>
                  </a:lnTo>
                  <a:lnTo>
                    <a:pt x="36" y="54"/>
                  </a:lnTo>
                  <a:lnTo>
                    <a:pt x="28" y="50"/>
                  </a:lnTo>
                  <a:lnTo>
                    <a:pt x="24" y="50"/>
                  </a:lnTo>
                  <a:lnTo>
                    <a:pt x="20" y="53"/>
                  </a:lnTo>
                  <a:lnTo>
                    <a:pt x="9" y="54"/>
                  </a:lnTo>
                  <a:lnTo>
                    <a:pt x="8" y="54"/>
                  </a:lnTo>
                  <a:lnTo>
                    <a:pt x="8" y="53"/>
                  </a:lnTo>
                  <a:lnTo>
                    <a:pt x="9" y="50"/>
                  </a:lnTo>
                  <a:lnTo>
                    <a:pt x="9" y="47"/>
                  </a:lnTo>
                  <a:lnTo>
                    <a:pt x="7" y="43"/>
                  </a:lnTo>
                  <a:lnTo>
                    <a:pt x="5" y="40"/>
                  </a:lnTo>
                  <a:lnTo>
                    <a:pt x="1" y="37"/>
                  </a:lnTo>
                  <a:lnTo>
                    <a:pt x="0" y="36"/>
                  </a:lnTo>
                  <a:lnTo>
                    <a:pt x="0" y="3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2" name="Freeform 84">
              <a:extLst>
                <a:ext uri="{FF2B5EF4-FFF2-40B4-BE49-F238E27FC236}">
                  <a16:creationId xmlns:a16="http://schemas.microsoft.com/office/drawing/2014/main" id="{E419DBBD-2795-8DB1-0283-B64023592159}"/>
                </a:ext>
              </a:extLst>
            </p:cNvPr>
            <p:cNvSpPr>
              <a:spLocks/>
            </p:cNvSpPr>
            <p:nvPr/>
          </p:nvSpPr>
          <p:spPr bwMode="auto">
            <a:xfrm>
              <a:off x="5836821" y="4086225"/>
              <a:ext cx="71438" cy="90488"/>
            </a:xfrm>
            <a:custGeom>
              <a:avLst/>
              <a:gdLst/>
              <a:ahLst/>
              <a:cxnLst>
                <a:cxn ang="0">
                  <a:pos x="1" y="2"/>
                </a:cxn>
                <a:cxn ang="0">
                  <a:pos x="2" y="2"/>
                </a:cxn>
                <a:cxn ang="0">
                  <a:pos x="5" y="1"/>
                </a:cxn>
                <a:cxn ang="0">
                  <a:pos x="8" y="1"/>
                </a:cxn>
                <a:cxn ang="0">
                  <a:pos x="11" y="0"/>
                </a:cxn>
                <a:cxn ang="0">
                  <a:pos x="13" y="1"/>
                </a:cxn>
                <a:cxn ang="0">
                  <a:pos x="14" y="0"/>
                </a:cxn>
                <a:cxn ang="0">
                  <a:pos x="17" y="3"/>
                </a:cxn>
                <a:cxn ang="0">
                  <a:pos x="19" y="4"/>
                </a:cxn>
                <a:cxn ang="0">
                  <a:pos x="21" y="4"/>
                </a:cxn>
                <a:cxn ang="0">
                  <a:pos x="23" y="5"/>
                </a:cxn>
                <a:cxn ang="0">
                  <a:pos x="22" y="6"/>
                </a:cxn>
                <a:cxn ang="0">
                  <a:pos x="23" y="7"/>
                </a:cxn>
                <a:cxn ang="0">
                  <a:pos x="26" y="6"/>
                </a:cxn>
                <a:cxn ang="0">
                  <a:pos x="29" y="10"/>
                </a:cxn>
                <a:cxn ang="0">
                  <a:pos x="32" y="9"/>
                </a:cxn>
                <a:cxn ang="0">
                  <a:pos x="33" y="11"/>
                </a:cxn>
                <a:cxn ang="0">
                  <a:pos x="33" y="13"/>
                </a:cxn>
                <a:cxn ang="0">
                  <a:pos x="33" y="16"/>
                </a:cxn>
                <a:cxn ang="0">
                  <a:pos x="33" y="20"/>
                </a:cxn>
                <a:cxn ang="0">
                  <a:pos x="35" y="22"/>
                </a:cxn>
                <a:cxn ang="0">
                  <a:pos x="37" y="22"/>
                </a:cxn>
                <a:cxn ang="0">
                  <a:pos x="38" y="23"/>
                </a:cxn>
                <a:cxn ang="0">
                  <a:pos x="37" y="26"/>
                </a:cxn>
                <a:cxn ang="0">
                  <a:pos x="38" y="27"/>
                </a:cxn>
                <a:cxn ang="0">
                  <a:pos x="39" y="30"/>
                </a:cxn>
                <a:cxn ang="0">
                  <a:pos x="41" y="31"/>
                </a:cxn>
                <a:cxn ang="0">
                  <a:pos x="43" y="33"/>
                </a:cxn>
                <a:cxn ang="0">
                  <a:pos x="43" y="36"/>
                </a:cxn>
                <a:cxn ang="0">
                  <a:pos x="43" y="38"/>
                </a:cxn>
                <a:cxn ang="0">
                  <a:pos x="45" y="39"/>
                </a:cxn>
                <a:cxn ang="0">
                  <a:pos x="43" y="40"/>
                </a:cxn>
                <a:cxn ang="0">
                  <a:pos x="42" y="41"/>
                </a:cxn>
                <a:cxn ang="0">
                  <a:pos x="40" y="39"/>
                </a:cxn>
                <a:cxn ang="0">
                  <a:pos x="39" y="40"/>
                </a:cxn>
                <a:cxn ang="0">
                  <a:pos x="37" y="39"/>
                </a:cxn>
                <a:cxn ang="0">
                  <a:pos x="36" y="38"/>
                </a:cxn>
                <a:cxn ang="0">
                  <a:pos x="35" y="39"/>
                </a:cxn>
                <a:cxn ang="0">
                  <a:pos x="34" y="40"/>
                </a:cxn>
                <a:cxn ang="0">
                  <a:pos x="33" y="38"/>
                </a:cxn>
                <a:cxn ang="0">
                  <a:pos x="32" y="38"/>
                </a:cxn>
                <a:cxn ang="0">
                  <a:pos x="30" y="40"/>
                </a:cxn>
                <a:cxn ang="0">
                  <a:pos x="30" y="43"/>
                </a:cxn>
                <a:cxn ang="0">
                  <a:pos x="30" y="45"/>
                </a:cxn>
                <a:cxn ang="0">
                  <a:pos x="30" y="48"/>
                </a:cxn>
                <a:cxn ang="0">
                  <a:pos x="27" y="49"/>
                </a:cxn>
                <a:cxn ang="0">
                  <a:pos x="26" y="51"/>
                </a:cxn>
                <a:cxn ang="0">
                  <a:pos x="25" y="52"/>
                </a:cxn>
                <a:cxn ang="0">
                  <a:pos x="24" y="55"/>
                </a:cxn>
                <a:cxn ang="0">
                  <a:pos x="23" y="57"/>
                </a:cxn>
                <a:cxn ang="0">
                  <a:pos x="21" y="57"/>
                </a:cxn>
                <a:cxn ang="0">
                  <a:pos x="20" y="55"/>
                </a:cxn>
                <a:cxn ang="0">
                  <a:pos x="19" y="51"/>
                </a:cxn>
                <a:cxn ang="0">
                  <a:pos x="21" y="35"/>
                </a:cxn>
                <a:cxn ang="0">
                  <a:pos x="9" y="15"/>
                </a:cxn>
                <a:cxn ang="0">
                  <a:pos x="0" y="4"/>
                </a:cxn>
              </a:cxnLst>
              <a:rect l="0" t="0" r="r" b="b"/>
              <a:pathLst>
                <a:path w="45" h="57">
                  <a:moveTo>
                    <a:pt x="0" y="4"/>
                  </a:moveTo>
                  <a:lnTo>
                    <a:pt x="0" y="3"/>
                  </a:lnTo>
                  <a:lnTo>
                    <a:pt x="1" y="2"/>
                  </a:lnTo>
                  <a:lnTo>
                    <a:pt x="1" y="3"/>
                  </a:lnTo>
                  <a:lnTo>
                    <a:pt x="2" y="3"/>
                  </a:lnTo>
                  <a:lnTo>
                    <a:pt x="2" y="2"/>
                  </a:lnTo>
                  <a:lnTo>
                    <a:pt x="2" y="1"/>
                  </a:lnTo>
                  <a:lnTo>
                    <a:pt x="4" y="2"/>
                  </a:lnTo>
                  <a:lnTo>
                    <a:pt x="5" y="1"/>
                  </a:lnTo>
                  <a:lnTo>
                    <a:pt x="6" y="2"/>
                  </a:lnTo>
                  <a:lnTo>
                    <a:pt x="8" y="2"/>
                  </a:lnTo>
                  <a:lnTo>
                    <a:pt x="8" y="1"/>
                  </a:lnTo>
                  <a:lnTo>
                    <a:pt x="9" y="0"/>
                  </a:lnTo>
                  <a:lnTo>
                    <a:pt x="10" y="1"/>
                  </a:lnTo>
                  <a:lnTo>
                    <a:pt x="11" y="0"/>
                  </a:lnTo>
                  <a:lnTo>
                    <a:pt x="12" y="0"/>
                  </a:lnTo>
                  <a:lnTo>
                    <a:pt x="12" y="0"/>
                  </a:lnTo>
                  <a:lnTo>
                    <a:pt x="13" y="1"/>
                  </a:lnTo>
                  <a:lnTo>
                    <a:pt x="13" y="0"/>
                  </a:lnTo>
                  <a:lnTo>
                    <a:pt x="14" y="0"/>
                  </a:lnTo>
                  <a:lnTo>
                    <a:pt x="14" y="0"/>
                  </a:lnTo>
                  <a:lnTo>
                    <a:pt x="15" y="1"/>
                  </a:lnTo>
                  <a:lnTo>
                    <a:pt x="16" y="2"/>
                  </a:lnTo>
                  <a:lnTo>
                    <a:pt x="17" y="3"/>
                  </a:lnTo>
                  <a:lnTo>
                    <a:pt x="18" y="3"/>
                  </a:lnTo>
                  <a:lnTo>
                    <a:pt x="18" y="3"/>
                  </a:lnTo>
                  <a:lnTo>
                    <a:pt x="19" y="4"/>
                  </a:lnTo>
                  <a:lnTo>
                    <a:pt x="19" y="4"/>
                  </a:lnTo>
                  <a:lnTo>
                    <a:pt x="20" y="4"/>
                  </a:lnTo>
                  <a:lnTo>
                    <a:pt x="21" y="4"/>
                  </a:lnTo>
                  <a:lnTo>
                    <a:pt x="21" y="4"/>
                  </a:lnTo>
                  <a:lnTo>
                    <a:pt x="22" y="4"/>
                  </a:lnTo>
                  <a:lnTo>
                    <a:pt x="23" y="5"/>
                  </a:lnTo>
                  <a:lnTo>
                    <a:pt x="22" y="6"/>
                  </a:lnTo>
                  <a:lnTo>
                    <a:pt x="22" y="6"/>
                  </a:lnTo>
                  <a:lnTo>
                    <a:pt x="22" y="6"/>
                  </a:lnTo>
                  <a:lnTo>
                    <a:pt x="23" y="6"/>
                  </a:lnTo>
                  <a:lnTo>
                    <a:pt x="23" y="7"/>
                  </a:lnTo>
                  <a:lnTo>
                    <a:pt x="23" y="7"/>
                  </a:lnTo>
                  <a:lnTo>
                    <a:pt x="24" y="6"/>
                  </a:lnTo>
                  <a:lnTo>
                    <a:pt x="24" y="6"/>
                  </a:lnTo>
                  <a:lnTo>
                    <a:pt x="26" y="6"/>
                  </a:lnTo>
                  <a:lnTo>
                    <a:pt x="28" y="6"/>
                  </a:lnTo>
                  <a:lnTo>
                    <a:pt x="28" y="8"/>
                  </a:lnTo>
                  <a:lnTo>
                    <a:pt x="29" y="10"/>
                  </a:lnTo>
                  <a:lnTo>
                    <a:pt x="30" y="10"/>
                  </a:lnTo>
                  <a:lnTo>
                    <a:pt x="31" y="10"/>
                  </a:lnTo>
                  <a:lnTo>
                    <a:pt x="32" y="9"/>
                  </a:lnTo>
                  <a:lnTo>
                    <a:pt x="32" y="9"/>
                  </a:lnTo>
                  <a:lnTo>
                    <a:pt x="33" y="10"/>
                  </a:lnTo>
                  <a:lnTo>
                    <a:pt x="33" y="11"/>
                  </a:lnTo>
                  <a:lnTo>
                    <a:pt x="34" y="11"/>
                  </a:lnTo>
                  <a:lnTo>
                    <a:pt x="33" y="13"/>
                  </a:lnTo>
                  <a:lnTo>
                    <a:pt x="33" y="13"/>
                  </a:lnTo>
                  <a:lnTo>
                    <a:pt x="33" y="13"/>
                  </a:lnTo>
                  <a:lnTo>
                    <a:pt x="33" y="15"/>
                  </a:lnTo>
                  <a:lnTo>
                    <a:pt x="33" y="16"/>
                  </a:lnTo>
                  <a:lnTo>
                    <a:pt x="32" y="18"/>
                  </a:lnTo>
                  <a:lnTo>
                    <a:pt x="32" y="19"/>
                  </a:lnTo>
                  <a:lnTo>
                    <a:pt x="33" y="20"/>
                  </a:lnTo>
                  <a:lnTo>
                    <a:pt x="34" y="20"/>
                  </a:lnTo>
                  <a:lnTo>
                    <a:pt x="35" y="21"/>
                  </a:lnTo>
                  <a:lnTo>
                    <a:pt x="35" y="22"/>
                  </a:lnTo>
                  <a:lnTo>
                    <a:pt x="36" y="22"/>
                  </a:lnTo>
                  <a:lnTo>
                    <a:pt x="36" y="22"/>
                  </a:lnTo>
                  <a:lnTo>
                    <a:pt x="37" y="22"/>
                  </a:lnTo>
                  <a:lnTo>
                    <a:pt x="38" y="22"/>
                  </a:lnTo>
                  <a:lnTo>
                    <a:pt x="38" y="22"/>
                  </a:lnTo>
                  <a:lnTo>
                    <a:pt x="38" y="23"/>
                  </a:lnTo>
                  <a:lnTo>
                    <a:pt x="38" y="24"/>
                  </a:lnTo>
                  <a:lnTo>
                    <a:pt x="38" y="26"/>
                  </a:lnTo>
                  <a:lnTo>
                    <a:pt x="37" y="26"/>
                  </a:lnTo>
                  <a:lnTo>
                    <a:pt x="38" y="27"/>
                  </a:lnTo>
                  <a:lnTo>
                    <a:pt x="38" y="27"/>
                  </a:lnTo>
                  <a:lnTo>
                    <a:pt x="38" y="27"/>
                  </a:lnTo>
                  <a:lnTo>
                    <a:pt x="38" y="28"/>
                  </a:lnTo>
                  <a:lnTo>
                    <a:pt x="38" y="29"/>
                  </a:lnTo>
                  <a:lnTo>
                    <a:pt x="39" y="30"/>
                  </a:lnTo>
                  <a:lnTo>
                    <a:pt x="40" y="30"/>
                  </a:lnTo>
                  <a:lnTo>
                    <a:pt x="41" y="31"/>
                  </a:lnTo>
                  <a:lnTo>
                    <a:pt x="41" y="31"/>
                  </a:lnTo>
                  <a:lnTo>
                    <a:pt x="42" y="32"/>
                  </a:lnTo>
                  <a:lnTo>
                    <a:pt x="43" y="32"/>
                  </a:lnTo>
                  <a:lnTo>
                    <a:pt x="43" y="33"/>
                  </a:lnTo>
                  <a:lnTo>
                    <a:pt x="43" y="34"/>
                  </a:lnTo>
                  <a:lnTo>
                    <a:pt x="43" y="36"/>
                  </a:lnTo>
                  <a:lnTo>
                    <a:pt x="43" y="36"/>
                  </a:lnTo>
                  <a:lnTo>
                    <a:pt x="42" y="37"/>
                  </a:lnTo>
                  <a:lnTo>
                    <a:pt x="42" y="37"/>
                  </a:lnTo>
                  <a:lnTo>
                    <a:pt x="43" y="38"/>
                  </a:lnTo>
                  <a:lnTo>
                    <a:pt x="43" y="38"/>
                  </a:lnTo>
                  <a:lnTo>
                    <a:pt x="44" y="39"/>
                  </a:lnTo>
                  <a:lnTo>
                    <a:pt x="45" y="39"/>
                  </a:lnTo>
                  <a:lnTo>
                    <a:pt x="45" y="40"/>
                  </a:lnTo>
                  <a:lnTo>
                    <a:pt x="44" y="40"/>
                  </a:lnTo>
                  <a:lnTo>
                    <a:pt x="43" y="40"/>
                  </a:lnTo>
                  <a:lnTo>
                    <a:pt x="42" y="40"/>
                  </a:lnTo>
                  <a:lnTo>
                    <a:pt x="42" y="40"/>
                  </a:lnTo>
                  <a:lnTo>
                    <a:pt x="42" y="41"/>
                  </a:lnTo>
                  <a:lnTo>
                    <a:pt x="41" y="40"/>
                  </a:lnTo>
                  <a:lnTo>
                    <a:pt x="41" y="39"/>
                  </a:lnTo>
                  <a:lnTo>
                    <a:pt x="40" y="39"/>
                  </a:lnTo>
                  <a:lnTo>
                    <a:pt x="39" y="39"/>
                  </a:lnTo>
                  <a:lnTo>
                    <a:pt x="39" y="40"/>
                  </a:lnTo>
                  <a:lnTo>
                    <a:pt x="39" y="40"/>
                  </a:lnTo>
                  <a:lnTo>
                    <a:pt x="38" y="41"/>
                  </a:lnTo>
                  <a:lnTo>
                    <a:pt x="38" y="39"/>
                  </a:lnTo>
                  <a:lnTo>
                    <a:pt x="37" y="39"/>
                  </a:lnTo>
                  <a:lnTo>
                    <a:pt x="36" y="39"/>
                  </a:lnTo>
                  <a:lnTo>
                    <a:pt x="36" y="38"/>
                  </a:lnTo>
                  <a:lnTo>
                    <a:pt x="36" y="38"/>
                  </a:lnTo>
                  <a:lnTo>
                    <a:pt x="35" y="39"/>
                  </a:lnTo>
                  <a:lnTo>
                    <a:pt x="35" y="39"/>
                  </a:lnTo>
                  <a:lnTo>
                    <a:pt x="35" y="39"/>
                  </a:lnTo>
                  <a:lnTo>
                    <a:pt x="34" y="39"/>
                  </a:lnTo>
                  <a:lnTo>
                    <a:pt x="34" y="39"/>
                  </a:lnTo>
                  <a:lnTo>
                    <a:pt x="34" y="40"/>
                  </a:lnTo>
                  <a:lnTo>
                    <a:pt x="34" y="40"/>
                  </a:lnTo>
                  <a:lnTo>
                    <a:pt x="33" y="40"/>
                  </a:lnTo>
                  <a:lnTo>
                    <a:pt x="33" y="38"/>
                  </a:lnTo>
                  <a:lnTo>
                    <a:pt x="33" y="37"/>
                  </a:lnTo>
                  <a:lnTo>
                    <a:pt x="33" y="37"/>
                  </a:lnTo>
                  <a:lnTo>
                    <a:pt x="32" y="38"/>
                  </a:lnTo>
                  <a:lnTo>
                    <a:pt x="30" y="38"/>
                  </a:lnTo>
                  <a:lnTo>
                    <a:pt x="29" y="39"/>
                  </a:lnTo>
                  <a:lnTo>
                    <a:pt x="30" y="40"/>
                  </a:lnTo>
                  <a:lnTo>
                    <a:pt x="30" y="41"/>
                  </a:lnTo>
                  <a:lnTo>
                    <a:pt x="30" y="42"/>
                  </a:lnTo>
                  <a:lnTo>
                    <a:pt x="30" y="43"/>
                  </a:lnTo>
                  <a:lnTo>
                    <a:pt x="30" y="44"/>
                  </a:lnTo>
                  <a:lnTo>
                    <a:pt x="30" y="45"/>
                  </a:lnTo>
                  <a:lnTo>
                    <a:pt x="30" y="45"/>
                  </a:lnTo>
                  <a:lnTo>
                    <a:pt x="30" y="46"/>
                  </a:lnTo>
                  <a:lnTo>
                    <a:pt x="30" y="47"/>
                  </a:lnTo>
                  <a:lnTo>
                    <a:pt x="30" y="48"/>
                  </a:lnTo>
                  <a:lnTo>
                    <a:pt x="28" y="48"/>
                  </a:lnTo>
                  <a:lnTo>
                    <a:pt x="27" y="48"/>
                  </a:lnTo>
                  <a:lnTo>
                    <a:pt x="27" y="49"/>
                  </a:lnTo>
                  <a:lnTo>
                    <a:pt x="27" y="50"/>
                  </a:lnTo>
                  <a:lnTo>
                    <a:pt x="27" y="51"/>
                  </a:lnTo>
                  <a:lnTo>
                    <a:pt x="26" y="51"/>
                  </a:lnTo>
                  <a:lnTo>
                    <a:pt x="26" y="52"/>
                  </a:lnTo>
                  <a:lnTo>
                    <a:pt x="25" y="52"/>
                  </a:lnTo>
                  <a:lnTo>
                    <a:pt x="25" y="52"/>
                  </a:lnTo>
                  <a:lnTo>
                    <a:pt x="24" y="53"/>
                  </a:lnTo>
                  <a:lnTo>
                    <a:pt x="24" y="54"/>
                  </a:lnTo>
                  <a:lnTo>
                    <a:pt x="24" y="55"/>
                  </a:lnTo>
                  <a:lnTo>
                    <a:pt x="24" y="55"/>
                  </a:lnTo>
                  <a:lnTo>
                    <a:pt x="24" y="57"/>
                  </a:lnTo>
                  <a:lnTo>
                    <a:pt x="23" y="57"/>
                  </a:lnTo>
                  <a:lnTo>
                    <a:pt x="22" y="56"/>
                  </a:lnTo>
                  <a:lnTo>
                    <a:pt x="21" y="56"/>
                  </a:lnTo>
                  <a:lnTo>
                    <a:pt x="21" y="57"/>
                  </a:lnTo>
                  <a:lnTo>
                    <a:pt x="20" y="57"/>
                  </a:lnTo>
                  <a:lnTo>
                    <a:pt x="20" y="57"/>
                  </a:lnTo>
                  <a:lnTo>
                    <a:pt x="20" y="55"/>
                  </a:lnTo>
                  <a:lnTo>
                    <a:pt x="18" y="54"/>
                  </a:lnTo>
                  <a:lnTo>
                    <a:pt x="20" y="54"/>
                  </a:lnTo>
                  <a:lnTo>
                    <a:pt x="19" y="51"/>
                  </a:lnTo>
                  <a:lnTo>
                    <a:pt x="19" y="47"/>
                  </a:lnTo>
                  <a:lnTo>
                    <a:pt x="21" y="38"/>
                  </a:lnTo>
                  <a:lnTo>
                    <a:pt x="21" y="35"/>
                  </a:lnTo>
                  <a:lnTo>
                    <a:pt x="19" y="28"/>
                  </a:lnTo>
                  <a:lnTo>
                    <a:pt x="15" y="25"/>
                  </a:lnTo>
                  <a:lnTo>
                    <a:pt x="9" y="15"/>
                  </a:lnTo>
                  <a:lnTo>
                    <a:pt x="5" y="5"/>
                  </a:lnTo>
                  <a:lnTo>
                    <a:pt x="1" y="3"/>
                  </a:lnTo>
                  <a:lnTo>
                    <a:pt x="0"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3" name="Freeform 85">
              <a:extLst>
                <a:ext uri="{FF2B5EF4-FFF2-40B4-BE49-F238E27FC236}">
                  <a16:creationId xmlns:a16="http://schemas.microsoft.com/office/drawing/2014/main" id="{686C83A0-A0C3-7506-DB8B-46F6F3AE2B0C}"/>
                </a:ext>
              </a:extLst>
            </p:cNvPr>
            <p:cNvSpPr>
              <a:spLocks/>
            </p:cNvSpPr>
            <p:nvPr/>
          </p:nvSpPr>
          <p:spPr bwMode="auto">
            <a:xfrm>
              <a:off x="4073109" y="5897563"/>
              <a:ext cx="106363" cy="117475"/>
            </a:xfrm>
            <a:custGeom>
              <a:avLst/>
              <a:gdLst/>
              <a:ahLst/>
              <a:cxnLst>
                <a:cxn ang="0">
                  <a:pos x="1" y="61"/>
                </a:cxn>
                <a:cxn ang="0">
                  <a:pos x="1" y="59"/>
                </a:cxn>
                <a:cxn ang="0">
                  <a:pos x="0" y="54"/>
                </a:cxn>
                <a:cxn ang="0">
                  <a:pos x="0" y="51"/>
                </a:cxn>
                <a:cxn ang="0">
                  <a:pos x="1" y="47"/>
                </a:cxn>
                <a:cxn ang="0">
                  <a:pos x="4" y="44"/>
                </a:cxn>
                <a:cxn ang="0">
                  <a:pos x="5" y="41"/>
                </a:cxn>
                <a:cxn ang="0">
                  <a:pos x="4" y="35"/>
                </a:cxn>
                <a:cxn ang="0">
                  <a:pos x="3" y="29"/>
                </a:cxn>
                <a:cxn ang="0">
                  <a:pos x="4" y="25"/>
                </a:cxn>
                <a:cxn ang="0">
                  <a:pos x="7" y="9"/>
                </a:cxn>
                <a:cxn ang="0">
                  <a:pos x="8" y="6"/>
                </a:cxn>
                <a:cxn ang="0">
                  <a:pos x="10" y="2"/>
                </a:cxn>
                <a:cxn ang="0">
                  <a:pos x="14" y="2"/>
                </a:cxn>
                <a:cxn ang="0">
                  <a:pos x="20" y="0"/>
                </a:cxn>
                <a:cxn ang="0">
                  <a:pos x="21" y="0"/>
                </a:cxn>
                <a:cxn ang="0">
                  <a:pos x="23" y="0"/>
                </a:cxn>
                <a:cxn ang="0">
                  <a:pos x="26" y="3"/>
                </a:cxn>
                <a:cxn ang="0">
                  <a:pos x="28" y="6"/>
                </a:cxn>
                <a:cxn ang="0">
                  <a:pos x="31" y="11"/>
                </a:cxn>
                <a:cxn ang="0">
                  <a:pos x="33" y="14"/>
                </a:cxn>
                <a:cxn ang="0">
                  <a:pos x="34" y="14"/>
                </a:cxn>
                <a:cxn ang="0">
                  <a:pos x="39" y="11"/>
                </a:cxn>
                <a:cxn ang="0">
                  <a:pos x="40" y="13"/>
                </a:cxn>
                <a:cxn ang="0">
                  <a:pos x="43" y="17"/>
                </a:cxn>
                <a:cxn ang="0">
                  <a:pos x="47" y="19"/>
                </a:cxn>
                <a:cxn ang="0">
                  <a:pos x="50" y="20"/>
                </a:cxn>
                <a:cxn ang="0">
                  <a:pos x="56" y="24"/>
                </a:cxn>
                <a:cxn ang="0">
                  <a:pos x="59" y="27"/>
                </a:cxn>
                <a:cxn ang="0">
                  <a:pos x="64" y="35"/>
                </a:cxn>
                <a:cxn ang="0">
                  <a:pos x="64" y="36"/>
                </a:cxn>
                <a:cxn ang="0">
                  <a:pos x="66" y="36"/>
                </a:cxn>
                <a:cxn ang="0">
                  <a:pos x="67" y="39"/>
                </a:cxn>
                <a:cxn ang="0">
                  <a:pos x="67" y="41"/>
                </a:cxn>
                <a:cxn ang="0">
                  <a:pos x="64" y="46"/>
                </a:cxn>
                <a:cxn ang="0">
                  <a:pos x="63" y="48"/>
                </a:cxn>
                <a:cxn ang="0">
                  <a:pos x="64" y="53"/>
                </a:cxn>
                <a:cxn ang="0">
                  <a:pos x="65" y="56"/>
                </a:cxn>
                <a:cxn ang="0">
                  <a:pos x="65" y="56"/>
                </a:cxn>
                <a:cxn ang="0">
                  <a:pos x="60" y="64"/>
                </a:cxn>
                <a:cxn ang="0">
                  <a:pos x="56" y="68"/>
                </a:cxn>
                <a:cxn ang="0">
                  <a:pos x="52" y="71"/>
                </a:cxn>
                <a:cxn ang="0">
                  <a:pos x="49" y="72"/>
                </a:cxn>
                <a:cxn ang="0">
                  <a:pos x="44" y="73"/>
                </a:cxn>
                <a:cxn ang="0">
                  <a:pos x="39" y="71"/>
                </a:cxn>
                <a:cxn ang="0">
                  <a:pos x="36" y="71"/>
                </a:cxn>
                <a:cxn ang="0">
                  <a:pos x="33" y="72"/>
                </a:cxn>
                <a:cxn ang="0">
                  <a:pos x="29" y="74"/>
                </a:cxn>
                <a:cxn ang="0">
                  <a:pos x="27" y="73"/>
                </a:cxn>
                <a:cxn ang="0">
                  <a:pos x="22" y="68"/>
                </a:cxn>
                <a:cxn ang="0">
                  <a:pos x="18" y="67"/>
                </a:cxn>
                <a:cxn ang="0">
                  <a:pos x="13" y="66"/>
                </a:cxn>
                <a:cxn ang="0">
                  <a:pos x="11" y="66"/>
                </a:cxn>
                <a:cxn ang="0">
                  <a:pos x="8" y="67"/>
                </a:cxn>
                <a:cxn ang="0">
                  <a:pos x="6" y="66"/>
                </a:cxn>
                <a:cxn ang="0">
                  <a:pos x="3" y="62"/>
                </a:cxn>
                <a:cxn ang="0">
                  <a:pos x="1" y="61"/>
                </a:cxn>
              </a:cxnLst>
              <a:rect l="0" t="0" r="r" b="b"/>
              <a:pathLst>
                <a:path w="67" h="74">
                  <a:moveTo>
                    <a:pt x="1" y="61"/>
                  </a:moveTo>
                  <a:lnTo>
                    <a:pt x="1" y="59"/>
                  </a:lnTo>
                  <a:lnTo>
                    <a:pt x="0" y="54"/>
                  </a:lnTo>
                  <a:lnTo>
                    <a:pt x="0" y="51"/>
                  </a:lnTo>
                  <a:lnTo>
                    <a:pt x="1" y="47"/>
                  </a:lnTo>
                  <a:lnTo>
                    <a:pt x="4" y="44"/>
                  </a:lnTo>
                  <a:lnTo>
                    <a:pt x="5" y="41"/>
                  </a:lnTo>
                  <a:lnTo>
                    <a:pt x="4" y="35"/>
                  </a:lnTo>
                  <a:lnTo>
                    <a:pt x="3" y="29"/>
                  </a:lnTo>
                  <a:lnTo>
                    <a:pt x="4" y="25"/>
                  </a:lnTo>
                  <a:lnTo>
                    <a:pt x="7" y="9"/>
                  </a:lnTo>
                  <a:lnTo>
                    <a:pt x="8" y="6"/>
                  </a:lnTo>
                  <a:lnTo>
                    <a:pt x="10" y="2"/>
                  </a:lnTo>
                  <a:lnTo>
                    <a:pt x="14" y="2"/>
                  </a:lnTo>
                  <a:lnTo>
                    <a:pt x="20" y="0"/>
                  </a:lnTo>
                  <a:lnTo>
                    <a:pt x="21" y="0"/>
                  </a:lnTo>
                  <a:lnTo>
                    <a:pt x="23" y="0"/>
                  </a:lnTo>
                  <a:lnTo>
                    <a:pt x="26" y="3"/>
                  </a:lnTo>
                  <a:lnTo>
                    <a:pt x="28" y="6"/>
                  </a:lnTo>
                  <a:lnTo>
                    <a:pt x="31" y="11"/>
                  </a:lnTo>
                  <a:lnTo>
                    <a:pt x="33" y="14"/>
                  </a:lnTo>
                  <a:lnTo>
                    <a:pt x="34" y="14"/>
                  </a:lnTo>
                  <a:lnTo>
                    <a:pt x="39" y="11"/>
                  </a:lnTo>
                  <a:lnTo>
                    <a:pt x="40" y="13"/>
                  </a:lnTo>
                  <a:lnTo>
                    <a:pt x="43" y="17"/>
                  </a:lnTo>
                  <a:lnTo>
                    <a:pt x="47" y="19"/>
                  </a:lnTo>
                  <a:lnTo>
                    <a:pt x="50" y="20"/>
                  </a:lnTo>
                  <a:lnTo>
                    <a:pt x="56" y="24"/>
                  </a:lnTo>
                  <a:lnTo>
                    <a:pt x="59" y="27"/>
                  </a:lnTo>
                  <a:lnTo>
                    <a:pt x="64" y="35"/>
                  </a:lnTo>
                  <a:lnTo>
                    <a:pt x="64" y="36"/>
                  </a:lnTo>
                  <a:lnTo>
                    <a:pt x="66" y="36"/>
                  </a:lnTo>
                  <a:lnTo>
                    <a:pt x="67" y="39"/>
                  </a:lnTo>
                  <a:lnTo>
                    <a:pt x="67" y="41"/>
                  </a:lnTo>
                  <a:lnTo>
                    <a:pt x="64" y="46"/>
                  </a:lnTo>
                  <a:lnTo>
                    <a:pt x="63" y="48"/>
                  </a:lnTo>
                  <a:lnTo>
                    <a:pt x="64" y="53"/>
                  </a:lnTo>
                  <a:lnTo>
                    <a:pt x="65" y="56"/>
                  </a:lnTo>
                  <a:lnTo>
                    <a:pt x="65" y="56"/>
                  </a:lnTo>
                  <a:lnTo>
                    <a:pt x="60" y="64"/>
                  </a:lnTo>
                  <a:lnTo>
                    <a:pt x="56" y="68"/>
                  </a:lnTo>
                  <a:lnTo>
                    <a:pt x="52" y="71"/>
                  </a:lnTo>
                  <a:lnTo>
                    <a:pt x="49" y="72"/>
                  </a:lnTo>
                  <a:lnTo>
                    <a:pt x="44" y="73"/>
                  </a:lnTo>
                  <a:lnTo>
                    <a:pt x="39" y="71"/>
                  </a:lnTo>
                  <a:lnTo>
                    <a:pt x="36" y="71"/>
                  </a:lnTo>
                  <a:lnTo>
                    <a:pt x="33" y="72"/>
                  </a:lnTo>
                  <a:lnTo>
                    <a:pt x="29" y="74"/>
                  </a:lnTo>
                  <a:lnTo>
                    <a:pt x="27" y="73"/>
                  </a:lnTo>
                  <a:lnTo>
                    <a:pt x="22" y="68"/>
                  </a:lnTo>
                  <a:lnTo>
                    <a:pt x="18" y="67"/>
                  </a:lnTo>
                  <a:lnTo>
                    <a:pt x="13" y="66"/>
                  </a:lnTo>
                  <a:lnTo>
                    <a:pt x="11" y="66"/>
                  </a:lnTo>
                  <a:lnTo>
                    <a:pt x="8" y="67"/>
                  </a:lnTo>
                  <a:lnTo>
                    <a:pt x="6" y="66"/>
                  </a:lnTo>
                  <a:lnTo>
                    <a:pt x="3" y="62"/>
                  </a:lnTo>
                  <a:lnTo>
                    <a:pt x="1" y="6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4" name="Freeform 86">
              <a:extLst>
                <a:ext uri="{FF2B5EF4-FFF2-40B4-BE49-F238E27FC236}">
                  <a16:creationId xmlns:a16="http://schemas.microsoft.com/office/drawing/2014/main" id="{08A7801B-6E3E-D588-1F60-6F59608C9CF8}"/>
                </a:ext>
              </a:extLst>
            </p:cNvPr>
            <p:cNvSpPr>
              <a:spLocks/>
            </p:cNvSpPr>
            <p:nvPr/>
          </p:nvSpPr>
          <p:spPr bwMode="auto">
            <a:xfrm>
              <a:off x="5287546" y="4737100"/>
              <a:ext cx="328613" cy="255588"/>
            </a:xfrm>
            <a:custGeom>
              <a:avLst/>
              <a:gdLst/>
              <a:ahLst/>
              <a:cxnLst>
                <a:cxn ang="0">
                  <a:pos x="25" y="149"/>
                </a:cxn>
                <a:cxn ang="0">
                  <a:pos x="19" y="150"/>
                </a:cxn>
                <a:cxn ang="0">
                  <a:pos x="10" y="144"/>
                </a:cxn>
                <a:cxn ang="0">
                  <a:pos x="12" y="140"/>
                </a:cxn>
                <a:cxn ang="0">
                  <a:pos x="11" y="137"/>
                </a:cxn>
                <a:cxn ang="0">
                  <a:pos x="6" y="133"/>
                </a:cxn>
                <a:cxn ang="0">
                  <a:pos x="1" y="124"/>
                </a:cxn>
                <a:cxn ang="0">
                  <a:pos x="1" y="118"/>
                </a:cxn>
                <a:cxn ang="0">
                  <a:pos x="9" y="119"/>
                </a:cxn>
                <a:cxn ang="0">
                  <a:pos x="16" y="115"/>
                </a:cxn>
                <a:cxn ang="0">
                  <a:pos x="27" y="113"/>
                </a:cxn>
                <a:cxn ang="0">
                  <a:pos x="44" y="112"/>
                </a:cxn>
                <a:cxn ang="0">
                  <a:pos x="49" y="106"/>
                </a:cxn>
                <a:cxn ang="0">
                  <a:pos x="53" y="92"/>
                </a:cxn>
                <a:cxn ang="0">
                  <a:pos x="53" y="81"/>
                </a:cxn>
                <a:cxn ang="0">
                  <a:pos x="53" y="61"/>
                </a:cxn>
                <a:cxn ang="0">
                  <a:pos x="73" y="56"/>
                </a:cxn>
                <a:cxn ang="0">
                  <a:pos x="96" y="36"/>
                </a:cxn>
                <a:cxn ang="0">
                  <a:pos x="119" y="21"/>
                </a:cxn>
                <a:cxn ang="0">
                  <a:pos x="153" y="1"/>
                </a:cxn>
                <a:cxn ang="0">
                  <a:pos x="159" y="1"/>
                </a:cxn>
                <a:cxn ang="0">
                  <a:pos x="175" y="6"/>
                </a:cxn>
                <a:cxn ang="0">
                  <a:pos x="183" y="13"/>
                </a:cxn>
                <a:cxn ang="0">
                  <a:pos x="193" y="7"/>
                </a:cxn>
                <a:cxn ang="0">
                  <a:pos x="196" y="29"/>
                </a:cxn>
                <a:cxn ang="0">
                  <a:pos x="202" y="41"/>
                </a:cxn>
                <a:cxn ang="0">
                  <a:pos x="204" y="49"/>
                </a:cxn>
                <a:cxn ang="0">
                  <a:pos x="202" y="62"/>
                </a:cxn>
                <a:cxn ang="0">
                  <a:pos x="201" y="71"/>
                </a:cxn>
                <a:cxn ang="0">
                  <a:pos x="201" y="82"/>
                </a:cxn>
                <a:cxn ang="0">
                  <a:pos x="200" y="92"/>
                </a:cxn>
                <a:cxn ang="0">
                  <a:pos x="183" y="113"/>
                </a:cxn>
                <a:cxn ang="0">
                  <a:pos x="174" y="125"/>
                </a:cxn>
                <a:cxn ang="0">
                  <a:pos x="175" y="134"/>
                </a:cxn>
                <a:cxn ang="0">
                  <a:pos x="169" y="136"/>
                </a:cxn>
                <a:cxn ang="0">
                  <a:pos x="164" y="139"/>
                </a:cxn>
                <a:cxn ang="0">
                  <a:pos x="158" y="143"/>
                </a:cxn>
                <a:cxn ang="0">
                  <a:pos x="150" y="141"/>
                </a:cxn>
                <a:cxn ang="0">
                  <a:pos x="142" y="139"/>
                </a:cxn>
                <a:cxn ang="0">
                  <a:pos x="134" y="140"/>
                </a:cxn>
                <a:cxn ang="0">
                  <a:pos x="127" y="144"/>
                </a:cxn>
                <a:cxn ang="0">
                  <a:pos x="122" y="147"/>
                </a:cxn>
                <a:cxn ang="0">
                  <a:pos x="111" y="145"/>
                </a:cxn>
                <a:cxn ang="0">
                  <a:pos x="102" y="140"/>
                </a:cxn>
                <a:cxn ang="0">
                  <a:pos x="91" y="144"/>
                </a:cxn>
                <a:cxn ang="0">
                  <a:pos x="88" y="143"/>
                </a:cxn>
                <a:cxn ang="0">
                  <a:pos x="76" y="134"/>
                </a:cxn>
                <a:cxn ang="0">
                  <a:pos x="63" y="134"/>
                </a:cxn>
                <a:cxn ang="0">
                  <a:pos x="52" y="138"/>
                </a:cxn>
                <a:cxn ang="0">
                  <a:pos x="46" y="151"/>
                </a:cxn>
                <a:cxn ang="0">
                  <a:pos x="45" y="161"/>
                </a:cxn>
                <a:cxn ang="0">
                  <a:pos x="36" y="155"/>
                </a:cxn>
                <a:cxn ang="0">
                  <a:pos x="31" y="154"/>
                </a:cxn>
              </a:cxnLst>
              <a:rect l="0" t="0" r="r" b="b"/>
              <a:pathLst>
                <a:path w="207" h="161">
                  <a:moveTo>
                    <a:pt x="28" y="155"/>
                  </a:moveTo>
                  <a:lnTo>
                    <a:pt x="25" y="149"/>
                  </a:lnTo>
                  <a:lnTo>
                    <a:pt x="22" y="149"/>
                  </a:lnTo>
                  <a:lnTo>
                    <a:pt x="19" y="150"/>
                  </a:lnTo>
                  <a:lnTo>
                    <a:pt x="16" y="149"/>
                  </a:lnTo>
                  <a:lnTo>
                    <a:pt x="10" y="144"/>
                  </a:lnTo>
                  <a:lnTo>
                    <a:pt x="10" y="143"/>
                  </a:lnTo>
                  <a:lnTo>
                    <a:pt x="12" y="140"/>
                  </a:lnTo>
                  <a:lnTo>
                    <a:pt x="12" y="139"/>
                  </a:lnTo>
                  <a:lnTo>
                    <a:pt x="11" y="137"/>
                  </a:lnTo>
                  <a:lnTo>
                    <a:pt x="8" y="134"/>
                  </a:lnTo>
                  <a:lnTo>
                    <a:pt x="6" y="133"/>
                  </a:lnTo>
                  <a:lnTo>
                    <a:pt x="3" y="130"/>
                  </a:lnTo>
                  <a:lnTo>
                    <a:pt x="1" y="124"/>
                  </a:lnTo>
                  <a:lnTo>
                    <a:pt x="0" y="122"/>
                  </a:lnTo>
                  <a:lnTo>
                    <a:pt x="1" y="118"/>
                  </a:lnTo>
                  <a:lnTo>
                    <a:pt x="5" y="118"/>
                  </a:lnTo>
                  <a:lnTo>
                    <a:pt x="9" y="119"/>
                  </a:lnTo>
                  <a:lnTo>
                    <a:pt x="12" y="117"/>
                  </a:lnTo>
                  <a:lnTo>
                    <a:pt x="16" y="115"/>
                  </a:lnTo>
                  <a:lnTo>
                    <a:pt x="17" y="114"/>
                  </a:lnTo>
                  <a:lnTo>
                    <a:pt x="27" y="113"/>
                  </a:lnTo>
                  <a:lnTo>
                    <a:pt x="42" y="113"/>
                  </a:lnTo>
                  <a:lnTo>
                    <a:pt x="44" y="112"/>
                  </a:lnTo>
                  <a:lnTo>
                    <a:pt x="46" y="110"/>
                  </a:lnTo>
                  <a:lnTo>
                    <a:pt x="49" y="106"/>
                  </a:lnTo>
                  <a:lnTo>
                    <a:pt x="52" y="98"/>
                  </a:lnTo>
                  <a:lnTo>
                    <a:pt x="53" y="92"/>
                  </a:lnTo>
                  <a:lnTo>
                    <a:pt x="53" y="87"/>
                  </a:lnTo>
                  <a:lnTo>
                    <a:pt x="53" y="81"/>
                  </a:lnTo>
                  <a:lnTo>
                    <a:pt x="53" y="67"/>
                  </a:lnTo>
                  <a:lnTo>
                    <a:pt x="53" y="61"/>
                  </a:lnTo>
                  <a:lnTo>
                    <a:pt x="63" y="59"/>
                  </a:lnTo>
                  <a:lnTo>
                    <a:pt x="73" y="56"/>
                  </a:lnTo>
                  <a:lnTo>
                    <a:pt x="91" y="40"/>
                  </a:lnTo>
                  <a:lnTo>
                    <a:pt x="96" y="36"/>
                  </a:lnTo>
                  <a:lnTo>
                    <a:pt x="110" y="27"/>
                  </a:lnTo>
                  <a:lnTo>
                    <a:pt x="119" y="21"/>
                  </a:lnTo>
                  <a:lnTo>
                    <a:pt x="143" y="7"/>
                  </a:lnTo>
                  <a:lnTo>
                    <a:pt x="153" y="1"/>
                  </a:lnTo>
                  <a:lnTo>
                    <a:pt x="154" y="0"/>
                  </a:lnTo>
                  <a:lnTo>
                    <a:pt x="159" y="1"/>
                  </a:lnTo>
                  <a:lnTo>
                    <a:pt x="169" y="4"/>
                  </a:lnTo>
                  <a:lnTo>
                    <a:pt x="175" y="6"/>
                  </a:lnTo>
                  <a:lnTo>
                    <a:pt x="176" y="7"/>
                  </a:lnTo>
                  <a:lnTo>
                    <a:pt x="183" y="13"/>
                  </a:lnTo>
                  <a:lnTo>
                    <a:pt x="184" y="12"/>
                  </a:lnTo>
                  <a:lnTo>
                    <a:pt x="193" y="7"/>
                  </a:lnTo>
                  <a:lnTo>
                    <a:pt x="196" y="21"/>
                  </a:lnTo>
                  <a:lnTo>
                    <a:pt x="196" y="29"/>
                  </a:lnTo>
                  <a:lnTo>
                    <a:pt x="199" y="35"/>
                  </a:lnTo>
                  <a:lnTo>
                    <a:pt x="202" y="41"/>
                  </a:lnTo>
                  <a:lnTo>
                    <a:pt x="207" y="44"/>
                  </a:lnTo>
                  <a:lnTo>
                    <a:pt x="204" y="49"/>
                  </a:lnTo>
                  <a:lnTo>
                    <a:pt x="202" y="55"/>
                  </a:lnTo>
                  <a:lnTo>
                    <a:pt x="202" y="62"/>
                  </a:lnTo>
                  <a:lnTo>
                    <a:pt x="201" y="68"/>
                  </a:lnTo>
                  <a:lnTo>
                    <a:pt x="201" y="71"/>
                  </a:lnTo>
                  <a:lnTo>
                    <a:pt x="201" y="76"/>
                  </a:lnTo>
                  <a:lnTo>
                    <a:pt x="201" y="82"/>
                  </a:lnTo>
                  <a:lnTo>
                    <a:pt x="201" y="89"/>
                  </a:lnTo>
                  <a:lnTo>
                    <a:pt x="200" y="92"/>
                  </a:lnTo>
                  <a:lnTo>
                    <a:pt x="186" y="108"/>
                  </a:lnTo>
                  <a:lnTo>
                    <a:pt x="183" y="113"/>
                  </a:lnTo>
                  <a:lnTo>
                    <a:pt x="177" y="121"/>
                  </a:lnTo>
                  <a:lnTo>
                    <a:pt x="174" y="125"/>
                  </a:lnTo>
                  <a:lnTo>
                    <a:pt x="174" y="130"/>
                  </a:lnTo>
                  <a:lnTo>
                    <a:pt x="175" y="134"/>
                  </a:lnTo>
                  <a:lnTo>
                    <a:pt x="175" y="136"/>
                  </a:lnTo>
                  <a:lnTo>
                    <a:pt x="169" y="136"/>
                  </a:lnTo>
                  <a:lnTo>
                    <a:pt x="166" y="137"/>
                  </a:lnTo>
                  <a:lnTo>
                    <a:pt x="164" y="139"/>
                  </a:lnTo>
                  <a:lnTo>
                    <a:pt x="159" y="143"/>
                  </a:lnTo>
                  <a:lnTo>
                    <a:pt x="158" y="143"/>
                  </a:lnTo>
                  <a:lnTo>
                    <a:pt x="154" y="142"/>
                  </a:lnTo>
                  <a:lnTo>
                    <a:pt x="150" y="141"/>
                  </a:lnTo>
                  <a:lnTo>
                    <a:pt x="145" y="140"/>
                  </a:lnTo>
                  <a:lnTo>
                    <a:pt x="142" y="139"/>
                  </a:lnTo>
                  <a:lnTo>
                    <a:pt x="138" y="140"/>
                  </a:lnTo>
                  <a:lnTo>
                    <a:pt x="134" y="140"/>
                  </a:lnTo>
                  <a:lnTo>
                    <a:pt x="129" y="142"/>
                  </a:lnTo>
                  <a:lnTo>
                    <a:pt x="127" y="144"/>
                  </a:lnTo>
                  <a:lnTo>
                    <a:pt x="123" y="146"/>
                  </a:lnTo>
                  <a:lnTo>
                    <a:pt x="122" y="147"/>
                  </a:lnTo>
                  <a:lnTo>
                    <a:pt x="116" y="147"/>
                  </a:lnTo>
                  <a:lnTo>
                    <a:pt x="111" y="145"/>
                  </a:lnTo>
                  <a:lnTo>
                    <a:pt x="103" y="140"/>
                  </a:lnTo>
                  <a:lnTo>
                    <a:pt x="102" y="140"/>
                  </a:lnTo>
                  <a:lnTo>
                    <a:pt x="99" y="141"/>
                  </a:lnTo>
                  <a:lnTo>
                    <a:pt x="91" y="144"/>
                  </a:lnTo>
                  <a:lnTo>
                    <a:pt x="89" y="144"/>
                  </a:lnTo>
                  <a:lnTo>
                    <a:pt x="88" y="143"/>
                  </a:lnTo>
                  <a:lnTo>
                    <a:pt x="81" y="136"/>
                  </a:lnTo>
                  <a:lnTo>
                    <a:pt x="76" y="134"/>
                  </a:lnTo>
                  <a:lnTo>
                    <a:pt x="70" y="134"/>
                  </a:lnTo>
                  <a:lnTo>
                    <a:pt x="63" y="134"/>
                  </a:lnTo>
                  <a:lnTo>
                    <a:pt x="57" y="136"/>
                  </a:lnTo>
                  <a:lnTo>
                    <a:pt x="52" y="138"/>
                  </a:lnTo>
                  <a:lnTo>
                    <a:pt x="49" y="148"/>
                  </a:lnTo>
                  <a:lnTo>
                    <a:pt x="46" y="151"/>
                  </a:lnTo>
                  <a:lnTo>
                    <a:pt x="46" y="156"/>
                  </a:lnTo>
                  <a:lnTo>
                    <a:pt x="45" y="161"/>
                  </a:lnTo>
                  <a:lnTo>
                    <a:pt x="40" y="158"/>
                  </a:lnTo>
                  <a:lnTo>
                    <a:pt x="36" y="155"/>
                  </a:lnTo>
                  <a:lnTo>
                    <a:pt x="33" y="153"/>
                  </a:lnTo>
                  <a:lnTo>
                    <a:pt x="31" y="154"/>
                  </a:lnTo>
                  <a:lnTo>
                    <a:pt x="28" y="15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5" name="Freeform 87">
              <a:extLst>
                <a:ext uri="{FF2B5EF4-FFF2-40B4-BE49-F238E27FC236}">
                  <a16:creationId xmlns:a16="http://schemas.microsoft.com/office/drawing/2014/main" id="{AC6342D8-CD10-9A9A-4305-597E3BB3CFDE}"/>
                </a:ext>
              </a:extLst>
            </p:cNvPr>
            <p:cNvSpPr>
              <a:spLocks noEditPoints="1"/>
            </p:cNvSpPr>
            <p:nvPr/>
          </p:nvSpPr>
          <p:spPr bwMode="auto">
            <a:xfrm>
              <a:off x="5701884" y="4286250"/>
              <a:ext cx="134938" cy="177800"/>
            </a:xfrm>
            <a:custGeom>
              <a:avLst/>
              <a:gdLst/>
              <a:ahLst/>
              <a:cxnLst>
                <a:cxn ang="0">
                  <a:pos x="55" y="108"/>
                </a:cxn>
                <a:cxn ang="0">
                  <a:pos x="44" y="106"/>
                </a:cxn>
                <a:cxn ang="0">
                  <a:pos x="46" y="101"/>
                </a:cxn>
                <a:cxn ang="0">
                  <a:pos x="47" y="102"/>
                </a:cxn>
                <a:cxn ang="0">
                  <a:pos x="51" y="101"/>
                </a:cxn>
                <a:cxn ang="0">
                  <a:pos x="52" y="103"/>
                </a:cxn>
                <a:cxn ang="0">
                  <a:pos x="53" y="104"/>
                </a:cxn>
                <a:cxn ang="0">
                  <a:pos x="63" y="104"/>
                </a:cxn>
                <a:cxn ang="0">
                  <a:pos x="70" y="106"/>
                </a:cxn>
                <a:cxn ang="0">
                  <a:pos x="73" y="109"/>
                </a:cxn>
                <a:cxn ang="0">
                  <a:pos x="78" y="108"/>
                </a:cxn>
                <a:cxn ang="0">
                  <a:pos x="80" y="109"/>
                </a:cxn>
                <a:cxn ang="0">
                  <a:pos x="71" y="111"/>
                </a:cxn>
                <a:cxn ang="0">
                  <a:pos x="6" y="26"/>
                </a:cxn>
                <a:cxn ang="0">
                  <a:pos x="16" y="15"/>
                </a:cxn>
                <a:cxn ang="0">
                  <a:pos x="27" y="10"/>
                </a:cxn>
                <a:cxn ang="0">
                  <a:pos x="37" y="7"/>
                </a:cxn>
                <a:cxn ang="0">
                  <a:pos x="64" y="7"/>
                </a:cxn>
                <a:cxn ang="0">
                  <a:pos x="78" y="4"/>
                </a:cxn>
                <a:cxn ang="0">
                  <a:pos x="82" y="0"/>
                </a:cxn>
                <a:cxn ang="0">
                  <a:pos x="79" y="13"/>
                </a:cxn>
                <a:cxn ang="0">
                  <a:pos x="67" y="13"/>
                </a:cxn>
                <a:cxn ang="0">
                  <a:pos x="60" y="13"/>
                </a:cxn>
                <a:cxn ang="0">
                  <a:pos x="53" y="14"/>
                </a:cxn>
                <a:cxn ang="0">
                  <a:pos x="46" y="15"/>
                </a:cxn>
                <a:cxn ang="0">
                  <a:pos x="49" y="21"/>
                </a:cxn>
                <a:cxn ang="0">
                  <a:pos x="51" y="23"/>
                </a:cxn>
                <a:cxn ang="0">
                  <a:pos x="46" y="22"/>
                </a:cxn>
                <a:cxn ang="0">
                  <a:pos x="49" y="26"/>
                </a:cxn>
                <a:cxn ang="0">
                  <a:pos x="45" y="25"/>
                </a:cxn>
                <a:cxn ang="0">
                  <a:pos x="41" y="24"/>
                </a:cxn>
                <a:cxn ang="0">
                  <a:pos x="43" y="28"/>
                </a:cxn>
                <a:cxn ang="0">
                  <a:pos x="45" y="30"/>
                </a:cxn>
                <a:cxn ang="0">
                  <a:pos x="40" y="25"/>
                </a:cxn>
                <a:cxn ang="0">
                  <a:pos x="36" y="19"/>
                </a:cxn>
                <a:cxn ang="0">
                  <a:pos x="33" y="19"/>
                </a:cxn>
                <a:cxn ang="0">
                  <a:pos x="30" y="27"/>
                </a:cxn>
                <a:cxn ang="0">
                  <a:pos x="34" y="31"/>
                </a:cxn>
                <a:cxn ang="0">
                  <a:pos x="39" y="43"/>
                </a:cxn>
                <a:cxn ang="0">
                  <a:pos x="37" y="40"/>
                </a:cxn>
                <a:cxn ang="0">
                  <a:pos x="34" y="42"/>
                </a:cxn>
                <a:cxn ang="0">
                  <a:pos x="31" y="48"/>
                </a:cxn>
                <a:cxn ang="0">
                  <a:pos x="37" y="51"/>
                </a:cxn>
                <a:cxn ang="0">
                  <a:pos x="42" y="54"/>
                </a:cxn>
                <a:cxn ang="0">
                  <a:pos x="48" y="56"/>
                </a:cxn>
                <a:cxn ang="0">
                  <a:pos x="50" y="66"/>
                </a:cxn>
                <a:cxn ang="0">
                  <a:pos x="46" y="64"/>
                </a:cxn>
                <a:cxn ang="0">
                  <a:pos x="40" y="62"/>
                </a:cxn>
                <a:cxn ang="0">
                  <a:pos x="38" y="66"/>
                </a:cxn>
                <a:cxn ang="0">
                  <a:pos x="42" y="68"/>
                </a:cxn>
                <a:cxn ang="0">
                  <a:pos x="40" y="72"/>
                </a:cxn>
                <a:cxn ang="0">
                  <a:pos x="37" y="70"/>
                </a:cxn>
                <a:cxn ang="0">
                  <a:pos x="34" y="74"/>
                </a:cxn>
                <a:cxn ang="0">
                  <a:pos x="37" y="85"/>
                </a:cxn>
                <a:cxn ang="0">
                  <a:pos x="27" y="81"/>
                </a:cxn>
                <a:cxn ang="0">
                  <a:pos x="18" y="77"/>
                </a:cxn>
                <a:cxn ang="0">
                  <a:pos x="15" y="67"/>
                </a:cxn>
                <a:cxn ang="0">
                  <a:pos x="21" y="60"/>
                </a:cxn>
                <a:cxn ang="0">
                  <a:pos x="36" y="62"/>
                </a:cxn>
                <a:cxn ang="0">
                  <a:pos x="29" y="55"/>
                </a:cxn>
                <a:cxn ang="0">
                  <a:pos x="13" y="56"/>
                </a:cxn>
                <a:cxn ang="0">
                  <a:pos x="13" y="47"/>
                </a:cxn>
                <a:cxn ang="0">
                  <a:pos x="7" y="44"/>
                </a:cxn>
              </a:cxnLst>
              <a:rect l="0" t="0" r="r" b="b"/>
              <a:pathLst>
                <a:path w="85" h="112">
                  <a:moveTo>
                    <a:pt x="60" y="112"/>
                  </a:moveTo>
                  <a:lnTo>
                    <a:pt x="60" y="110"/>
                  </a:lnTo>
                  <a:lnTo>
                    <a:pt x="60" y="109"/>
                  </a:lnTo>
                  <a:lnTo>
                    <a:pt x="55" y="108"/>
                  </a:lnTo>
                  <a:lnTo>
                    <a:pt x="51" y="108"/>
                  </a:lnTo>
                  <a:lnTo>
                    <a:pt x="48" y="107"/>
                  </a:lnTo>
                  <a:lnTo>
                    <a:pt x="45" y="107"/>
                  </a:lnTo>
                  <a:lnTo>
                    <a:pt x="44" y="106"/>
                  </a:lnTo>
                  <a:lnTo>
                    <a:pt x="43" y="106"/>
                  </a:lnTo>
                  <a:lnTo>
                    <a:pt x="44" y="102"/>
                  </a:lnTo>
                  <a:lnTo>
                    <a:pt x="46" y="102"/>
                  </a:lnTo>
                  <a:lnTo>
                    <a:pt x="46" y="101"/>
                  </a:lnTo>
                  <a:lnTo>
                    <a:pt x="46" y="100"/>
                  </a:lnTo>
                  <a:lnTo>
                    <a:pt x="46" y="100"/>
                  </a:lnTo>
                  <a:lnTo>
                    <a:pt x="47" y="101"/>
                  </a:lnTo>
                  <a:lnTo>
                    <a:pt x="47" y="102"/>
                  </a:lnTo>
                  <a:lnTo>
                    <a:pt x="49" y="102"/>
                  </a:lnTo>
                  <a:lnTo>
                    <a:pt x="50" y="102"/>
                  </a:lnTo>
                  <a:lnTo>
                    <a:pt x="51" y="102"/>
                  </a:lnTo>
                  <a:lnTo>
                    <a:pt x="51" y="101"/>
                  </a:lnTo>
                  <a:lnTo>
                    <a:pt x="52" y="101"/>
                  </a:lnTo>
                  <a:lnTo>
                    <a:pt x="52" y="102"/>
                  </a:lnTo>
                  <a:lnTo>
                    <a:pt x="52" y="103"/>
                  </a:lnTo>
                  <a:lnTo>
                    <a:pt x="52" y="103"/>
                  </a:lnTo>
                  <a:lnTo>
                    <a:pt x="51" y="103"/>
                  </a:lnTo>
                  <a:lnTo>
                    <a:pt x="52" y="103"/>
                  </a:lnTo>
                  <a:lnTo>
                    <a:pt x="53" y="103"/>
                  </a:lnTo>
                  <a:lnTo>
                    <a:pt x="53" y="104"/>
                  </a:lnTo>
                  <a:lnTo>
                    <a:pt x="54" y="105"/>
                  </a:lnTo>
                  <a:lnTo>
                    <a:pt x="55" y="105"/>
                  </a:lnTo>
                  <a:lnTo>
                    <a:pt x="60" y="104"/>
                  </a:lnTo>
                  <a:lnTo>
                    <a:pt x="63" y="104"/>
                  </a:lnTo>
                  <a:lnTo>
                    <a:pt x="64" y="105"/>
                  </a:lnTo>
                  <a:lnTo>
                    <a:pt x="65" y="105"/>
                  </a:lnTo>
                  <a:lnTo>
                    <a:pt x="69" y="106"/>
                  </a:lnTo>
                  <a:lnTo>
                    <a:pt x="70" y="106"/>
                  </a:lnTo>
                  <a:lnTo>
                    <a:pt x="72" y="105"/>
                  </a:lnTo>
                  <a:lnTo>
                    <a:pt x="73" y="106"/>
                  </a:lnTo>
                  <a:lnTo>
                    <a:pt x="72" y="108"/>
                  </a:lnTo>
                  <a:lnTo>
                    <a:pt x="73" y="109"/>
                  </a:lnTo>
                  <a:lnTo>
                    <a:pt x="74" y="109"/>
                  </a:lnTo>
                  <a:lnTo>
                    <a:pt x="76" y="108"/>
                  </a:lnTo>
                  <a:lnTo>
                    <a:pt x="78" y="107"/>
                  </a:lnTo>
                  <a:lnTo>
                    <a:pt x="78" y="108"/>
                  </a:lnTo>
                  <a:lnTo>
                    <a:pt x="79" y="107"/>
                  </a:lnTo>
                  <a:lnTo>
                    <a:pt x="80" y="106"/>
                  </a:lnTo>
                  <a:lnTo>
                    <a:pt x="80" y="107"/>
                  </a:lnTo>
                  <a:lnTo>
                    <a:pt x="80" y="109"/>
                  </a:lnTo>
                  <a:lnTo>
                    <a:pt x="79" y="111"/>
                  </a:lnTo>
                  <a:lnTo>
                    <a:pt x="75" y="110"/>
                  </a:lnTo>
                  <a:lnTo>
                    <a:pt x="73" y="111"/>
                  </a:lnTo>
                  <a:lnTo>
                    <a:pt x="71" y="111"/>
                  </a:lnTo>
                  <a:lnTo>
                    <a:pt x="60" y="112"/>
                  </a:lnTo>
                  <a:close/>
                  <a:moveTo>
                    <a:pt x="0" y="36"/>
                  </a:moveTo>
                  <a:lnTo>
                    <a:pt x="3" y="29"/>
                  </a:lnTo>
                  <a:lnTo>
                    <a:pt x="6" y="26"/>
                  </a:lnTo>
                  <a:lnTo>
                    <a:pt x="9" y="23"/>
                  </a:lnTo>
                  <a:lnTo>
                    <a:pt x="11" y="16"/>
                  </a:lnTo>
                  <a:lnTo>
                    <a:pt x="12" y="16"/>
                  </a:lnTo>
                  <a:lnTo>
                    <a:pt x="16" y="15"/>
                  </a:lnTo>
                  <a:lnTo>
                    <a:pt x="20" y="14"/>
                  </a:lnTo>
                  <a:lnTo>
                    <a:pt x="22" y="11"/>
                  </a:lnTo>
                  <a:lnTo>
                    <a:pt x="24" y="10"/>
                  </a:lnTo>
                  <a:lnTo>
                    <a:pt x="27" y="10"/>
                  </a:lnTo>
                  <a:lnTo>
                    <a:pt x="30" y="10"/>
                  </a:lnTo>
                  <a:lnTo>
                    <a:pt x="33" y="9"/>
                  </a:lnTo>
                  <a:lnTo>
                    <a:pt x="36" y="7"/>
                  </a:lnTo>
                  <a:lnTo>
                    <a:pt x="37" y="7"/>
                  </a:lnTo>
                  <a:lnTo>
                    <a:pt x="48" y="6"/>
                  </a:lnTo>
                  <a:lnTo>
                    <a:pt x="52" y="3"/>
                  </a:lnTo>
                  <a:lnTo>
                    <a:pt x="56" y="3"/>
                  </a:lnTo>
                  <a:lnTo>
                    <a:pt x="64" y="7"/>
                  </a:lnTo>
                  <a:lnTo>
                    <a:pt x="68" y="9"/>
                  </a:lnTo>
                  <a:lnTo>
                    <a:pt x="70" y="8"/>
                  </a:lnTo>
                  <a:lnTo>
                    <a:pt x="77" y="6"/>
                  </a:lnTo>
                  <a:lnTo>
                    <a:pt x="78" y="4"/>
                  </a:lnTo>
                  <a:lnTo>
                    <a:pt x="77" y="1"/>
                  </a:lnTo>
                  <a:lnTo>
                    <a:pt x="79" y="0"/>
                  </a:lnTo>
                  <a:lnTo>
                    <a:pt x="81" y="0"/>
                  </a:lnTo>
                  <a:lnTo>
                    <a:pt x="82" y="0"/>
                  </a:lnTo>
                  <a:lnTo>
                    <a:pt x="84" y="2"/>
                  </a:lnTo>
                  <a:lnTo>
                    <a:pt x="85" y="3"/>
                  </a:lnTo>
                  <a:lnTo>
                    <a:pt x="81" y="9"/>
                  </a:lnTo>
                  <a:lnTo>
                    <a:pt x="79" y="13"/>
                  </a:lnTo>
                  <a:lnTo>
                    <a:pt x="77" y="17"/>
                  </a:lnTo>
                  <a:lnTo>
                    <a:pt x="76" y="14"/>
                  </a:lnTo>
                  <a:lnTo>
                    <a:pt x="72" y="13"/>
                  </a:lnTo>
                  <a:lnTo>
                    <a:pt x="67" y="13"/>
                  </a:lnTo>
                  <a:lnTo>
                    <a:pt x="64" y="12"/>
                  </a:lnTo>
                  <a:lnTo>
                    <a:pt x="64" y="11"/>
                  </a:lnTo>
                  <a:lnTo>
                    <a:pt x="61" y="12"/>
                  </a:lnTo>
                  <a:lnTo>
                    <a:pt x="60" y="13"/>
                  </a:lnTo>
                  <a:lnTo>
                    <a:pt x="57" y="13"/>
                  </a:lnTo>
                  <a:lnTo>
                    <a:pt x="57" y="12"/>
                  </a:lnTo>
                  <a:lnTo>
                    <a:pt x="55" y="12"/>
                  </a:lnTo>
                  <a:lnTo>
                    <a:pt x="53" y="14"/>
                  </a:lnTo>
                  <a:lnTo>
                    <a:pt x="51" y="16"/>
                  </a:lnTo>
                  <a:lnTo>
                    <a:pt x="49" y="16"/>
                  </a:lnTo>
                  <a:lnTo>
                    <a:pt x="47" y="15"/>
                  </a:lnTo>
                  <a:lnTo>
                    <a:pt x="46" y="15"/>
                  </a:lnTo>
                  <a:lnTo>
                    <a:pt x="46" y="16"/>
                  </a:lnTo>
                  <a:lnTo>
                    <a:pt x="47" y="18"/>
                  </a:lnTo>
                  <a:lnTo>
                    <a:pt x="48" y="20"/>
                  </a:lnTo>
                  <a:lnTo>
                    <a:pt x="49" y="21"/>
                  </a:lnTo>
                  <a:lnTo>
                    <a:pt x="54" y="25"/>
                  </a:lnTo>
                  <a:lnTo>
                    <a:pt x="53" y="26"/>
                  </a:lnTo>
                  <a:lnTo>
                    <a:pt x="51" y="24"/>
                  </a:lnTo>
                  <a:lnTo>
                    <a:pt x="51" y="23"/>
                  </a:lnTo>
                  <a:lnTo>
                    <a:pt x="49" y="22"/>
                  </a:lnTo>
                  <a:lnTo>
                    <a:pt x="48" y="22"/>
                  </a:lnTo>
                  <a:lnTo>
                    <a:pt x="47" y="22"/>
                  </a:lnTo>
                  <a:lnTo>
                    <a:pt x="46" y="22"/>
                  </a:lnTo>
                  <a:lnTo>
                    <a:pt x="46" y="24"/>
                  </a:lnTo>
                  <a:lnTo>
                    <a:pt x="46" y="25"/>
                  </a:lnTo>
                  <a:lnTo>
                    <a:pt x="48" y="26"/>
                  </a:lnTo>
                  <a:lnTo>
                    <a:pt x="49" y="26"/>
                  </a:lnTo>
                  <a:lnTo>
                    <a:pt x="49" y="28"/>
                  </a:lnTo>
                  <a:lnTo>
                    <a:pt x="49" y="28"/>
                  </a:lnTo>
                  <a:lnTo>
                    <a:pt x="48" y="29"/>
                  </a:lnTo>
                  <a:lnTo>
                    <a:pt x="45" y="25"/>
                  </a:lnTo>
                  <a:lnTo>
                    <a:pt x="43" y="24"/>
                  </a:lnTo>
                  <a:lnTo>
                    <a:pt x="42" y="24"/>
                  </a:lnTo>
                  <a:lnTo>
                    <a:pt x="41" y="24"/>
                  </a:lnTo>
                  <a:lnTo>
                    <a:pt x="41" y="24"/>
                  </a:lnTo>
                  <a:lnTo>
                    <a:pt x="41" y="25"/>
                  </a:lnTo>
                  <a:lnTo>
                    <a:pt x="42" y="26"/>
                  </a:lnTo>
                  <a:lnTo>
                    <a:pt x="42" y="27"/>
                  </a:lnTo>
                  <a:lnTo>
                    <a:pt x="43" y="28"/>
                  </a:lnTo>
                  <a:lnTo>
                    <a:pt x="44" y="28"/>
                  </a:lnTo>
                  <a:lnTo>
                    <a:pt x="45" y="28"/>
                  </a:lnTo>
                  <a:lnTo>
                    <a:pt x="46" y="29"/>
                  </a:lnTo>
                  <a:lnTo>
                    <a:pt x="45" y="30"/>
                  </a:lnTo>
                  <a:lnTo>
                    <a:pt x="42" y="29"/>
                  </a:lnTo>
                  <a:lnTo>
                    <a:pt x="41" y="29"/>
                  </a:lnTo>
                  <a:lnTo>
                    <a:pt x="41" y="28"/>
                  </a:lnTo>
                  <a:lnTo>
                    <a:pt x="40" y="25"/>
                  </a:lnTo>
                  <a:lnTo>
                    <a:pt x="39" y="24"/>
                  </a:lnTo>
                  <a:lnTo>
                    <a:pt x="37" y="23"/>
                  </a:lnTo>
                  <a:lnTo>
                    <a:pt x="34" y="20"/>
                  </a:lnTo>
                  <a:lnTo>
                    <a:pt x="36" y="19"/>
                  </a:lnTo>
                  <a:lnTo>
                    <a:pt x="36" y="18"/>
                  </a:lnTo>
                  <a:lnTo>
                    <a:pt x="36" y="17"/>
                  </a:lnTo>
                  <a:lnTo>
                    <a:pt x="34" y="17"/>
                  </a:lnTo>
                  <a:lnTo>
                    <a:pt x="33" y="19"/>
                  </a:lnTo>
                  <a:lnTo>
                    <a:pt x="31" y="20"/>
                  </a:lnTo>
                  <a:lnTo>
                    <a:pt x="32" y="22"/>
                  </a:lnTo>
                  <a:lnTo>
                    <a:pt x="31" y="25"/>
                  </a:lnTo>
                  <a:lnTo>
                    <a:pt x="30" y="27"/>
                  </a:lnTo>
                  <a:lnTo>
                    <a:pt x="31" y="27"/>
                  </a:lnTo>
                  <a:lnTo>
                    <a:pt x="31" y="29"/>
                  </a:lnTo>
                  <a:lnTo>
                    <a:pt x="33" y="31"/>
                  </a:lnTo>
                  <a:lnTo>
                    <a:pt x="34" y="31"/>
                  </a:lnTo>
                  <a:lnTo>
                    <a:pt x="35" y="35"/>
                  </a:lnTo>
                  <a:lnTo>
                    <a:pt x="38" y="39"/>
                  </a:lnTo>
                  <a:lnTo>
                    <a:pt x="40" y="42"/>
                  </a:lnTo>
                  <a:lnTo>
                    <a:pt x="39" y="43"/>
                  </a:lnTo>
                  <a:lnTo>
                    <a:pt x="38" y="44"/>
                  </a:lnTo>
                  <a:lnTo>
                    <a:pt x="39" y="42"/>
                  </a:lnTo>
                  <a:lnTo>
                    <a:pt x="38" y="41"/>
                  </a:lnTo>
                  <a:lnTo>
                    <a:pt x="37" y="40"/>
                  </a:lnTo>
                  <a:lnTo>
                    <a:pt x="36" y="40"/>
                  </a:lnTo>
                  <a:lnTo>
                    <a:pt x="36" y="39"/>
                  </a:lnTo>
                  <a:lnTo>
                    <a:pt x="34" y="40"/>
                  </a:lnTo>
                  <a:lnTo>
                    <a:pt x="34" y="42"/>
                  </a:lnTo>
                  <a:lnTo>
                    <a:pt x="35" y="43"/>
                  </a:lnTo>
                  <a:lnTo>
                    <a:pt x="36" y="45"/>
                  </a:lnTo>
                  <a:lnTo>
                    <a:pt x="34" y="46"/>
                  </a:lnTo>
                  <a:lnTo>
                    <a:pt x="31" y="48"/>
                  </a:lnTo>
                  <a:lnTo>
                    <a:pt x="32" y="48"/>
                  </a:lnTo>
                  <a:lnTo>
                    <a:pt x="34" y="49"/>
                  </a:lnTo>
                  <a:lnTo>
                    <a:pt x="36" y="49"/>
                  </a:lnTo>
                  <a:lnTo>
                    <a:pt x="37" y="51"/>
                  </a:lnTo>
                  <a:lnTo>
                    <a:pt x="39" y="51"/>
                  </a:lnTo>
                  <a:lnTo>
                    <a:pt x="40" y="51"/>
                  </a:lnTo>
                  <a:lnTo>
                    <a:pt x="40" y="52"/>
                  </a:lnTo>
                  <a:lnTo>
                    <a:pt x="42" y="54"/>
                  </a:lnTo>
                  <a:lnTo>
                    <a:pt x="44" y="54"/>
                  </a:lnTo>
                  <a:lnTo>
                    <a:pt x="45" y="56"/>
                  </a:lnTo>
                  <a:lnTo>
                    <a:pt x="46" y="56"/>
                  </a:lnTo>
                  <a:lnTo>
                    <a:pt x="48" y="56"/>
                  </a:lnTo>
                  <a:lnTo>
                    <a:pt x="50" y="58"/>
                  </a:lnTo>
                  <a:lnTo>
                    <a:pt x="50" y="60"/>
                  </a:lnTo>
                  <a:lnTo>
                    <a:pt x="49" y="60"/>
                  </a:lnTo>
                  <a:lnTo>
                    <a:pt x="50" y="66"/>
                  </a:lnTo>
                  <a:lnTo>
                    <a:pt x="49" y="67"/>
                  </a:lnTo>
                  <a:lnTo>
                    <a:pt x="48" y="67"/>
                  </a:lnTo>
                  <a:lnTo>
                    <a:pt x="47" y="64"/>
                  </a:lnTo>
                  <a:lnTo>
                    <a:pt x="46" y="64"/>
                  </a:lnTo>
                  <a:lnTo>
                    <a:pt x="45" y="62"/>
                  </a:lnTo>
                  <a:lnTo>
                    <a:pt x="44" y="61"/>
                  </a:lnTo>
                  <a:lnTo>
                    <a:pt x="43" y="61"/>
                  </a:lnTo>
                  <a:lnTo>
                    <a:pt x="40" y="62"/>
                  </a:lnTo>
                  <a:lnTo>
                    <a:pt x="37" y="63"/>
                  </a:lnTo>
                  <a:lnTo>
                    <a:pt x="36" y="64"/>
                  </a:lnTo>
                  <a:lnTo>
                    <a:pt x="38" y="64"/>
                  </a:lnTo>
                  <a:lnTo>
                    <a:pt x="38" y="66"/>
                  </a:lnTo>
                  <a:lnTo>
                    <a:pt x="38" y="68"/>
                  </a:lnTo>
                  <a:lnTo>
                    <a:pt x="39" y="69"/>
                  </a:lnTo>
                  <a:lnTo>
                    <a:pt x="40" y="69"/>
                  </a:lnTo>
                  <a:lnTo>
                    <a:pt x="42" y="68"/>
                  </a:lnTo>
                  <a:lnTo>
                    <a:pt x="42" y="70"/>
                  </a:lnTo>
                  <a:lnTo>
                    <a:pt x="43" y="71"/>
                  </a:lnTo>
                  <a:lnTo>
                    <a:pt x="40" y="72"/>
                  </a:lnTo>
                  <a:lnTo>
                    <a:pt x="40" y="72"/>
                  </a:lnTo>
                  <a:lnTo>
                    <a:pt x="39" y="73"/>
                  </a:lnTo>
                  <a:lnTo>
                    <a:pt x="37" y="72"/>
                  </a:lnTo>
                  <a:lnTo>
                    <a:pt x="38" y="71"/>
                  </a:lnTo>
                  <a:lnTo>
                    <a:pt x="37" y="70"/>
                  </a:lnTo>
                  <a:lnTo>
                    <a:pt x="34" y="70"/>
                  </a:lnTo>
                  <a:lnTo>
                    <a:pt x="33" y="69"/>
                  </a:lnTo>
                  <a:lnTo>
                    <a:pt x="33" y="70"/>
                  </a:lnTo>
                  <a:lnTo>
                    <a:pt x="34" y="74"/>
                  </a:lnTo>
                  <a:lnTo>
                    <a:pt x="35" y="75"/>
                  </a:lnTo>
                  <a:lnTo>
                    <a:pt x="35" y="76"/>
                  </a:lnTo>
                  <a:lnTo>
                    <a:pt x="36" y="78"/>
                  </a:lnTo>
                  <a:lnTo>
                    <a:pt x="37" y="85"/>
                  </a:lnTo>
                  <a:lnTo>
                    <a:pt x="33" y="82"/>
                  </a:lnTo>
                  <a:lnTo>
                    <a:pt x="31" y="83"/>
                  </a:lnTo>
                  <a:lnTo>
                    <a:pt x="30" y="86"/>
                  </a:lnTo>
                  <a:lnTo>
                    <a:pt x="27" y="81"/>
                  </a:lnTo>
                  <a:lnTo>
                    <a:pt x="24" y="78"/>
                  </a:lnTo>
                  <a:lnTo>
                    <a:pt x="21" y="81"/>
                  </a:lnTo>
                  <a:lnTo>
                    <a:pt x="19" y="79"/>
                  </a:lnTo>
                  <a:lnTo>
                    <a:pt x="18" y="77"/>
                  </a:lnTo>
                  <a:lnTo>
                    <a:pt x="19" y="73"/>
                  </a:lnTo>
                  <a:lnTo>
                    <a:pt x="19" y="72"/>
                  </a:lnTo>
                  <a:lnTo>
                    <a:pt x="18" y="70"/>
                  </a:lnTo>
                  <a:lnTo>
                    <a:pt x="15" y="67"/>
                  </a:lnTo>
                  <a:lnTo>
                    <a:pt x="14" y="65"/>
                  </a:lnTo>
                  <a:lnTo>
                    <a:pt x="14" y="64"/>
                  </a:lnTo>
                  <a:lnTo>
                    <a:pt x="17" y="59"/>
                  </a:lnTo>
                  <a:lnTo>
                    <a:pt x="21" y="60"/>
                  </a:lnTo>
                  <a:lnTo>
                    <a:pt x="23" y="58"/>
                  </a:lnTo>
                  <a:lnTo>
                    <a:pt x="24" y="58"/>
                  </a:lnTo>
                  <a:lnTo>
                    <a:pt x="34" y="63"/>
                  </a:lnTo>
                  <a:lnTo>
                    <a:pt x="36" y="62"/>
                  </a:lnTo>
                  <a:lnTo>
                    <a:pt x="39" y="60"/>
                  </a:lnTo>
                  <a:lnTo>
                    <a:pt x="37" y="59"/>
                  </a:lnTo>
                  <a:lnTo>
                    <a:pt x="36" y="59"/>
                  </a:lnTo>
                  <a:lnTo>
                    <a:pt x="29" y="55"/>
                  </a:lnTo>
                  <a:lnTo>
                    <a:pt x="22" y="54"/>
                  </a:lnTo>
                  <a:lnTo>
                    <a:pt x="20" y="55"/>
                  </a:lnTo>
                  <a:lnTo>
                    <a:pt x="16" y="55"/>
                  </a:lnTo>
                  <a:lnTo>
                    <a:pt x="13" y="56"/>
                  </a:lnTo>
                  <a:lnTo>
                    <a:pt x="8" y="48"/>
                  </a:lnTo>
                  <a:lnTo>
                    <a:pt x="10" y="47"/>
                  </a:lnTo>
                  <a:lnTo>
                    <a:pt x="11" y="48"/>
                  </a:lnTo>
                  <a:lnTo>
                    <a:pt x="13" y="47"/>
                  </a:lnTo>
                  <a:lnTo>
                    <a:pt x="13" y="45"/>
                  </a:lnTo>
                  <a:lnTo>
                    <a:pt x="11" y="43"/>
                  </a:lnTo>
                  <a:lnTo>
                    <a:pt x="10" y="44"/>
                  </a:lnTo>
                  <a:lnTo>
                    <a:pt x="7" y="44"/>
                  </a:lnTo>
                  <a:lnTo>
                    <a:pt x="1" y="39"/>
                  </a:lnTo>
                  <a:lnTo>
                    <a:pt x="0" y="3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6" name="Freeform 88">
              <a:extLst>
                <a:ext uri="{FF2B5EF4-FFF2-40B4-BE49-F238E27FC236}">
                  <a16:creationId xmlns:a16="http://schemas.microsoft.com/office/drawing/2014/main" id="{8EAAD7CB-2EA5-0093-B18F-379F06163301}"/>
                </a:ext>
              </a:extLst>
            </p:cNvPr>
            <p:cNvSpPr>
              <a:spLocks/>
            </p:cNvSpPr>
            <p:nvPr/>
          </p:nvSpPr>
          <p:spPr bwMode="auto">
            <a:xfrm>
              <a:off x="5478046" y="4508500"/>
              <a:ext cx="327025" cy="317500"/>
            </a:xfrm>
            <a:custGeom>
              <a:avLst/>
              <a:gdLst/>
              <a:ahLst/>
              <a:cxnLst>
                <a:cxn ang="0">
                  <a:pos x="204" y="173"/>
                </a:cxn>
                <a:cxn ang="0">
                  <a:pos x="204" y="193"/>
                </a:cxn>
                <a:cxn ang="0">
                  <a:pos x="191" y="193"/>
                </a:cxn>
                <a:cxn ang="0">
                  <a:pos x="179" y="194"/>
                </a:cxn>
                <a:cxn ang="0">
                  <a:pos x="117" y="161"/>
                </a:cxn>
                <a:cxn ang="0">
                  <a:pos x="84" y="146"/>
                </a:cxn>
                <a:cxn ang="0">
                  <a:pos x="64" y="156"/>
                </a:cxn>
                <a:cxn ang="0">
                  <a:pos x="56" y="151"/>
                </a:cxn>
                <a:cxn ang="0">
                  <a:pos x="49" y="148"/>
                </a:cxn>
                <a:cxn ang="0">
                  <a:pos x="34" y="144"/>
                </a:cxn>
                <a:cxn ang="0">
                  <a:pos x="28" y="134"/>
                </a:cxn>
                <a:cxn ang="0">
                  <a:pos x="21" y="131"/>
                </a:cxn>
                <a:cxn ang="0">
                  <a:pos x="14" y="131"/>
                </a:cxn>
                <a:cxn ang="0">
                  <a:pos x="9" y="124"/>
                </a:cxn>
                <a:cxn ang="0">
                  <a:pos x="0" y="107"/>
                </a:cxn>
                <a:cxn ang="0">
                  <a:pos x="3" y="104"/>
                </a:cxn>
                <a:cxn ang="0">
                  <a:pos x="7" y="100"/>
                </a:cxn>
                <a:cxn ang="0">
                  <a:pos x="5" y="88"/>
                </a:cxn>
                <a:cxn ang="0">
                  <a:pos x="7" y="81"/>
                </a:cxn>
                <a:cxn ang="0">
                  <a:pos x="7" y="70"/>
                </a:cxn>
                <a:cxn ang="0">
                  <a:pos x="6" y="60"/>
                </a:cxn>
                <a:cxn ang="0">
                  <a:pos x="2" y="46"/>
                </a:cxn>
                <a:cxn ang="0">
                  <a:pos x="4" y="44"/>
                </a:cxn>
                <a:cxn ang="0">
                  <a:pos x="10" y="39"/>
                </a:cxn>
                <a:cxn ang="0">
                  <a:pos x="9" y="28"/>
                </a:cxn>
                <a:cxn ang="0">
                  <a:pos x="19" y="18"/>
                </a:cxn>
                <a:cxn ang="0">
                  <a:pos x="27" y="13"/>
                </a:cxn>
                <a:cxn ang="0">
                  <a:pos x="27" y="7"/>
                </a:cxn>
                <a:cxn ang="0">
                  <a:pos x="36" y="4"/>
                </a:cxn>
                <a:cxn ang="0">
                  <a:pos x="45" y="7"/>
                </a:cxn>
                <a:cxn ang="0">
                  <a:pos x="54" y="6"/>
                </a:cxn>
                <a:cxn ang="0">
                  <a:pos x="66" y="11"/>
                </a:cxn>
                <a:cxn ang="0">
                  <a:pos x="74" y="12"/>
                </a:cxn>
                <a:cxn ang="0">
                  <a:pos x="77" y="15"/>
                </a:cxn>
                <a:cxn ang="0">
                  <a:pos x="81" y="25"/>
                </a:cxn>
                <a:cxn ang="0">
                  <a:pos x="87" y="30"/>
                </a:cxn>
                <a:cxn ang="0">
                  <a:pos x="97" y="31"/>
                </a:cxn>
                <a:cxn ang="0">
                  <a:pos x="105" y="33"/>
                </a:cxn>
                <a:cxn ang="0">
                  <a:pos x="112" y="37"/>
                </a:cxn>
                <a:cxn ang="0">
                  <a:pos x="125" y="45"/>
                </a:cxn>
                <a:cxn ang="0">
                  <a:pos x="130" y="44"/>
                </a:cxn>
                <a:cxn ang="0">
                  <a:pos x="139" y="37"/>
                </a:cxn>
                <a:cxn ang="0">
                  <a:pos x="141" y="32"/>
                </a:cxn>
                <a:cxn ang="0">
                  <a:pos x="138" y="24"/>
                </a:cxn>
                <a:cxn ang="0">
                  <a:pos x="140" y="17"/>
                </a:cxn>
                <a:cxn ang="0">
                  <a:pos x="146" y="12"/>
                </a:cxn>
                <a:cxn ang="0">
                  <a:pos x="153" y="8"/>
                </a:cxn>
                <a:cxn ang="0">
                  <a:pos x="168" y="6"/>
                </a:cxn>
                <a:cxn ang="0">
                  <a:pos x="177" y="9"/>
                </a:cxn>
                <a:cxn ang="0">
                  <a:pos x="179" y="14"/>
                </a:cxn>
                <a:cxn ang="0">
                  <a:pos x="182" y="16"/>
                </a:cxn>
                <a:cxn ang="0">
                  <a:pos x="192" y="19"/>
                </a:cxn>
                <a:cxn ang="0">
                  <a:pos x="202" y="19"/>
                </a:cxn>
                <a:cxn ang="0">
                  <a:pos x="204" y="23"/>
                </a:cxn>
                <a:cxn ang="0">
                  <a:pos x="205" y="27"/>
                </a:cxn>
                <a:cxn ang="0">
                  <a:pos x="202" y="31"/>
                </a:cxn>
                <a:cxn ang="0">
                  <a:pos x="203" y="43"/>
                </a:cxn>
                <a:cxn ang="0">
                  <a:pos x="201" y="48"/>
                </a:cxn>
                <a:cxn ang="0">
                  <a:pos x="204" y="61"/>
                </a:cxn>
                <a:cxn ang="0">
                  <a:pos x="204" y="70"/>
                </a:cxn>
                <a:cxn ang="0">
                  <a:pos x="204" y="105"/>
                </a:cxn>
                <a:cxn ang="0">
                  <a:pos x="204" y="123"/>
                </a:cxn>
                <a:cxn ang="0">
                  <a:pos x="204" y="150"/>
                </a:cxn>
              </a:cxnLst>
              <a:rect l="0" t="0" r="r" b="b"/>
              <a:pathLst>
                <a:path w="206" h="200">
                  <a:moveTo>
                    <a:pt x="204" y="167"/>
                  </a:moveTo>
                  <a:lnTo>
                    <a:pt x="204" y="173"/>
                  </a:lnTo>
                  <a:lnTo>
                    <a:pt x="204" y="192"/>
                  </a:lnTo>
                  <a:lnTo>
                    <a:pt x="204" y="193"/>
                  </a:lnTo>
                  <a:lnTo>
                    <a:pt x="194" y="193"/>
                  </a:lnTo>
                  <a:lnTo>
                    <a:pt x="191" y="193"/>
                  </a:lnTo>
                  <a:lnTo>
                    <a:pt x="191" y="200"/>
                  </a:lnTo>
                  <a:lnTo>
                    <a:pt x="179" y="194"/>
                  </a:lnTo>
                  <a:lnTo>
                    <a:pt x="146" y="176"/>
                  </a:lnTo>
                  <a:lnTo>
                    <a:pt x="117" y="161"/>
                  </a:lnTo>
                  <a:lnTo>
                    <a:pt x="87" y="145"/>
                  </a:lnTo>
                  <a:lnTo>
                    <a:pt x="84" y="146"/>
                  </a:lnTo>
                  <a:lnTo>
                    <a:pt x="73" y="151"/>
                  </a:lnTo>
                  <a:lnTo>
                    <a:pt x="64" y="156"/>
                  </a:lnTo>
                  <a:lnTo>
                    <a:pt x="63" y="157"/>
                  </a:lnTo>
                  <a:lnTo>
                    <a:pt x="56" y="151"/>
                  </a:lnTo>
                  <a:lnTo>
                    <a:pt x="55" y="150"/>
                  </a:lnTo>
                  <a:lnTo>
                    <a:pt x="49" y="148"/>
                  </a:lnTo>
                  <a:lnTo>
                    <a:pt x="39" y="145"/>
                  </a:lnTo>
                  <a:lnTo>
                    <a:pt x="34" y="144"/>
                  </a:lnTo>
                  <a:lnTo>
                    <a:pt x="34" y="143"/>
                  </a:lnTo>
                  <a:lnTo>
                    <a:pt x="28" y="134"/>
                  </a:lnTo>
                  <a:lnTo>
                    <a:pt x="27" y="133"/>
                  </a:lnTo>
                  <a:lnTo>
                    <a:pt x="21" y="131"/>
                  </a:lnTo>
                  <a:lnTo>
                    <a:pt x="17" y="130"/>
                  </a:lnTo>
                  <a:lnTo>
                    <a:pt x="14" y="131"/>
                  </a:lnTo>
                  <a:lnTo>
                    <a:pt x="13" y="130"/>
                  </a:lnTo>
                  <a:lnTo>
                    <a:pt x="9" y="124"/>
                  </a:lnTo>
                  <a:lnTo>
                    <a:pt x="8" y="118"/>
                  </a:lnTo>
                  <a:lnTo>
                    <a:pt x="0" y="107"/>
                  </a:lnTo>
                  <a:lnTo>
                    <a:pt x="1" y="105"/>
                  </a:lnTo>
                  <a:lnTo>
                    <a:pt x="3" y="104"/>
                  </a:lnTo>
                  <a:lnTo>
                    <a:pt x="7" y="101"/>
                  </a:lnTo>
                  <a:lnTo>
                    <a:pt x="7" y="100"/>
                  </a:lnTo>
                  <a:lnTo>
                    <a:pt x="7" y="96"/>
                  </a:lnTo>
                  <a:lnTo>
                    <a:pt x="5" y="88"/>
                  </a:lnTo>
                  <a:lnTo>
                    <a:pt x="6" y="85"/>
                  </a:lnTo>
                  <a:lnTo>
                    <a:pt x="7" y="81"/>
                  </a:lnTo>
                  <a:lnTo>
                    <a:pt x="6" y="76"/>
                  </a:lnTo>
                  <a:lnTo>
                    <a:pt x="7" y="70"/>
                  </a:lnTo>
                  <a:lnTo>
                    <a:pt x="6" y="65"/>
                  </a:lnTo>
                  <a:lnTo>
                    <a:pt x="6" y="60"/>
                  </a:lnTo>
                  <a:lnTo>
                    <a:pt x="0" y="49"/>
                  </a:lnTo>
                  <a:lnTo>
                    <a:pt x="2" y="46"/>
                  </a:lnTo>
                  <a:lnTo>
                    <a:pt x="3" y="45"/>
                  </a:lnTo>
                  <a:lnTo>
                    <a:pt x="4" y="44"/>
                  </a:lnTo>
                  <a:lnTo>
                    <a:pt x="9" y="40"/>
                  </a:lnTo>
                  <a:lnTo>
                    <a:pt x="10" y="39"/>
                  </a:lnTo>
                  <a:lnTo>
                    <a:pt x="11" y="35"/>
                  </a:lnTo>
                  <a:lnTo>
                    <a:pt x="9" y="28"/>
                  </a:lnTo>
                  <a:lnTo>
                    <a:pt x="10" y="26"/>
                  </a:lnTo>
                  <a:lnTo>
                    <a:pt x="19" y="18"/>
                  </a:lnTo>
                  <a:lnTo>
                    <a:pt x="22" y="16"/>
                  </a:lnTo>
                  <a:lnTo>
                    <a:pt x="27" y="13"/>
                  </a:lnTo>
                  <a:lnTo>
                    <a:pt x="28" y="11"/>
                  </a:lnTo>
                  <a:lnTo>
                    <a:pt x="27" y="7"/>
                  </a:lnTo>
                  <a:lnTo>
                    <a:pt x="28" y="0"/>
                  </a:lnTo>
                  <a:lnTo>
                    <a:pt x="36" y="4"/>
                  </a:lnTo>
                  <a:lnTo>
                    <a:pt x="42" y="7"/>
                  </a:lnTo>
                  <a:lnTo>
                    <a:pt x="45" y="7"/>
                  </a:lnTo>
                  <a:lnTo>
                    <a:pt x="50" y="6"/>
                  </a:lnTo>
                  <a:lnTo>
                    <a:pt x="54" y="6"/>
                  </a:lnTo>
                  <a:lnTo>
                    <a:pt x="63" y="7"/>
                  </a:lnTo>
                  <a:lnTo>
                    <a:pt x="66" y="11"/>
                  </a:lnTo>
                  <a:lnTo>
                    <a:pt x="71" y="12"/>
                  </a:lnTo>
                  <a:lnTo>
                    <a:pt x="74" y="12"/>
                  </a:lnTo>
                  <a:lnTo>
                    <a:pt x="76" y="14"/>
                  </a:lnTo>
                  <a:lnTo>
                    <a:pt x="77" y="15"/>
                  </a:lnTo>
                  <a:lnTo>
                    <a:pt x="79" y="21"/>
                  </a:lnTo>
                  <a:lnTo>
                    <a:pt x="81" y="25"/>
                  </a:lnTo>
                  <a:lnTo>
                    <a:pt x="85" y="29"/>
                  </a:lnTo>
                  <a:lnTo>
                    <a:pt x="87" y="30"/>
                  </a:lnTo>
                  <a:lnTo>
                    <a:pt x="91" y="31"/>
                  </a:lnTo>
                  <a:lnTo>
                    <a:pt x="97" y="31"/>
                  </a:lnTo>
                  <a:lnTo>
                    <a:pt x="100" y="32"/>
                  </a:lnTo>
                  <a:lnTo>
                    <a:pt x="105" y="33"/>
                  </a:lnTo>
                  <a:lnTo>
                    <a:pt x="109" y="35"/>
                  </a:lnTo>
                  <a:lnTo>
                    <a:pt x="112" y="37"/>
                  </a:lnTo>
                  <a:lnTo>
                    <a:pt x="120" y="42"/>
                  </a:lnTo>
                  <a:lnTo>
                    <a:pt x="125" y="45"/>
                  </a:lnTo>
                  <a:lnTo>
                    <a:pt x="128" y="46"/>
                  </a:lnTo>
                  <a:lnTo>
                    <a:pt x="130" y="44"/>
                  </a:lnTo>
                  <a:lnTo>
                    <a:pt x="135" y="42"/>
                  </a:lnTo>
                  <a:lnTo>
                    <a:pt x="139" y="37"/>
                  </a:lnTo>
                  <a:lnTo>
                    <a:pt x="141" y="34"/>
                  </a:lnTo>
                  <a:lnTo>
                    <a:pt x="141" y="32"/>
                  </a:lnTo>
                  <a:lnTo>
                    <a:pt x="139" y="28"/>
                  </a:lnTo>
                  <a:lnTo>
                    <a:pt x="138" y="24"/>
                  </a:lnTo>
                  <a:lnTo>
                    <a:pt x="139" y="21"/>
                  </a:lnTo>
                  <a:lnTo>
                    <a:pt x="140" y="17"/>
                  </a:lnTo>
                  <a:lnTo>
                    <a:pt x="144" y="13"/>
                  </a:lnTo>
                  <a:lnTo>
                    <a:pt x="146" y="12"/>
                  </a:lnTo>
                  <a:lnTo>
                    <a:pt x="149" y="10"/>
                  </a:lnTo>
                  <a:lnTo>
                    <a:pt x="153" y="8"/>
                  </a:lnTo>
                  <a:lnTo>
                    <a:pt x="161" y="5"/>
                  </a:lnTo>
                  <a:lnTo>
                    <a:pt x="168" y="6"/>
                  </a:lnTo>
                  <a:lnTo>
                    <a:pt x="172" y="7"/>
                  </a:lnTo>
                  <a:lnTo>
                    <a:pt x="177" y="9"/>
                  </a:lnTo>
                  <a:lnTo>
                    <a:pt x="178" y="10"/>
                  </a:lnTo>
                  <a:lnTo>
                    <a:pt x="179" y="14"/>
                  </a:lnTo>
                  <a:lnTo>
                    <a:pt x="180" y="16"/>
                  </a:lnTo>
                  <a:lnTo>
                    <a:pt x="182" y="16"/>
                  </a:lnTo>
                  <a:lnTo>
                    <a:pt x="188" y="17"/>
                  </a:lnTo>
                  <a:lnTo>
                    <a:pt x="192" y="19"/>
                  </a:lnTo>
                  <a:lnTo>
                    <a:pt x="195" y="19"/>
                  </a:lnTo>
                  <a:lnTo>
                    <a:pt x="202" y="19"/>
                  </a:lnTo>
                  <a:lnTo>
                    <a:pt x="204" y="21"/>
                  </a:lnTo>
                  <a:lnTo>
                    <a:pt x="204" y="23"/>
                  </a:lnTo>
                  <a:lnTo>
                    <a:pt x="206" y="25"/>
                  </a:lnTo>
                  <a:lnTo>
                    <a:pt x="205" y="27"/>
                  </a:lnTo>
                  <a:lnTo>
                    <a:pt x="203" y="28"/>
                  </a:lnTo>
                  <a:lnTo>
                    <a:pt x="202" y="31"/>
                  </a:lnTo>
                  <a:lnTo>
                    <a:pt x="204" y="40"/>
                  </a:lnTo>
                  <a:lnTo>
                    <a:pt x="203" y="43"/>
                  </a:lnTo>
                  <a:lnTo>
                    <a:pt x="201" y="46"/>
                  </a:lnTo>
                  <a:lnTo>
                    <a:pt x="201" y="48"/>
                  </a:lnTo>
                  <a:lnTo>
                    <a:pt x="201" y="55"/>
                  </a:lnTo>
                  <a:lnTo>
                    <a:pt x="204" y="61"/>
                  </a:lnTo>
                  <a:lnTo>
                    <a:pt x="204" y="63"/>
                  </a:lnTo>
                  <a:lnTo>
                    <a:pt x="204" y="70"/>
                  </a:lnTo>
                  <a:lnTo>
                    <a:pt x="204" y="96"/>
                  </a:lnTo>
                  <a:lnTo>
                    <a:pt x="204" y="105"/>
                  </a:lnTo>
                  <a:lnTo>
                    <a:pt x="204" y="119"/>
                  </a:lnTo>
                  <a:lnTo>
                    <a:pt x="204" y="123"/>
                  </a:lnTo>
                  <a:lnTo>
                    <a:pt x="204" y="141"/>
                  </a:lnTo>
                  <a:lnTo>
                    <a:pt x="204" y="150"/>
                  </a:lnTo>
                  <a:lnTo>
                    <a:pt x="204" y="16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7" name="Freeform 89">
              <a:extLst>
                <a:ext uri="{FF2B5EF4-FFF2-40B4-BE49-F238E27FC236}">
                  <a16:creationId xmlns:a16="http://schemas.microsoft.com/office/drawing/2014/main" id="{8A42CF17-3B41-4131-38C4-D3CB3FEA768B}"/>
                </a:ext>
              </a:extLst>
            </p:cNvPr>
            <p:cNvSpPr>
              <a:spLocks/>
            </p:cNvSpPr>
            <p:nvPr/>
          </p:nvSpPr>
          <p:spPr bwMode="auto">
            <a:xfrm>
              <a:off x="5217696" y="5005388"/>
              <a:ext cx="90488" cy="134938"/>
            </a:xfrm>
            <a:custGeom>
              <a:avLst/>
              <a:gdLst/>
              <a:ahLst/>
              <a:cxnLst>
                <a:cxn ang="0">
                  <a:pos x="5" y="21"/>
                </a:cxn>
                <a:cxn ang="0">
                  <a:pos x="6" y="20"/>
                </a:cxn>
                <a:cxn ang="0">
                  <a:pos x="6" y="18"/>
                </a:cxn>
                <a:cxn ang="0">
                  <a:pos x="4" y="6"/>
                </a:cxn>
                <a:cxn ang="0">
                  <a:pos x="5" y="4"/>
                </a:cxn>
                <a:cxn ang="0">
                  <a:pos x="6" y="3"/>
                </a:cxn>
                <a:cxn ang="0">
                  <a:pos x="19" y="3"/>
                </a:cxn>
                <a:cxn ang="0">
                  <a:pos x="24" y="3"/>
                </a:cxn>
                <a:cxn ang="0">
                  <a:pos x="32" y="3"/>
                </a:cxn>
                <a:cxn ang="0">
                  <a:pos x="38" y="0"/>
                </a:cxn>
                <a:cxn ang="0">
                  <a:pos x="39" y="0"/>
                </a:cxn>
                <a:cxn ang="0">
                  <a:pos x="43" y="1"/>
                </a:cxn>
                <a:cxn ang="0">
                  <a:pos x="41" y="6"/>
                </a:cxn>
                <a:cxn ang="0">
                  <a:pos x="42" y="8"/>
                </a:cxn>
                <a:cxn ang="0">
                  <a:pos x="45" y="13"/>
                </a:cxn>
                <a:cxn ang="0">
                  <a:pos x="47" y="16"/>
                </a:cxn>
                <a:cxn ang="0">
                  <a:pos x="45" y="20"/>
                </a:cxn>
                <a:cxn ang="0">
                  <a:pos x="46" y="22"/>
                </a:cxn>
                <a:cxn ang="0">
                  <a:pos x="47" y="29"/>
                </a:cxn>
                <a:cxn ang="0">
                  <a:pos x="48" y="33"/>
                </a:cxn>
                <a:cxn ang="0">
                  <a:pos x="51" y="37"/>
                </a:cxn>
                <a:cxn ang="0">
                  <a:pos x="51" y="39"/>
                </a:cxn>
                <a:cxn ang="0">
                  <a:pos x="50" y="40"/>
                </a:cxn>
                <a:cxn ang="0">
                  <a:pos x="49" y="42"/>
                </a:cxn>
                <a:cxn ang="0">
                  <a:pos x="49" y="50"/>
                </a:cxn>
                <a:cxn ang="0">
                  <a:pos x="49" y="54"/>
                </a:cxn>
                <a:cxn ang="0">
                  <a:pos x="49" y="57"/>
                </a:cxn>
                <a:cxn ang="0">
                  <a:pos x="50" y="60"/>
                </a:cxn>
                <a:cxn ang="0">
                  <a:pos x="53" y="64"/>
                </a:cxn>
                <a:cxn ang="0">
                  <a:pos x="57" y="67"/>
                </a:cxn>
                <a:cxn ang="0">
                  <a:pos x="54" y="71"/>
                </a:cxn>
                <a:cxn ang="0">
                  <a:pos x="52" y="72"/>
                </a:cxn>
                <a:cxn ang="0">
                  <a:pos x="49" y="72"/>
                </a:cxn>
                <a:cxn ang="0">
                  <a:pos x="43" y="73"/>
                </a:cxn>
                <a:cxn ang="0">
                  <a:pos x="40" y="74"/>
                </a:cxn>
                <a:cxn ang="0">
                  <a:pos x="39" y="74"/>
                </a:cxn>
                <a:cxn ang="0">
                  <a:pos x="34" y="77"/>
                </a:cxn>
                <a:cxn ang="0">
                  <a:pos x="26" y="79"/>
                </a:cxn>
                <a:cxn ang="0">
                  <a:pos x="21" y="82"/>
                </a:cxn>
                <a:cxn ang="0">
                  <a:pos x="15" y="85"/>
                </a:cxn>
                <a:cxn ang="0">
                  <a:pos x="12" y="83"/>
                </a:cxn>
                <a:cxn ang="0">
                  <a:pos x="6" y="81"/>
                </a:cxn>
                <a:cxn ang="0">
                  <a:pos x="6" y="80"/>
                </a:cxn>
                <a:cxn ang="0">
                  <a:pos x="6" y="76"/>
                </a:cxn>
                <a:cxn ang="0">
                  <a:pos x="2" y="69"/>
                </a:cxn>
                <a:cxn ang="0">
                  <a:pos x="1" y="64"/>
                </a:cxn>
                <a:cxn ang="0">
                  <a:pos x="0" y="60"/>
                </a:cxn>
                <a:cxn ang="0">
                  <a:pos x="2" y="54"/>
                </a:cxn>
                <a:cxn ang="0">
                  <a:pos x="5" y="47"/>
                </a:cxn>
                <a:cxn ang="0">
                  <a:pos x="8" y="42"/>
                </a:cxn>
                <a:cxn ang="0">
                  <a:pos x="9" y="38"/>
                </a:cxn>
                <a:cxn ang="0">
                  <a:pos x="7" y="30"/>
                </a:cxn>
                <a:cxn ang="0">
                  <a:pos x="6" y="22"/>
                </a:cxn>
                <a:cxn ang="0">
                  <a:pos x="5" y="21"/>
                </a:cxn>
              </a:cxnLst>
              <a:rect l="0" t="0" r="r" b="b"/>
              <a:pathLst>
                <a:path w="57" h="85">
                  <a:moveTo>
                    <a:pt x="5" y="21"/>
                  </a:moveTo>
                  <a:lnTo>
                    <a:pt x="6" y="20"/>
                  </a:lnTo>
                  <a:lnTo>
                    <a:pt x="6" y="18"/>
                  </a:lnTo>
                  <a:lnTo>
                    <a:pt x="4" y="6"/>
                  </a:lnTo>
                  <a:lnTo>
                    <a:pt x="5" y="4"/>
                  </a:lnTo>
                  <a:lnTo>
                    <a:pt x="6" y="3"/>
                  </a:lnTo>
                  <a:lnTo>
                    <a:pt x="19" y="3"/>
                  </a:lnTo>
                  <a:lnTo>
                    <a:pt x="24" y="3"/>
                  </a:lnTo>
                  <a:lnTo>
                    <a:pt x="32" y="3"/>
                  </a:lnTo>
                  <a:lnTo>
                    <a:pt x="38" y="0"/>
                  </a:lnTo>
                  <a:lnTo>
                    <a:pt x="39" y="0"/>
                  </a:lnTo>
                  <a:lnTo>
                    <a:pt x="43" y="1"/>
                  </a:lnTo>
                  <a:lnTo>
                    <a:pt x="41" y="6"/>
                  </a:lnTo>
                  <a:lnTo>
                    <a:pt x="42" y="8"/>
                  </a:lnTo>
                  <a:lnTo>
                    <a:pt x="45" y="13"/>
                  </a:lnTo>
                  <a:lnTo>
                    <a:pt x="47" y="16"/>
                  </a:lnTo>
                  <a:lnTo>
                    <a:pt x="45" y="20"/>
                  </a:lnTo>
                  <a:lnTo>
                    <a:pt x="46" y="22"/>
                  </a:lnTo>
                  <a:lnTo>
                    <a:pt x="47" y="29"/>
                  </a:lnTo>
                  <a:lnTo>
                    <a:pt x="48" y="33"/>
                  </a:lnTo>
                  <a:lnTo>
                    <a:pt x="51" y="37"/>
                  </a:lnTo>
                  <a:lnTo>
                    <a:pt x="51" y="39"/>
                  </a:lnTo>
                  <a:lnTo>
                    <a:pt x="50" y="40"/>
                  </a:lnTo>
                  <a:lnTo>
                    <a:pt x="49" y="42"/>
                  </a:lnTo>
                  <a:lnTo>
                    <a:pt x="49" y="50"/>
                  </a:lnTo>
                  <a:lnTo>
                    <a:pt x="49" y="54"/>
                  </a:lnTo>
                  <a:lnTo>
                    <a:pt x="49" y="57"/>
                  </a:lnTo>
                  <a:lnTo>
                    <a:pt x="50" y="60"/>
                  </a:lnTo>
                  <a:lnTo>
                    <a:pt x="53" y="64"/>
                  </a:lnTo>
                  <a:lnTo>
                    <a:pt x="57" y="67"/>
                  </a:lnTo>
                  <a:lnTo>
                    <a:pt x="54" y="71"/>
                  </a:lnTo>
                  <a:lnTo>
                    <a:pt x="52" y="72"/>
                  </a:lnTo>
                  <a:lnTo>
                    <a:pt x="49" y="72"/>
                  </a:lnTo>
                  <a:lnTo>
                    <a:pt x="43" y="73"/>
                  </a:lnTo>
                  <a:lnTo>
                    <a:pt x="40" y="74"/>
                  </a:lnTo>
                  <a:lnTo>
                    <a:pt x="39" y="74"/>
                  </a:lnTo>
                  <a:lnTo>
                    <a:pt x="34" y="77"/>
                  </a:lnTo>
                  <a:lnTo>
                    <a:pt x="26" y="79"/>
                  </a:lnTo>
                  <a:lnTo>
                    <a:pt x="21" y="82"/>
                  </a:lnTo>
                  <a:lnTo>
                    <a:pt x="15" y="85"/>
                  </a:lnTo>
                  <a:lnTo>
                    <a:pt x="12" y="83"/>
                  </a:lnTo>
                  <a:lnTo>
                    <a:pt x="6" y="81"/>
                  </a:lnTo>
                  <a:lnTo>
                    <a:pt x="6" y="80"/>
                  </a:lnTo>
                  <a:lnTo>
                    <a:pt x="6" y="76"/>
                  </a:lnTo>
                  <a:lnTo>
                    <a:pt x="2" y="69"/>
                  </a:lnTo>
                  <a:lnTo>
                    <a:pt x="1" y="64"/>
                  </a:lnTo>
                  <a:lnTo>
                    <a:pt x="0" y="60"/>
                  </a:lnTo>
                  <a:lnTo>
                    <a:pt x="2" y="54"/>
                  </a:lnTo>
                  <a:lnTo>
                    <a:pt x="5" y="47"/>
                  </a:lnTo>
                  <a:lnTo>
                    <a:pt x="8" y="42"/>
                  </a:lnTo>
                  <a:lnTo>
                    <a:pt x="9" y="38"/>
                  </a:lnTo>
                  <a:lnTo>
                    <a:pt x="7" y="30"/>
                  </a:lnTo>
                  <a:lnTo>
                    <a:pt x="6" y="22"/>
                  </a:lnTo>
                  <a:lnTo>
                    <a:pt x="5" y="2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8" name="Freeform 90">
              <a:extLst>
                <a:ext uri="{FF2B5EF4-FFF2-40B4-BE49-F238E27FC236}">
                  <a16:creationId xmlns:a16="http://schemas.microsoft.com/office/drawing/2014/main" id="{8534CAD8-4E04-7D9C-7E15-431664D1B185}"/>
                </a:ext>
              </a:extLst>
            </p:cNvPr>
            <p:cNvSpPr>
              <a:spLocks/>
            </p:cNvSpPr>
            <p:nvPr/>
          </p:nvSpPr>
          <p:spPr bwMode="auto">
            <a:xfrm>
              <a:off x="5282784" y="5006975"/>
              <a:ext cx="38100" cy="104775"/>
            </a:xfrm>
            <a:custGeom>
              <a:avLst/>
              <a:gdLst/>
              <a:ahLst/>
              <a:cxnLst>
                <a:cxn ang="0">
                  <a:pos x="2" y="0"/>
                </a:cxn>
                <a:cxn ang="0">
                  <a:pos x="8" y="1"/>
                </a:cxn>
                <a:cxn ang="0">
                  <a:pos x="11" y="2"/>
                </a:cxn>
                <a:cxn ang="0">
                  <a:pos x="13" y="2"/>
                </a:cxn>
                <a:cxn ang="0">
                  <a:pos x="13" y="5"/>
                </a:cxn>
                <a:cxn ang="0">
                  <a:pos x="12" y="9"/>
                </a:cxn>
                <a:cxn ang="0">
                  <a:pos x="13" y="11"/>
                </a:cxn>
                <a:cxn ang="0">
                  <a:pos x="16" y="12"/>
                </a:cxn>
                <a:cxn ang="0">
                  <a:pos x="18" y="15"/>
                </a:cxn>
                <a:cxn ang="0">
                  <a:pos x="19" y="19"/>
                </a:cxn>
                <a:cxn ang="0">
                  <a:pos x="22" y="26"/>
                </a:cxn>
                <a:cxn ang="0">
                  <a:pos x="22" y="30"/>
                </a:cxn>
                <a:cxn ang="0">
                  <a:pos x="22" y="33"/>
                </a:cxn>
                <a:cxn ang="0">
                  <a:pos x="22" y="38"/>
                </a:cxn>
                <a:cxn ang="0">
                  <a:pos x="22" y="44"/>
                </a:cxn>
                <a:cxn ang="0">
                  <a:pos x="23" y="47"/>
                </a:cxn>
                <a:cxn ang="0">
                  <a:pos x="22" y="52"/>
                </a:cxn>
                <a:cxn ang="0">
                  <a:pos x="21" y="56"/>
                </a:cxn>
                <a:cxn ang="0">
                  <a:pos x="23" y="63"/>
                </a:cxn>
                <a:cxn ang="0">
                  <a:pos x="24" y="64"/>
                </a:cxn>
                <a:cxn ang="0">
                  <a:pos x="21" y="64"/>
                </a:cxn>
                <a:cxn ang="0">
                  <a:pos x="18" y="65"/>
                </a:cxn>
                <a:cxn ang="0">
                  <a:pos x="16" y="66"/>
                </a:cxn>
                <a:cxn ang="0">
                  <a:pos x="16" y="66"/>
                </a:cxn>
                <a:cxn ang="0">
                  <a:pos x="12" y="63"/>
                </a:cxn>
                <a:cxn ang="0">
                  <a:pos x="9" y="59"/>
                </a:cxn>
                <a:cxn ang="0">
                  <a:pos x="8" y="56"/>
                </a:cxn>
                <a:cxn ang="0">
                  <a:pos x="8" y="53"/>
                </a:cxn>
                <a:cxn ang="0">
                  <a:pos x="8" y="49"/>
                </a:cxn>
                <a:cxn ang="0">
                  <a:pos x="8" y="41"/>
                </a:cxn>
                <a:cxn ang="0">
                  <a:pos x="9" y="39"/>
                </a:cxn>
                <a:cxn ang="0">
                  <a:pos x="10" y="38"/>
                </a:cxn>
                <a:cxn ang="0">
                  <a:pos x="10" y="36"/>
                </a:cxn>
                <a:cxn ang="0">
                  <a:pos x="7" y="32"/>
                </a:cxn>
                <a:cxn ang="0">
                  <a:pos x="6" y="28"/>
                </a:cxn>
                <a:cxn ang="0">
                  <a:pos x="5" y="21"/>
                </a:cxn>
                <a:cxn ang="0">
                  <a:pos x="4" y="19"/>
                </a:cxn>
                <a:cxn ang="0">
                  <a:pos x="6" y="15"/>
                </a:cxn>
                <a:cxn ang="0">
                  <a:pos x="4" y="12"/>
                </a:cxn>
                <a:cxn ang="0">
                  <a:pos x="1" y="7"/>
                </a:cxn>
                <a:cxn ang="0">
                  <a:pos x="0" y="5"/>
                </a:cxn>
                <a:cxn ang="0">
                  <a:pos x="2" y="0"/>
                </a:cxn>
              </a:cxnLst>
              <a:rect l="0" t="0" r="r" b="b"/>
              <a:pathLst>
                <a:path w="24" h="66">
                  <a:moveTo>
                    <a:pt x="2" y="0"/>
                  </a:moveTo>
                  <a:lnTo>
                    <a:pt x="8" y="1"/>
                  </a:lnTo>
                  <a:lnTo>
                    <a:pt x="11" y="2"/>
                  </a:lnTo>
                  <a:lnTo>
                    <a:pt x="13" y="2"/>
                  </a:lnTo>
                  <a:lnTo>
                    <a:pt x="13" y="5"/>
                  </a:lnTo>
                  <a:lnTo>
                    <a:pt x="12" y="9"/>
                  </a:lnTo>
                  <a:lnTo>
                    <a:pt x="13" y="11"/>
                  </a:lnTo>
                  <a:lnTo>
                    <a:pt x="16" y="12"/>
                  </a:lnTo>
                  <a:lnTo>
                    <a:pt x="18" y="15"/>
                  </a:lnTo>
                  <a:lnTo>
                    <a:pt x="19" y="19"/>
                  </a:lnTo>
                  <a:lnTo>
                    <a:pt x="22" y="26"/>
                  </a:lnTo>
                  <a:lnTo>
                    <a:pt x="22" y="30"/>
                  </a:lnTo>
                  <a:lnTo>
                    <a:pt x="22" y="33"/>
                  </a:lnTo>
                  <a:lnTo>
                    <a:pt x="22" y="38"/>
                  </a:lnTo>
                  <a:lnTo>
                    <a:pt x="22" y="44"/>
                  </a:lnTo>
                  <a:lnTo>
                    <a:pt x="23" y="47"/>
                  </a:lnTo>
                  <a:lnTo>
                    <a:pt x="22" y="52"/>
                  </a:lnTo>
                  <a:lnTo>
                    <a:pt x="21" y="56"/>
                  </a:lnTo>
                  <a:lnTo>
                    <a:pt x="23" y="63"/>
                  </a:lnTo>
                  <a:lnTo>
                    <a:pt x="24" y="64"/>
                  </a:lnTo>
                  <a:lnTo>
                    <a:pt x="21" y="64"/>
                  </a:lnTo>
                  <a:lnTo>
                    <a:pt x="18" y="65"/>
                  </a:lnTo>
                  <a:lnTo>
                    <a:pt x="16" y="66"/>
                  </a:lnTo>
                  <a:lnTo>
                    <a:pt x="16" y="66"/>
                  </a:lnTo>
                  <a:lnTo>
                    <a:pt x="12" y="63"/>
                  </a:lnTo>
                  <a:lnTo>
                    <a:pt x="9" y="59"/>
                  </a:lnTo>
                  <a:lnTo>
                    <a:pt x="8" y="56"/>
                  </a:lnTo>
                  <a:lnTo>
                    <a:pt x="8" y="53"/>
                  </a:lnTo>
                  <a:lnTo>
                    <a:pt x="8" y="49"/>
                  </a:lnTo>
                  <a:lnTo>
                    <a:pt x="8" y="41"/>
                  </a:lnTo>
                  <a:lnTo>
                    <a:pt x="9" y="39"/>
                  </a:lnTo>
                  <a:lnTo>
                    <a:pt x="10" y="38"/>
                  </a:lnTo>
                  <a:lnTo>
                    <a:pt x="10" y="36"/>
                  </a:lnTo>
                  <a:lnTo>
                    <a:pt x="7" y="32"/>
                  </a:lnTo>
                  <a:lnTo>
                    <a:pt x="6" y="28"/>
                  </a:lnTo>
                  <a:lnTo>
                    <a:pt x="5" y="21"/>
                  </a:lnTo>
                  <a:lnTo>
                    <a:pt x="4" y="19"/>
                  </a:lnTo>
                  <a:lnTo>
                    <a:pt x="6" y="15"/>
                  </a:lnTo>
                  <a:lnTo>
                    <a:pt x="4" y="12"/>
                  </a:lnTo>
                  <a:lnTo>
                    <a:pt x="1" y="7"/>
                  </a:lnTo>
                  <a:lnTo>
                    <a:pt x="0" y="5"/>
                  </a:lnTo>
                  <a:lnTo>
                    <a:pt x="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19" name="Freeform 91">
              <a:extLst>
                <a:ext uri="{FF2B5EF4-FFF2-40B4-BE49-F238E27FC236}">
                  <a16:creationId xmlns:a16="http://schemas.microsoft.com/office/drawing/2014/main" id="{1F5FB80D-1CBF-7D83-0644-0906D1D48D9F}"/>
                </a:ext>
              </a:extLst>
            </p:cNvPr>
            <p:cNvSpPr>
              <a:spLocks/>
            </p:cNvSpPr>
            <p:nvPr/>
          </p:nvSpPr>
          <p:spPr bwMode="auto">
            <a:xfrm>
              <a:off x="5301834" y="4979988"/>
              <a:ext cx="61913" cy="128588"/>
            </a:xfrm>
            <a:custGeom>
              <a:avLst/>
              <a:gdLst/>
              <a:ahLst/>
              <a:cxnLst>
                <a:cxn ang="0">
                  <a:pos x="36" y="8"/>
                </a:cxn>
                <a:cxn ang="0">
                  <a:pos x="36" y="13"/>
                </a:cxn>
                <a:cxn ang="0">
                  <a:pos x="37" y="18"/>
                </a:cxn>
                <a:cxn ang="0">
                  <a:pos x="39" y="22"/>
                </a:cxn>
                <a:cxn ang="0">
                  <a:pos x="37" y="28"/>
                </a:cxn>
                <a:cxn ang="0">
                  <a:pos x="36" y="31"/>
                </a:cxn>
                <a:cxn ang="0">
                  <a:pos x="34" y="33"/>
                </a:cxn>
                <a:cxn ang="0">
                  <a:pos x="31" y="35"/>
                </a:cxn>
                <a:cxn ang="0">
                  <a:pos x="30" y="37"/>
                </a:cxn>
                <a:cxn ang="0">
                  <a:pos x="31" y="41"/>
                </a:cxn>
                <a:cxn ang="0">
                  <a:pos x="30" y="43"/>
                </a:cxn>
                <a:cxn ang="0">
                  <a:pos x="28" y="44"/>
                </a:cxn>
                <a:cxn ang="0">
                  <a:pos x="26" y="44"/>
                </a:cxn>
                <a:cxn ang="0">
                  <a:pos x="25" y="46"/>
                </a:cxn>
                <a:cxn ang="0">
                  <a:pos x="25" y="49"/>
                </a:cxn>
                <a:cxn ang="0">
                  <a:pos x="25" y="52"/>
                </a:cxn>
                <a:cxn ang="0">
                  <a:pos x="25" y="57"/>
                </a:cxn>
                <a:cxn ang="0">
                  <a:pos x="24" y="62"/>
                </a:cxn>
                <a:cxn ang="0">
                  <a:pos x="26" y="71"/>
                </a:cxn>
                <a:cxn ang="0">
                  <a:pos x="25" y="78"/>
                </a:cxn>
                <a:cxn ang="0">
                  <a:pos x="25" y="80"/>
                </a:cxn>
                <a:cxn ang="0">
                  <a:pos x="23" y="80"/>
                </a:cxn>
                <a:cxn ang="0">
                  <a:pos x="16" y="80"/>
                </a:cxn>
                <a:cxn ang="0">
                  <a:pos x="12" y="81"/>
                </a:cxn>
                <a:cxn ang="0">
                  <a:pos x="11" y="80"/>
                </a:cxn>
                <a:cxn ang="0">
                  <a:pos x="9" y="73"/>
                </a:cxn>
                <a:cxn ang="0">
                  <a:pos x="10" y="69"/>
                </a:cxn>
                <a:cxn ang="0">
                  <a:pos x="11" y="64"/>
                </a:cxn>
                <a:cxn ang="0">
                  <a:pos x="10" y="61"/>
                </a:cxn>
                <a:cxn ang="0">
                  <a:pos x="10" y="55"/>
                </a:cxn>
                <a:cxn ang="0">
                  <a:pos x="10" y="50"/>
                </a:cxn>
                <a:cxn ang="0">
                  <a:pos x="10" y="47"/>
                </a:cxn>
                <a:cxn ang="0">
                  <a:pos x="10" y="43"/>
                </a:cxn>
                <a:cxn ang="0">
                  <a:pos x="7" y="36"/>
                </a:cxn>
                <a:cxn ang="0">
                  <a:pos x="6" y="32"/>
                </a:cxn>
                <a:cxn ang="0">
                  <a:pos x="4" y="29"/>
                </a:cxn>
                <a:cxn ang="0">
                  <a:pos x="1" y="28"/>
                </a:cxn>
                <a:cxn ang="0">
                  <a:pos x="0" y="26"/>
                </a:cxn>
                <a:cxn ang="0">
                  <a:pos x="1" y="22"/>
                </a:cxn>
                <a:cxn ang="0">
                  <a:pos x="1" y="19"/>
                </a:cxn>
                <a:cxn ang="0">
                  <a:pos x="1" y="19"/>
                </a:cxn>
                <a:cxn ang="0">
                  <a:pos x="3" y="18"/>
                </a:cxn>
                <a:cxn ang="0">
                  <a:pos x="5" y="14"/>
                </a:cxn>
                <a:cxn ang="0">
                  <a:pos x="7" y="13"/>
                </a:cxn>
                <a:cxn ang="0">
                  <a:pos x="10" y="13"/>
                </a:cxn>
                <a:cxn ang="0">
                  <a:pos x="14" y="13"/>
                </a:cxn>
                <a:cxn ang="0">
                  <a:pos x="16" y="12"/>
                </a:cxn>
                <a:cxn ang="0">
                  <a:pos x="19" y="9"/>
                </a:cxn>
                <a:cxn ang="0">
                  <a:pos x="20" y="5"/>
                </a:cxn>
                <a:cxn ang="0">
                  <a:pos x="19" y="2"/>
                </a:cxn>
                <a:cxn ang="0">
                  <a:pos x="22" y="1"/>
                </a:cxn>
                <a:cxn ang="0">
                  <a:pos x="24" y="0"/>
                </a:cxn>
                <a:cxn ang="0">
                  <a:pos x="27" y="2"/>
                </a:cxn>
                <a:cxn ang="0">
                  <a:pos x="31" y="5"/>
                </a:cxn>
                <a:cxn ang="0">
                  <a:pos x="36" y="8"/>
                </a:cxn>
              </a:cxnLst>
              <a:rect l="0" t="0" r="r" b="b"/>
              <a:pathLst>
                <a:path w="39" h="81">
                  <a:moveTo>
                    <a:pt x="36" y="8"/>
                  </a:moveTo>
                  <a:lnTo>
                    <a:pt x="36" y="13"/>
                  </a:lnTo>
                  <a:lnTo>
                    <a:pt x="37" y="18"/>
                  </a:lnTo>
                  <a:lnTo>
                    <a:pt x="39" y="22"/>
                  </a:lnTo>
                  <a:lnTo>
                    <a:pt x="37" y="28"/>
                  </a:lnTo>
                  <a:lnTo>
                    <a:pt x="36" y="31"/>
                  </a:lnTo>
                  <a:lnTo>
                    <a:pt x="34" y="33"/>
                  </a:lnTo>
                  <a:lnTo>
                    <a:pt x="31" y="35"/>
                  </a:lnTo>
                  <a:lnTo>
                    <a:pt x="30" y="37"/>
                  </a:lnTo>
                  <a:lnTo>
                    <a:pt x="31" y="41"/>
                  </a:lnTo>
                  <a:lnTo>
                    <a:pt x="30" y="43"/>
                  </a:lnTo>
                  <a:lnTo>
                    <a:pt x="28" y="44"/>
                  </a:lnTo>
                  <a:lnTo>
                    <a:pt x="26" y="44"/>
                  </a:lnTo>
                  <a:lnTo>
                    <a:pt x="25" y="46"/>
                  </a:lnTo>
                  <a:lnTo>
                    <a:pt x="25" y="49"/>
                  </a:lnTo>
                  <a:lnTo>
                    <a:pt x="25" y="52"/>
                  </a:lnTo>
                  <a:lnTo>
                    <a:pt x="25" y="57"/>
                  </a:lnTo>
                  <a:lnTo>
                    <a:pt x="24" y="62"/>
                  </a:lnTo>
                  <a:lnTo>
                    <a:pt x="26" y="71"/>
                  </a:lnTo>
                  <a:lnTo>
                    <a:pt x="25" y="78"/>
                  </a:lnTo>
                  <a:lnTo>
                    <a:pt x="25" y="80"/>
                  </a:lnTo>
                  <a:lnTo>
                    <a:pt x="23" y="80"/>
                  </a:lnTo>
                  <a:lnTo>
                    <a:pt x="16" y="80"/>
                  </a:lnTo>
                  <a:lnTo>
                    <a:pt x="12" y="81"/>
                  </a:lnTo>
                  <a:lnTo>
                    <a:pt x="11" y="80"/>
                  </a:lnTo>
                  <a:lnTo>
                    <a:pt x="9" y="73"/>
                  </a:lnTo>
                  <a:lnTo>
                    <a:pt x="10" y="69"/>
                  </a:lnTo>
                  <a:lnTo>
                    <a:pt x="11" y="64"/>
                  </a:lnTo>
                  <a:lnTo>
                    <a:pt x="10" y="61"/>
                  </a:lnTo>
                  <a:lnTo>
                    <a:pt x="10" y="55"/>
                  </a:lnTo>
                  <a:lnTo>
                    <a:pt x="10" y="50"/>
                  </a:lnTo>
                  <a:lnTo>
                    <a:pt x="10" y="47"/>
                  </a:lnTo>
                  <a:lnTo>
                    <a:pt x="10" y="43"/>
                  </a:lnTo>
                  <a:lnTo>
                    <a:pt x="7" y="36"/>
                  </a:lnTo>
                  <a:lnTo>
                    <a:pt x="6" y="32"/>
                  </a:lnTo>
                  <a:lnTo>
                    <a:pt x="4" y="29"/>
                  </a:lnTo>
                  <a:lnTo>
                    <a:pt x="1" y="28"/>
                  </a:lnTo>
                  <a:lnTo>
                    <a:pt x="0" y="26"/>
                  </a:lnTo>
                  <a:lnTo>
                    <a:pt x="1" y="22"/>
                  </a:lnTo>
                  <a:lnTo>
                    <a:pt x="1" y="19"/>
                  </a:lnTo>
                  <a:lnTo>
                    <a:pt x="1" y="19"/>
                  </a:lnTo>
                  <a:lnTo>
                    <a:pt x="3" y="18"/>
                  </a:lnTo>
                  <a:lnTo>
                    <a:pt x="5" y="14"/>
                  </a:lnTo>
                  <a:lnTo>
                    <a:pt x="7" y="13"/>
                  </a:lnTo>
                  <a:lnTo>
                    <a:pt x="10" y="13"/>
                  </a:lnTo>
                  <a:lnTo>
                    <a:pt x="14" y="13"/>
                  </a:lnTo>
                  <a:lnTo>
                    <a:pt x="16" y="12"/>
                  </a:lnTo>
                  <a:lnTo>
                    <a:pt x="19" y="9"/>
                  </a:lnTo>
                  <a:lnTo>
                    <a:pt x="20" y="5"/>
                  </a:lnTo>
                  <a:lnTo>
                    <a:pt x="19" y="2"/>
                  </a:lnTo>
                  <a:lnTo>
                    <a:pt x="22" y="1"/>
                  </a:lnTo>
                  <a:lnTo>
                    <a:pt x="24" y="0"/>
                  </a:lnTo>
                  <a:lnTo>
                    <a:pt x="27" y="2"/>
                  </a:lnTo>
                  <a:lnTo>
                    <a:pt x="31" y="5"/>
                  </a:lnTo>
                  <a:lnTo>
                    <a:pt x="36" y="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0" name="Freeform 92">
              <a:extLst>
                <a:ext uri="{FF2B5EF4-FFF2-40B4-BE49-F238E27FC236}">
                  <a16:creationId xmlns:a16="http://schemas.microsoft.com/office/drawing/2014/main" id="{3379C8A6-DFCF-AD1B-5467-17505FDDBA71}"/>
                </a:ext>
              </a:extLst>
            </p:cNvPr>
            <p:cNvSpPr>
              <a:spLocks noEditPoints="1"/>
            </p:cNvSpPr>
            <p:nvPr/>
          </p:nvSpPr>
          <p:spPr bwMode="auto">
            <a:xfrm>
              <a:off x="5824121" y="4275138"/>
              <a:ext cx="388938" cy="165100"/>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1" name="Freeform 93">
              <a:extLst>
                <a:ext uri="{FF2B5EF4-FFF2-40B4-BE49-F238E27FC236}">
                  <a16:creationId xmlns:a16="http://schemas.microsoft.com/office/drawing/2014/main" id="{1110DF32-8EB9-8B10-75EA-521C7F219D25}"/>
                </a:ext>
              </a:extLst>
            </p:cNvPr>
            <p:cNvSpPr>
              <a:spLocks/>
            </p:cNvSpPr>
            <p:nvPr/>
          </p:nvSpPr>
          <p:spPr bwMode="auto">
            <a:xfrm>
              <a:off x="5339934" y="4949825"/>
              <a:ext cx="246063" cy="200025"/>
            </a:xfrm>
            <a:custGeom>
              <a:avLst/>
              <a:gdLst/>
              <a:ahLst/>
              <a:cxnLst>
                <a:cxn ang="0">
                  <a:pos x="148" y="16"/>
                </a:cxn>
                <a:cxn ang="0">
                  <a:pos x="154" y="21"/>
                </a:cxn>
                <a:cxn ang="0">
                  <a:pos x="154" y="31"/>
                </a:cxn>
                <a:cxn ang="0">
                  <a:pos x="147" y="34"/>
                </a:cxn>
                <a:cxn ang="0">
                  <a:pos x="138" y="51"/>
                </a:cxn>
                <a:cxn ang="0">
                  <a:pos x="132" y="58"/>
                </a:cxn>
                <a:cxn ang="0">
                  <a:pos x="130" y="69"/>
                </a:cxn>
                <a:cxn ang="0">
                  <a:pos x="123" y="76"/>
                </a:cxn>
                <a:cxn ang="0">
                  <a:pos x="114" y="96"/>
                </a:cxn>
                <a:cxn ang="0">
                  <a:pos x="110" y="98"/>
                </a:cxn>
                <a:cxn ang="0">
                  <a:pos x="98" y="91"/>
                </a:cxn>
                <a:cxn ang="0">
                  <a:pos x="83" y="104"/>
                </a:cxn>
                <a:cxn ang="0">
                  <a:pos x="79" y="116"/>
                </a:cxn>
                <a:cxn ang="0">
                  <a:pos x="75" y="119"/>
                </a:cxn>
                <a:cxn ang="0">
                  <a:pos x="74" y="121"/>
                </a:cxn>
                <a:cxn ang="0">
                  <a:pos x="68" y="123"/>
                </a:cxn>
                <a:cxn ang="0">
                  <a:pos x="57" y="123"/>
                </a:cxn>
                <a:cxn ang="0">
                  <a:pos x="52" y="125"/>
                </a:cxn>
                <a:cxn ang="0">
                  <a:pos x="38" y="121"/>
                </a:cxn>
                <a:cxn ang="0">
                  <a:pos x="35" y="111"/>
                </a:cxn>
                <a:cxn ang="0">
                  <a:pos x="32" y="108"/>
                </a:cxn>
                <a:cxn ang="0">
                  <a:pos x="25" y="100"/>
                </a:cxn>
                <a:cxn ang="0">
                  <a:pos x="16" y="96"/>
                </a:cxn>
                <a:cxn ang="0">
                  <a:pos x="10" y="98"/>
                </a:cxn>
                <a:cxn ang="0">
                  <a:pos x="1" y="97"/>
                </a:cxn>
                <a:cxn ang="0">
                  <a:pos x="1" y="76"/>
                </a:cxn>
                <a:cxn ang="0">
                  <a:pos x="1" y="65"/>
                </a:cxn>
                <a:cxn ang="0">
                  <a:pos x="6" y="62"/>
                </a:cxn>
                <a:cxn ang="0">
                  <a:pos x="7" y="54"/>
                </a:cxn>
                <a:cxn ang="0">
                  <a:pos x="13" y="47"/>
                </a:cxn>
                <a:cxn ang="0">
                  <a:pos x="12" y="32"/>
                </a:cxn>
                <a:cxn ang="0">
                  <a:pos x="13" y="17"/>
                </a:cxn>
                <a:cxn ang="0">
                  <a:pos x="24" y="2"/>
                </a:cxn>
                <a:cxn ang="0">
                  <a:pos x="43" y="0"/>
                </a:cxn>
                <a:cxn ang="0">
                  <a:pos x="56" y="10"/>
                </a:cxn>
                <a:cxn ang="0">
                  <a:pos x="69" y="6"/>
                </a:cxn>
                <a:cxn ang="0">
                  <a:pos x="83" y="13"/>
                </a:cxn>
                <a:cxn ang="0">
                  <a:pos x="94" y="10"/>
                </a:cxn>
                <a:cxn ang="0">
                  <a:pos x="105" y="6"/>
                </a:cxn>
                <a:cxn ang="0">
                  <a:pos x="117" y="7"/>
                </a:cxn>
                <a:cxn ang="0">
                  <a:pos x="126" y="9"/>
                </a:cxn>
                <a:cxn ang="0">
                  <a:pos x="136" y="2"/>
                </a:cxn>
                <a:cxn ang="0">
                  <a:pos x="146" y="7"/>
                </a:cxn>
              </a:cxnLst>
              <a:rect l="0" t="0" r="r" b="b"/>
              <a:pathLst>
                <a:path w="155" h="126">
                  <a:moveTo>
                    <a:pt x="148" y="9"/>
                  </a:moveTo>
                  <a:lnTo>
                    <a:pt x="148" y="12"/>
                  </a:lnTo>
                  <a:lnTo>
                    <a:pt x="148" y="16"/>
                  </a:lnTo>
                  <a:lnTo>
                    <a:pt x="149" y="19"/>
                  </a:lnTo>
                  <a:lnTo>
                    <a:pt x="150" y="20"/>
                  </a:lnTo>
                  <a:lnTo>
                    <a:pt x="154" y="21"/>
                  </a:lnTo>
                  <a:lnTo>
                    <a:pt x="154" y="22"/>
                  </a:lnTo>
                  <a:lnTo>
                    <a:pt x="155" y="24"/>
                  </a:lnTo>
                  <a:lnTo>
                    <a:pt x="154" y="31"/>
                  </a:lnTo>
                  <a:lnTo>
                    <a:pt x="154" y="32"/>
                  </a:lnTo>
                  <a:lnTo>
                    <a:pt x="152" y="33"/>
                  </a:lnTo>
                  <a:lnTo>
                    <a:pt x="147" y="34"/>
                  </a:lnTo>
                  <a:lnTo>
                    <a:pt x="145" y="36"/>
                  </a:lnTo>
                  <a:lnTo>
                    <a:pt x="141" y="44"/>
                  </a:lnTo>
                  <a:lnTo>
                    <a:pt x="138" y="51"/>
                  </a:lnTo>
                  <a:lnTo>
                    <a:pt x="137" y="57"/>
                  </a:lnTo>
                  <a:lnTo>
                    <a:pt x="135" y="57"/>
                  </a:lnTo>
                  <a:lnTo>
                    <a:pt x="132" y="58"/>
                  </a:lnTo>
                  <a:lnTo>
                    <a:pt x="132" y="60"/>
                  </a:lnTo>
                  <a:lnTo>
                    <a:pt x="131" y="67"/>
                  </a:lnTo>
                  <a:lnTo>
                    <a:pt x="130" y="69"/>
                  </a:lnTo>
                  <a:lnTo>
                    <a:pt x="127" y="69"/>
                  </a:lnTo>
                  <a:lnTo>
                    <a:pt x="126" y="71"/>
                  </a:lnTo>
                  <a:lnTo>
                    <a:pt x="123" y="76"/>
                  </a:lnTo>
                  <a:lnTo>
                    <a:pt x="118" y="89"/>
                  </a:lnTo>
                  <a:lnTo>
                    <a:pt x="116" y="93"/>
                  </a:lnTo>
                  <a:lnTo>
                    <a:pt x="114" y="96"/>
                  </a:lnTo>
                  <a:lnTo>
                    <a:pt x="112" y="98"/>
                  </a:lnTo>
                  <a:lnTo>
                    <a:pt x="111" y="98"/>
                  </a:lnTo>
                  <a:lnTo>
                    <a:pt x="110" y="98"/>
                  </a:lnTo>
                  <a:lnTo>
                    <a:pt x="105" y="92"/>
                  </a:lnTo>
                  <a:lnTo>
                    <a:pt x="105" y="92"/>
                  </a:lnTo>
                  <a:lnTo>
                    <a:pt x="98" y="91"/>
                  </a:lnTo>
                  <a:lnTo>
                    <a:pt x="96" y="92"/>
                  </a:lnTo>
                  <a:lnTo>
                    <a:pt x="89" y="99"/>
                  </a:lnTo>
                  <a:lnTo>
                    <a:pt x="83" y="104"/>
                  </a:lnTo>
                  <a:lnTo>
                    <a:pt x="80" y="107"/>
                  </a:lnTo>
                  <a:lnTo>
                    <a:pt x="81" y="113"/>
                  </a:lnTo>
                  <a:lnTo>
                    <a:pt x="79" y="116"/>
                  </a:lnTo>
                  <a:lnTo>
                    <a:pt x="77" y="120"/>
                  </a:lnTo>
                  <a:lnTo>
                    <a:pt x="76" y="119"/>
                  </a:lnTo>
                  <a:lnTo>
                    <a:pt x="75" y="119"/>
                  </a:lnTo>
                  <a:lnTo>
                    <a:pt x="74" y="118"/>
                  </a:lnTo>
                  <a:lnTo>
                    <a:pt x="73" y="120"/>
                  </a:lnTo>
                  <a:lnTo>
                    <a:pt x="74" y="121"/>
                  </a:lnTo>
                  <a:lnTo>
                    <a:pt x="73" y="122"/>
                  </a:lnTo>
                  <a:lnTo>
                    <a:pt x="71" y="123"/>
                  </a:lnTo>
                  <a:lnTo>
                    <a:pt x="68" y="123"/>
                  </a:lnTo>
                  <a:lnTo>
                    <a:pt x="62" y="124"/>
                  </a:lnTo>
                  <a:lnTo>
                    <a:pt x="58" y="122"/>
                  </a:lnTo>
                  <a:lnTo>
                    <a:pt x="57" y="123"/>
                  </a:lnTo>
                  <a:lnTo>
                    <a:pt x="55" y="125"/>
                  </a:lnTo>
                  <a:lnTo>
                    <a:pt x="54" y="126"/>
                  </a:lnTo>
                  <a:lnTo>
                    <a:pt x="52" y="125"/>
                  </a:lnTo>
                  <a:lnTo>
                    <a:pt x="45" y="125"/>
                  </a:lnTo>
                  <a:lnTo>
                    <a:pt x="41" y="124"/>
                  </a:lnTo>
                  <a:lnTo>
                    <a:pt x="38" y="121"/>
                  </a:lnTo>
                  <a:lnTo>
                    <a:pt x="36" y="117"/>
                  </a:lnTo>
                  <a:lnTo>
                    <a:pt x="34" y="113"/>
                  </a:lnTo>
                  <a:lnTo>
                    <a:pt x="35" y="111"/>
                  </a:lnTo>
                  <a:lnTo>
                    <a:pt x="36" y="110"/>
                  </a:lnTo>
                  <a:lnTo>
                    <a:pt x="35" y="108"/>
                  </a:lnTo>
                  <a:lnTo>
                    <a:pt x="32" y="108"/>
                  </a:lnTo>
                  <a:lnTo>
                    <a:pt x="31" y="106"/>
                  </a:lnTo>
                  <a:lnTo>
                    <a:pt x="29" y="103"/>
                  </a:lnTo>
                  <a:lnTo>
                    <a:pt x="25" y="100"/>
                  </a:lnTo>
                  <a:lnTo>
                    <a:pt x="22" y="99"/>
                  </a:lnTo>
                  <a:lnTo>
                    <a:pt x="18" y="97"/>
                  </a:lnTo>
                  <a:lnTo>
                    <a:pt x="16" y="96"/>
                  </a:lnTo>
                  <a:lnTo>
                    <a:pt x="13" y="96"/>
                  </a:lnTo>
                  <a:lnTo>
                    <a:pt x="12" y="98"/>
                  </a:lnTo>
                  <a:lnTo>
                    <a:pt x="10" y="98"/>
                  </a:lnTo>
                  <a:lnTo>
                    <a:pt x="5" y="98"/>
                  </a:lnTo>
                  <a:lnTo>
                    <a:pt x="1" y="99"/>
                  </a:lnTo>
                  <a:lnTo>
                    <a:pt x="1" y="97"/>
                  </a:lnTo>
                  <a:lnTo>
                    <a:pt x="2" y="90"/>
                  </a:lnTo>
                  <a:lnTo>
                    <a:pt x="0" y="81"/>
                  </a:lnTo>
                  <a:lnTo>
                    <a:pt x="1" y="76"/>
                  </a:lnTo>
                  <a:lnTo>
                    <a:pt x="1" y="71"/>
                  </a:lnTo>
                  <a:lnTo>
                    <a:pt x="1" y="68"/>
                  </a:lnTo>
                  <a:lnTo>
                    <a:pt x="1" y="65"/>
                  </a:lnTo>
                  <a:lnTo>
                    <a:pt x="2" y="63"/>
                  </a:lnTo>
                  <a:lnTo>
                    <a:pt x="4" y="63"/>
                  </a:lnTo>
                  <a:lnTo>
                    <a:pt x="6" y="62"/>
                  </a:lnTo>
                  <a:lnTo>
                    <a:pt x="7" y="60"/>
                  </a:lnTo>
                  <a:lnTo>
                    <a:pt x="6" y="56"/>
                  </a:lnTo>
                  <a:lnTo>
                    <a:pt x="7" y="54"/>
                  </a:lnTo>
                  <a:lnTo>
                    <a:pt x="10" y="52"/>
                  </a:lnTo>
                  <a:lnTo>
                    <a:pt x="12" y="50"/>
                  </a:lnTo>
                  <a:lnTo>
                    <a:pt x="13" y="47"/>
                  </a:lnTo>
                  <a:lnTo>
                    <a:pt x="15" y="41"/>
                  </a:lnTo>
                  <a:lnTo>
                    <a:pt x="13" y="37"/>
                  </a:lnTo>
                  <a:lnTo>
                    <a:pt x="12" y="32"/>
                  </a:lnTo>
                  <a:lnTo>
                    <a:pt x="12" y="27"/>
                  </a:lnTo>
                  <a:lnTo>
                    <a:pt x="13" y="22"/>
                  </a:lnTo>
                  <a:lnTo>
                    <a:pt x="13" y="17"/>
                  </a:lnTo>
                  <a:lnTo>
                    <a:pt x="16" y="14"/>
                  </a:lnTo>
                  <a:lnTo>
                    <a:pt x="19" y="4"/>
                  </a:lnTo>
                  <a:lnTo>
                    <a:pt x="24" y="2"/>
                  </a:lnTo>
                  <a:lnTo>
                    <a:pt x="30" y="0"/>
                  </a:lnTo>
                  <a:lnTo>
                    <a:pt x="37" y="0"/>
                  </a:lnTo>
                  <a:lnTo>
                    <a:pt x="43" y="0"/>
                  </a:lnTo>
                  <a:lnTo>
                    <a:pt x="48" y="2"/>
                  </a:lnTo>
                  <a:lnTo>
                    <a:pt x="55" y="9"/>
                  </a:lnTo>
                  <a:lnTo>
                    <a:pt x="56" y="10"/>
                  </a:lnTo>
                  <a:lnTo>
                    <a:pt x="58" y="10"/>
                  </a:lnTo>
                  <a:lnTo>
                    <a:pt x="66" y="7"/>
                  </a:lnTo>
                  <a:lnTo>
                    <a:pt x="69" y="6"/>
                  </a:lnTo>
                  <a:lnTo>
                    <a:pt x="70" y="6"/>
                  </a:lnTo>
                  <a:lnTo>
                    <a:pt x="78" y="11"/>
                  </a:lnTo>
                  <a:lnTo>
                    <a:pt x="83" y="13"/>
                  </a:lnTo>
                  <a:lnTo>
                    <a:pt x="89" y="13"/>
                  </a:lnTo>
                  <a:lnTo>
                    <a:pt x="90" y="12"/>
                  </a:lnTo>
                  <a:lnTo>
                    <a:pt x="94" y="10"/>
                  </a:lnTo>
                  <a:lnTo>
                    <a:pt x="96" y="8"/>
                  </a:lnTo>
                  <a:lnTo>
                    <a:pt x="101" y="6"/>
                  </a:lnTo>
                  <a:lnTo>
                    <a:pt x="105" y="6"/>
                  </a:lnTo>
                  <a:lnTo>
                    <a:pt x="109" y="5"/>
                  </a:lnTo>
                  <a:lnTo>
                    <a:pt x="112" y="6"/>
                  </a:lnTo>
                  <a:lnTo>
                    <a:pt x="117" y="7"/>
                  </a:lnTo>
                  <a:lnTo>
                    <a:pt x="121" y="8"/>
                  </a:lnTo>
                  <a:lnTo>
                    <a:pt x="125" y="9"/>
                  </a:lnTo>
                  <a:lnTo>
                    <a:pt x="126" y="9"/>
                  </a:lnTo>
                  <a:lnTo>
                    <a:pt x="131" y="5"/>
                  </a:lnTo>
                  <a:lnTo>
                    <a:pt x="133" y="3"/>
                  </a:lnTo>
                  <a:lnTo>
                    <a:pt x="136" y="2"/>
                  </a:lnTo>
                  <a:lnTo>
                    <a:pt x="142" y="2"/>
                  </a:lnTo>
                  <a:lnTo>
                    <a:pt x="143" y="4"/>
                  </a:lnTo>
                  <a:lnTo>
                    <a:pt x="146" y="7"/>
                  </a:lnTo>
                  <a:lnTo>
                    <a:pt x="148" y="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2" name="Freeform 94">
              <a:extLst>
                <a:ext uri="{FF2B5EF4-FFF2-40B4-BE49-F238E27FC236}">
                  <a16:creationId xmlns:a16="http://schemas.microsoft.com/office/drawing/2014/main" id="{B621F1EB-39E5-C276-801D-AFF94F86473D}"/>
                </a:ext>
              </a:extLst>
            </p:cNvPr>
            <p:cNvSpPr>
              <a:spLocks/>
            </p:cNvSpPr>
            <p:nvPr/>
          </p:nvSpPr>
          <p:spPr bwMode="auto">
            <a:xfrm>
              <a:off x="5951121" y="4445000"/>
              <a:ext cx="47625" cy="28575"/>
            </a:xfrm>
            <a:custGeom>
              <a:avLst/>
              <a:gdLst/>
              <a:ahLst/>
              <a:cxnLst>
                <a:cxn ang="0">
                  <a:pos x="21" y="8"/>
                </a:cxn>
                <a:cxn ang="0">
                  <a:pos x="21" y="9"/>
                </a:cxn>
                <a:cxn ang="0">
                  <a:pos x="23" y="12"/>
                </a:cxn>
                <a:cxn ang="0">
                  <a:pos x="21" y="12"/>
                </a:cxn>
                <a:cxn ang="0">
                  <a:pos x="21" y="12"/>
                </a:cxn>
                <a:cxn ang="0">
                  <a:pos x="20" y="12"/>
                </a:cxn>
                <a:cxn ang="0">
                  <a:pos x="18" y="12"/>
                </a:cxn>
                <a:cxn ang="0">
                  <a:pos x="17" y="14"/>
                </a:cxn>
                <a:cxn ang="0">
                  <a:pos x="13" y="16"/>
                </a:cxn>
                <a:cxn ang="0">
                  <a:pos x="11" y="16"/>
                </a:cxn>
                <a:cxn ang="0">
                  <a:pos x="10" y="17"/>
                </a:cxn>
                <a:cxn ang="0">
                  <a:pos x="10" y="18"/>
                </a:cxn>
                <a:cxn ang="0">
                  <a:pos x="9" y="18"/>
                </a:cxn>
                <a:cxn ang="0">
                  <a:pos x="8" y="17"/>
                </a:cxn>
                <a:cxn ang="0">
                  <a:pos x="6" y="17"/>
                </a:cxn>
                <a:cxn ang="0">
                  <a:pos x="3" y="16"/>
                </a:cxn>
                <a:cxn ang="0">
                  <a:pos x="2" y="15"/>
                </a:cxn>
                <a:cxn ang="0">
                  <a:pos x="2" y="14"/>
                </a:cxn>
                <a:cxn ang="0">
                  <a:pos x="0" y="13"/>
                </a:cxn>
                <a:cxn ang="0">
                  <a:pos x="0" y="10"/>
                </a:cxn>
                <a:cxn ang="0">
                  <a:pos x="0" y="10"/>
                </a:cxn>
                <a:cxn ang="0">
                  <a:pos x="1" y="11"/>
                </a:cxn>
                <a:cxn ang="0">
                  <a:pos x="2" y="11"/>
                </a:cxn>
                <a:cxn ang="0">
                  <a:pos x="4" y="8"/>
                </a:cxn>
                <a:cxn ang="0">
                  <a:pos x="6" y="8"/>
                </a:cxn>
                <a:cxn ang="0">
                  <a:pos x="8" y="9"/>
                </a:cxn>
                <a:cxn ang="0">
                  <a:pos x="8" y="8"/>
                </a:cxn>
                <a:cxn ang="0">
                  <a:pos x="9" y="6"/>
                </a:cxn>
                <a:cxn ang="0">
                  <a:pos x="8" y="5"/>
                </a:cxn>
                <a:cxn ang="0">
                  <a:pos x="12" y="6"/>
                </a:cxn>
                <a:cxn ang="0">
                  <a:pos x="16" y="6"/>
                </a:cxn>
                <a:cxn ang="0">
                  <a:pos x="18" y="6"/>
                </a:cxn>
                <a:cxn ang="0">
                  <a:pos x="23" y="4"/>
                </a:cxn>
                <a:cxn ang="0">
                  <a:pos x="27" y="2"/>
                </a:cxn>
                <a:cxn ang="0">
                  <a:pos x="30" y="0"/>
                </a:cxn>
                <a:cxn ang="0">
                  <a:pos x="27" y="3"/>
                </a:cxn>
                <a:cxn ang="0">
                  <a:pos x="25" y="4"/>
                </a:cxn>
                <a:cxn ang="0">
                  <a:pos x="21" y="8"/>
                </a:cxn>
              </a:cxnLst>
              <a:rect l="0" t="0" r="r" b="b"/>
              <a:pathLst>
                <a:path w="30" h="18">
                  <a:moveTo>
                    <a:pt x="21" y="8"/>
                  </a:moveTo>
                  <a:lnTo>
                    <a:pt x="21" y="9"/>
                  </a:lnTo>
                  <a:lnTo>
                    <a:pt x="23" y="12"/>
                  </a:lnTo>
                  <a:lnTo>
                    <a:pt x="21" y="12"/>
                  </a:lnTo>
                  <a:lnTo>
                    <a:pt x="21" y="12"/>
                  </a:lnTo>
                  <a:lnTo>
                    <a:pt x="20" y="12"/>
                  </a:lnTo>
                  <a:lnTo>
                    <a:pt x="18" y="12"/>
                  </a:lnTo>
                  <a:lnTo>
                    <a:pt x="17" y="14"/>
                  </a:lnTo>
                  <a:lnTo>
                    <a:pt x="13" y="16"/>
                  </a:lnTo>
                  <a:lnTo>
                    <a:pt x="11" y="16"/>
                  </a:lnTo>
                  <a:lnTo>
                    <a:pt x="10" y="17"/>
                  </a:lnTo>
                  <a:lnTo>
                    <a:pt x="10" y="18"/>
                  </a:lnTo>
                  <a:lnTo>
                    <a:pt x="9" y="18"/>
                  </a:lnTo>
                  <a:lnTo>
                    <a:pt x="8" y="17"/>
                  </a:lnTo>
                  <a:lnTo>
                    <a:pt x="6" y="17"/>
                  </a:lnTo>
                  <a:lnTo>
                    <a:pt x="3" y="16"/>
                  </a:lnTo>
                  <a:lnTo>
                    <a:pt x="2" y="15"/>
                  </a:lnTo>
                  <a:lnTo>
                    <a:pt x="2" y="14"/>
                  </a:lnTo>
                  <a:lnTo>
                    <a:pt x="0" y="13"/>
                  </a:lnTo>
                  <a:lnTo>
                    <a:pt x="0" y="10"/>
                  </a:lnTo>
                  <a:lnTo>
                    <a:pt x="0" y="10"/>
                  </a:lnTo>
                  <a:lnTo>
                    <a:pt x="1" y="11"/>
                  </a:lnTo>
                  <a:lnTo>
                    <a:pt x="2" y="11"/>
                  </a:lnTo>
                  <a:lnTo>
                    <a:pt x="4" y="8"/>
                  </a:lnTo>
                  <a:lnTo>
                    <a:pt x="6" y="8"/>
                  </a:lnTo>
                  <a:lnTo>
                    <a:pt x="8" y="9"/>
                  </a:lnTo>
                  <a:lnTo>
                    <a:pt x="8" y="8"/>
                  </a:lnTo>
                  <a:lnTo>
                    <a:pt x="9" y="6"/>
                  </a:lnTo>
                  <a:lnTo>
                    <a:pt x="8" y="5"/>
                  </a:lnTo>
                  <a:lnTo>
                    <a:pt x="12" y="6"/>
                  </a:lnTo>
                  <a:lnTo>
                    <a:pt x="16" y="6"/>
                  </a:lnTo>
                  <a:lnTo>
                    <a:pt x="18" y="6"/>
                  </a:lnTo>
                  <a:lnTo>
                    <a:pt x="23" y="4"/>
                  </a:lnTo>
                  <a:lnTo>
                    <a:pt x="27" y="2"/>
                  </a:lnTo>
                  <a:lnTo>
                    <a:pt x="30" y="0"/>
                  </a:lnTo>
                  <a:lnTo>
                    <a:pt x="27" y="3"/>
                  </a:lnTo>
                  <a:lnTo>
                    <a:pt x="25" y="4"/>
                  </a:lnTo>
                  <a:lnTo>
                    <a:pt x="21" y="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3" name="Freeform 95">
              <a:extLst>
                <a:ext uri="{FF2B5EF4-FFF2-40B4-BE49-F238E27FC236}">
                  <a16:creationId xmlns:a16="http://schemas.microsoft.com/office/drawing/2014/main" id="{E77C6711-7FAB-8DB2-17A1-BF0672D60E44}"/>
                </a:ext>
              </a:extLst>
            </p:cNvPr>
            <p:cNvSpPr>
              <a:spLocks/>
            </p:cNvSpPr>
            <p:nvPr/>
          </p:nvSpPr>
          <p:spPr bwMode="auto">
            <a:xfrm>
              <a:off x="5797134" y="4548188"/>
              <a:ext cx="250825" cy="225425"/>
            </a:xfrm>
            <a:custGeom>
              <a:avLst/>
              <a:gdLst/>
              <a:ahLst/>
              <a:cxnLst>
                <a:cxn ang="0">
                  <a:pos x="124" y="7"/>
                </a:cxn>
                <a:cxn ang="0">
                  <a:pos x="133" y="32"/>
                </a:cxn>
                <a:cxn ang="0">
                  <a:pos x="128" y="42"/>
                </a:cxn>
                <a:cxn ang="0">
                  <a:pos x="125" y="56"/>
                </a:cxn>
                <a:cxn ang="0">
                  <a:pos x="122" y="57"/>
                </a:cxn>
                <a:cxn ang="0">
                  <a:pos x="115" y="48"/>
                </a:cxn>
                <a:cxn ang="0">
                  <a:pos x="110" y="39"/>
                </a:cxn>
                <a:cxn ang="0">
                  <a:pos x="106" y="31"/>
                </a:cxn>
                <a:cxn ang="0">
                  <a:pos x="103" y="26"/>
                </a:cxn>
                <a:cxn ang="0">
                  <a:pos x="99" y="30"/>
                </a:cxn>
                <a:cxn ang="0">
                  <a:pos x="103" y="42"/>
                </a:cxn>
                <a:cxn ang="0">
                  <a:pos x="113" y="55"/>
                </a:cxn>
                <a:cxn ang="0">
                  <a:pos x="118" y="69"/>
                </a:cxn>
                <a:cxn ang="0">
                  <a:pos x="123" y="78"/>
                </a:cxn>
                <a:cxn ang="0">
                  <a:pos x="134" y="101"/>
                </a:cxn>
                <a:cxn ang="0">
                  <a:pos x="140" y="109"/>
                </a:cxn>
                <a:cxn ang="0">
                  <a:pos x="144" y="113"/>
                </a:cxn>
                <a:cxn ang="0">
                  <a:pos x="141" y="114"/>
                </a:cxn>
                <a:cxn ang="0">
                  <a:pos x="142" y="123"/>
                </a:cxn>
                <a:cxn ang="0">
                  <a:pos x="144" y="127"/>
                </a:cxn>
                <a:cxn ang="0">
                  <a:pos x="151" y="132"/>
                </a:cxn>
                <a:cxn ang="0">
                  <a:pos x="156" y="138"/>
                </a:cxn>
                <a:cxn ang="0">
                  <a:pos x="97" y="141"/>
                </a:cxn>
                <a:cxn ang="0">
                  <a:pos x="68" y="141"/>
                </a:cxn>
                <a:cxn ang="0">
                  <a:pos x="40" y="141"/>
                </a:cxn>
                <a:cxn ang="0">
                  <a:pos x="22" y="141"/>
                </a:cxn>
                <a:cxn ang="0">
                  <a:pos x="8" y="141"/>
                </a:cxn>
                <a:cxn ang="0">
                  <a:pos x="3" y="125"/>
                </a:cxn>
                <a:cxn ang="0">
                  <a:pos x="3" y="98"/>
                </a:cxn>
                <a:cxn ang="0">
                  <a:pos x="3" y="80"/>
                </a:cxn>
                <a:cxn ang="0">
                  <a:pos x="3" y="45"/>
                </a:cxn>
                <a:cxn ang="0">
                  <a:pos x="3" y="36"/>
                </a:cxn>
                <a:cxn ang="0">
                  <a:pos x="0" y="23"/>
                </a:cxn>
                <a:cxn ang="0">
                  <a:pos x="2" y="18"/>
                </a:cxn>
                <a:cxn ang="0">
                  <a:pos x="1" y="6"/>
                </a:cxn>
                <a:cxn ang="0">
                  <a:pos x="4" y="2"/>
                </a:cxn>
                <a:cxn ang="0">
                  <a:pos x="7" y="1"/>
                </a:cxn>
                <a:cxn ang="0">
                  <a:pos x="14" y="1"/>
                </a:cxn>
                <a:cxn ang="0">
                  <a:pos x="27" y="3"/>
                </a:cxn>
                <a:cxn ang="0">
                  <a:pos x="35" y="4"/>
                </a:cxn>
                <a:cxn ang="0">
                  <a:pos x="42" y="8"/>
                </a:cxn>
                <a:cxn ang="0">
                  <a:pos x="49" y="9"/>
                </a:cxn>
                <a:cxn ang="0">
                  <a:pos x="59" y="12"/>
                </a:cxn>
                <a:cxn ang="0">
                  <a:pos x="65" y="7"/>
                </a:cxn>
                <a:cxn ang="0">
                  <a:pos x="75" y="3"/>
                </a:cxn>
                <a:cxn ang="0">
                  <a:pos x="82" y="1"/>
                </a:cxn>
                <a:cxn ang="0">
                  <a:pos x="87" y="1"/>
                </a:cxn>
                <a:cxn ang="0">
                  <a:pos x="93" y="6"/>
                </a:cxn>
                <a:cxn ang="0">
                  <a:pos x="99" y="7"/>
                </a:cxn>
                <a:cxn ang="0">
                  <a:pos x="105" y="9"/>
                </a:cxn>
                <a:cxn ang="0">
                  <a:pos x="110" y="7"/>
                </a:cxn>
                <a:cxn ang="0">
                  <a:pos x="115" y="9"/>
                </a:cxn>
                <a:cxn ang="0">
                  <a:pos x="120" y="7"/>
                </a:cxn>
              </a:cxnLst>
              <a:rect l="0" t="0" r="r" b="b"/>
              <a:pathLst>
                <a:path w="158" h="142">
                  <a:moveTo>
                    <a:pt x="123" y="5"/>
                  </a:moveTo>
                  <a:lnTo>
                    <a:pt x="124" y="7"/>
                  </a:lnTo>
                  <a:lnTo>
                    <a:pt x="129" y="20"/>
                  </a:lnTo>
                  <a:lnTo>
                    <a:pt x="133" y="32"/>
                  </a:lnTo>
                  <a:lnTo>
                    <a:pt x="131" y="35"/>
                  </a:lnTo>
                  <a:lnTo>
                    <a:pt x="128" y="42"/>
                  </a:lnTo>
                  <a:lnTo>
                    <a:pt x="126" y="52"/>
                  </a:lnTo>
                  <a:lnTo>
                    <a:pt x="125" y="56"/>
                  </a:lnTo>
                  <a:lnTo>
                    <a:pt x="124" y="57"/>
                  </a:lnTo>
                  <a:lnTo>
                    <a:pt x="122" y="57"/>
                  </a:lnTo>
                  <a:lnTo>
                    <a:pt x="119" y="53"/>
                  </a:lnTo>
                  <a:lnTo>
                    <a:pt x="115" y="48"/>
                  </a:lnTo>
                  <a:lnTo>
                    <a:pt x="112" y="45"/>
                  </a:lnTo>
                  <a:lnTo>
                    <a:pt x="110" y="39"/>
                  </a:lnTo>
                  <a:lnTo>
                    <a:pt x="107" y="36"/>
                  </a:lnTo>
                  <a:lnTo>
                    <a:pt x="106" y="31"/>
                  </a:lnTo>
                  <a:lnTo>
                    <a:pt x="105" y="28"/>
                  </a:lnTo>
                  <a:lnTo>
                    <a:pt x="103" y="26"/>
                  </a:lnTo>
                  <a:lnTo>
                    <a:pt x="101" y="27"/>
                  </a:lnTo>
                  <a:lnTo>
                    <a:pt x="99" y="30"/>
                  </a:lnTo>
                  <a:lnTo>
                    <a:pt x="103" y="39"/>
                  </a:lnTo>
                  <a:lnTo>
                    <a:pt x="103" y="42"/>
                  </a:lnTo>
                  <a:lnTo>
                    <a:pt x="107" y="48"/>
                  </a:lnTo>
                  <a:lnTo>
                    <a:pt x="113" y="55"/>
                  </a:lnTo>
                  <a:lnTo>
                    <a:pt x="115" y="63"/>
                  </a:lnTo>
                  <a:lnTo>
                    <a:pt x="118" y="69"/>
                  </a:lnTo>
                  <a:lnTo>
                    <a:pt x="120" y="75"/>
                  </a:lnTo>
                  <a:lnTo>
                    <a:pt x="123" y="78"/>
                  </a:lnTo>
                  <a:lnTo>
                    <a:pt x="128" y="89"/>
                  </a:lnTo>
                  <a:lnTo>
                    <a:pt x="134" y="101"/>
                  </a:lnTo>
                  <a:lnTo>
                    <a:pt x="137" y="106"/>
                  </a:lnTo>
                  <a:lnTo>
                    <a:pt x="140" y="109"/>
                  </a:lnTo>
                  <a:lnTo>
                    <a:pt x="143" y="112"/>
                  </a:lnTo>
                  <a:lnTo>
                    <a:pt x="144" y="113"/>
                  </a:lnTo>
                  <a:lnTo>
                    <a:pt x="142" y="114"/>
                  </a:lnTo>
                  <a:lnTo>
                    <a:pt x="141" y="114"/>
                  </a:lnTo>
                  <a:lnTo>
                    <a:pt x="140" y="115"/>
                  </a:lnTo>
                  <a:lnTo>
                    <a:pt x="142" y="123"/>
                  </a:lnTo>
                  <a:lnTo>
                    <a:pt x="143" y="126"/>
                  </a:lnTo>
                  <a:lnTo>
                    <a:pt x="144" y="127"/>
                  </a:lnTo>
                  <a:lnTo>
                    <a:pt x="149" y="131"/>
                  </a:lnTo>
                  <a:lnTo>
                    <a:pt x="151" y="132"/>
                  </a:lnTo>
                  <a:lnTo>
                    <a:pt x="153" y="135"/>
                  </a:lnTo>
                  <a:lnTo>
                    <a:pt x="156" y="138"/>
                  </a:lnTo>
                  <a:lnTo>
                    <a:pt x="158" y="141"/>
                  </a:lnTo>
                  <a:lnTo>
                    <a:pt x="97" y="141"/>
                  </a:lnTo>
                  <a:lnTo>
                    <a:pt x="84" y="141"/>
                  </a:lnTo>
                  <a:lnTo>
                    <a:pt x="68" y="141"/>
                  </a:lnTo>
                  <a:lnTo>
                    <a:pt x="53" y="141"/>
                  </a:lnTo>
                  <a:lnTo>
                    <a:pt x="40" y="141"/>
                  </a:lnTo>
                  <a:lnTo>
                    <a:pt x="30" y="141"/>
                  </a:lnTo>
                  <a:lnTo>
                    <a:pt x="22" y="141"/>
                  </a:lnTo>
                  <a:lnTo>
                    <a:pt x="13" y="141"/>
                  </a:lnTo>
                  <a:lnTo>
                    <a:pt x="8" y="141"/>
                  </a:lnTo>
                  <a:lnTo>
                    <a:pt x="3" y="142"/>
                  </a:lnTo>
                  <a:lnTo>
                    <a:pt x="3" y="125"/>
                  </a:lnTo>
                  <a:lnTo>
                    <a:pt x="3" y="116"/>
                  </a:lnTo>
                  <a:lnTo>
                    <a:pt x="3" y="98"/>
                  </a:lnTo>
                  <a:lnTo>
                    <a:pt x="3" y="94"/>
                  </a:lnTo>
                  <a:lnTo>
                    <a:pt x="3" y="80"/>
                  </a:lnTo>
                  <a:lnTo>
                    <a:pt x="3" y="71"/>
                  </a:lnTo>
                  <a:lnTo>
                    <a:pt x="3" y="45"/>
                  </a:lnTo>
                  <a:lnTo>
                    <a:pt x="3" y="38"/>
                  </a:lnTo>
                  <a:lnTo>
                    <a:pt x="3" y="36"/>
                  </a:lnTo>
                  <a:lnTo>
                    <a:pt x="0" y="30"/>
                  </a:lnTo>
                  <a:lnTo>
                    <a:pt x="0" y="23"/>
                  </a:lnTo>
                  <a:lnTo>
                    <a:pt x="0" y="21"/>
                  </a:lnTo>
                  <a:lnTo>
                    <a:pt x="2" y="18"/>
                  </a:lnTo>
                  <a:lnTo>
                    <a:pt x="3" y="15"/>
                  </a:lnTo>
                  <a:lnTo>
                    <a:pt x="1" y="6"/>
                  </a:lnTo>
                  <a:lnTo>
                    <a:pt x="2" y="3"/>
                  </a:lnTo>
                  <a:lnTo>
                    <a:pt x="4" y="2"/>
                  </a:lnTo>
                  <a:lnTo>
                    <a:pt x="5" y="0"/>
                  </a:lnTo>
                  <a:lnTo>
                    <a:pt x="7" y="1"/>
                  </a:lnTo>
                  <a:lnTo>
                    <a:pt x="10" y="1"/>
                  </a:lnTo>
                  <a:lnTo>
                    <a:pt x="14" y="1"/>
                  </a:lnTo>
                  <a:lnTo>
                    <a:pt x="18" y="1"/>
                  </a:lnTo>
                  <a:lnTo>
                    <a:pt x="27" y="3"/>
                  </a:lnTo>
                  <a:lnTo>
                    <a:pt x="31" y="4"/>
                  </a:lnTo>
                  <a:lnTo>
                    <a:pt x="35" y="4"/>
                  </a:lnTo>
                  <a:lnTo>
                    <a:pt x="40" y="6"/>
                  </a:lnTo>
                  <a:lnTo>
                    <a:pt x="42" y="8"/>
                  </a:lnTo>
                  <a:lnTo>
                    <a:pt x="44" y="8"/>
                  </a:lnTo>
                  <a:lnTo>
                    <a:pt x="49" y="9"/>
                  </a:lnTo>
                  <a:lnTo>
                    <a:pt x="55" y="12"/>
                  </a:lnTo>
                  <a:lnTo>
                    <a:pt x="59" y="12"/>
                  </a:lnTo>
                  <a:lnTo>
                    <a:pt x="60" y="11"/>
                  </a:lnTo>
                  <a:lnTo>
                    <a:pt x="65" y="7"/>
                  </a:lnTo>
                  <a:lnTo>
                    <a:pt x="70" y="5"/>
                  </a:lnTo>
                  <a:lnTo>
                    <a:pt x="75" y="3"/>
                  </a:lnTo>
                  <a:lnTo>
                    <a:pt x="80" y="1"/>
                  </a:lnTo>
                  <a:lnTo>
                    <a:pt x="82" y="1"/>
                  </a:lnTo>
                  <a:lnTo>
                    <a:pt x="84" y="1"/>
                  </a:lnTo>
                  <a:lnTo>
                    <a:pt x="87" y="1"/>
                  </a:lnTo>
                  <a:lnTo>
                    <a:pt x="91" y="2"/>
                  </a:lnTo>
                  <a:lnTo>
                    <a:pt x="93" y="6"/>
                  </a:lnTo>
                  <a:lnTo>
                    <a:pt x="96" y="8"/>
                  </a:lnTo>
                  <a:lnTo>
                    <a:pt x="99" y="7"/>
                  </a:lnTo>
                  <a:lnTo>
                    <a:pt x="103" y="9"/>
                  </a:lnTo>
                  <a:lnTo>
                    <a:pt x="105" y="9"/>
                  </a:lnTo>
                  <a:lnTo>
                    <a:pt x="108" y="6"/>
                  </a:lnTo>
                  <a:lnTo>
                    <a:pt x="110" y="7"/>
                  </a:lnTo>
                  <a:lnTo>
                    <a:pt x="111" y="8"/>
                  </a:lnTo>
                  <a:lnTo>
                    <a:pt x="115" y="9"/>
                  </a:lnTo>
                  <a:lnTo>
                    <a:pt x="117" y="8"/>
                  </a:lnTo>
                  <a:lnTo>
                    <a:pt x="120" y="7"/>
                  </a:lnTo>
                  <a:lnTo>
                    <a:pt x="123" y="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4" name="Freeform 96">
              <a:extLst>
                <a:ext uri="{FF2B5EF4-FFF2-40B4-BE49-F238E27FC236}">
                  <a16:creationId xmlns:a16="http://schemas.microsoft.com/office/drawing/2014/main" id="{4DC69F87-721B-6363-2C98-DDABB9CDA07C}"/>
                </a:ext>
              </a:extLst>
            </p:cNvPr>
            <p:cNvSpPr>
              <a:spLocks/>
            </p:cNvSpPr>
            <p:nvPr/>
          </p:nvSpPr>
          <p:spPr bwMode="auto">
            <a:xfrm>
              <a:off x="5563771" y="4738688"/>
              <a:ext cx="217488" cy="344488"/>
            </a:xfrm>
            <a:custGeom>
              <a:avLst/>
              <a:gdLst/>
              <a:ahLst/>
              <a:cxnLst>
                <a:cxn ang="0">
                  <a:pos x="5" y="140"/>
                </a:cxn>
                <a:cxn ang="0">
                  <a:pos x="1" y="135"/>
                </a:cxn>
                <a:cxn ang="0">
                  <a:pos x="0" y="129"/>
                </a:cxn>
                <a:cxn ang="0">
                  <a:pos x="3" y="120"/>
                </a:cxn>
                <a:cxn ang="0">
                  <a:pos x="12" y="107"/>
                </a:cxn>
                <a:cxn ang="0">
                  <a:pos x="27" y="88"/>
                </a:cxn>
                <a:cxn ang="0">
                  <a:pos x="27" y="75"/>
                </a:cxn>
                <a:cxn ang="0">
                  <a:pos x="27" y="67"/>
                </a:cxn>
                <a:cxn ang="0">
                  <a:pos x="28" y="54"/>
                </a:cxn>
                <a:cxn ang="0">
                  <a:pos x="33" y="43"/>
                </a:cxn>
                <a:cxn ang="0">
                  <a:pos x="25" y="34"/>
                </a:cxn>
                <a:cxn ang="0">
                  <a:pos x="22" y="20"/>
                </a:cxn>
                <a:cxn ang="0">
                  <a:pos x="30" y="1"/>
                </a:cxn>
                <a:cxn ang="0">
                  <a:pos x="63" y="16"/>
                </a:cxn>
                <a:cxn ang="0">
                  <a:pos x="125" y="49"/>
                </a:cxn>
                <a:cxn ang="0">
                  <a:pos x="137" y="62"/>
                </a:cxn>
                <a:cxn ang="0">
                  <a:pos x="136" y="72"/>
                </a:cxn>
                <a:cxn ang="0">
                  <a:pos x="137" y="91"/>
                </a:cxn>
                <a:cxn ang="0">
                  <a:pos x="137" y="105"/>
                </a:cxn>
                <a:cxn ang="0">
                  <a:pos x="132" y="107"/>
                </a:cxn>
                <a:cxn ang="0">
                  <a:pos x="123" y="108"/>
                </a:cxn>
                <a:cxn ang="0">
                  <a:pos x="117" y="121"/>
                </a:cxn>
                <a:cxn ang="0">
                  <a:pos x="117" y="127"/>
                </a:cxn>
                <a:cxn ang="0">
                  <a:pos x="112" y="131"/>
                </a:cxn>
                <a:cxn ang="0">
                  <a:pos x="114" y="137"/>
                </a:cxn>
                <a:cxn ang="0">
                  <a:pos x="110" y="142"/>
                </a:cxn>
                <a:cxn ang="0">
                  <a:pos x="110" y="148"/>
                </a:cxn>
                <a:cxn ang="0">
                  <a:pos x="115" y="148"/>
                </a:cxn>
                <a:cxn ang="0">
                  <a:pos x="117" y="156"/>
                </a:cxn>
                <a:cxn ang="0">
                  <a:pos x="118" y="161"/>
                </a:cxn>
                <a:cxn ang="0">
                  <a:pos x="123" y="166"/>
                </a:cxn>
                <a:cxn ang="0">
                  <a:pos x="122" y="171"/>
                </a:cxn>
                <a:cxn ang="0">
                  <a:pos x="117" y="170"/>
                </a:cxn>
                <a:cxn ang="0">
                  <a:pos x="109" y="174"/>
                </a:cxn>
                <a:cxn ang="0">
                  <a:pos x="106" y="178"/>
                </a:cxn>
                <a:cxn ang="0">
                  <a:pos x="105" y="182"/>
                </a:cxn>
                <a:cxn ang="0">
                  <a:pos x="87" y="196"/>
                </a:cxn>
                <a:cxn ang="0">
                  <a:pos x="72" y="197"/>
                </a:cxn>
                <a:cxn ang="0">
                  <a:pos x="70" y="203"/>
                </a:cxn>
                <a:cxn ang="0">
                  <a:pos x="64" y="211"/>
                </a:cxn>
                <a:cxn ang="0">
                  <a:pos x="57" y="211"/>
                </a:cxn>
                <a:cxn ang="0">
                  <a:pos x="48" y="214"/>
                </a:cxn>
                <a:cxn ang="0">
                  <a:pos x="44" y="216"/>
                </a:cxn>
                <a:cxn ang="0">
                  <a:pos x="40" y="212"/>
                </a:cxn>
                <a:cxn ang="0">
                  <a:pos x="29" y="217"/>
                </a:cxn>
                <a:cxn ang="0">
                  <a:pos x="27" y="216"/>
                </a:cxn>
                <a:cxn ang="0">
                  <a:pos x="24" y="209"/>
                </a:cxn>
                <a:cxn ang="0">
                  <a:pos x="12" y="196"/>
                </a:cxn>
                <a:cxn ang="0">
                  <a:pos x="7" y="186"/>
                </a:cxn>
                <a:cxn ang="0">
                  <a:pos x="10" y="184"/>
                </a:cxn>
                <a:cxn ang="0">
                  <a:pos x="21" y="185"/>
                </a:cxn>
                <a:cxn ang="0">
                  <a:pos x="26" y="184"/>
                </a:cxn>
                <a:cxn ang="0">
                  <a:pos x="24" y="182"/>
                </a:cxn>
                <a:cxn ang="0">
                  <a:pos x="21" y="175"/>
                </a:cxn>
                <a:cxn ang="0">
                  <a:pos x="21" y="164"/>
                </a:cxn>
                <a:cxn ang="0">
                  <a:pos x="18" y="151"/>
                </a:cxn>
                <a:cxn ang="0">
                  <a:pos x="11" y="143"/>
                </a:cxn>
              </a:cxnLst>
              <a:rect l="0" t="0" r="r" b="b"/>
              <a:pathLst>
                <a:path w="137" h="217">
                  <a:moveTo>
                    <a:pt x="7" y="142"/>
                  </a:moveTo>
                  <a:lnTo>
                    <a:pt x="5" y="140"/>
                  </a:lnTo>
                  <a:lnTo>
                    <a:pt x="2" y="137"/>
                  </a:lnTo>
                  <a:lnTo>
                    <a:pt x="1" y="135"/>
                  </a:lnTo>
                  <a:lnTo>
                    <a:pt x="1" y="133"/>
                  </a:lnTo>
                  <a:lnTo>
                    <a:pt x="0" y="129"/>
                  </a:lnTo>
                  <a:lnTo>
                    <a:pt x="0" y="124"/>
                  </a:lnTo>
                  <a:lnTo>
                    <a:pt x="3" y="120"/>
                  </a:lnTo>
                  <a:lnTo>
                    <a:pt x="9" y="112"/>
                  </a:lnTo>
                  <a:lnTo>
                    <a:pt x="12" y="107"/>
                  </a:lnTo>
                  <a:lnTo>
                    <a:pt x="26" y="91"/>
                  </a:lnTo>
                  <a:lnTo>
                    <a:pt x="27" y="88"/>
                  </a:lnTo>
                  <a:lnTo>
                    <a:pt x="27" y="81"/>
                  </a:lnTo>
                  <a:lnTo>
                    <a:pt x="27" y="75"/>
                  </a:lnTo>
                  <a:lnTo>
                    <a:pt x="27" y="70"/>
                  </a:lnTo>
                  <a:lnTo>
                    <a:pt x="27" y="67"/>
                  </a:lnTo>
                  <a:lnTo>
                    <a:pt x="28" y="61"/>
                  </a:lnTo>
                  <a:lnTo>
                    <a:pt x="28" y="54"/>
                  </a:lnTo>
                  <a:lnTo>
                    <a:pt x="30" y="48"/>
                  </a:lnTo>
                  <a:lnTo>
                    <a:pt x="33" y="43"/>
                  </a:lnTo>
                  <a:lnTo>
                    <a:pt x="28" y="40"/>
                  </a:lnTo>
                  <a:lnTo>
                    <a:pt x="25" y="34"/>
                  </a:lnTo>
                  <a:lnTo>
                    <a:pt x="22" y="28"/>
                  </a:lnTo>
                  <a:lnTo>
                    <a:pt x="22" y="20"/>
                  </a:lnTo>
                  <a:lnTo>
                    <a:pt x="19" y="6"/>
                  </a:lnTo>
                  <a:lnTo>
                    <a:pt x="30" y="1"/>
                  </a:lnTo>
                  <a:lnTo>
                    <a:pt x="33" y="0"/>
                  </a:lnTo>
                  <a:lnTo>
                    <a:pt x="63" y="16"/>
                  </a:lnTo>
                  <a:lnTo>
                    <a:pt x="92" y="31"/>
                  </a:lnTo>
                  <a:lnTo>
                    <a:pt x="125" y="49"/>
                  </a:lnTo>
                  <a:lnTo>
                    <a:pt x="137" y="55"/>
                  </a:lnTo>
                  <a:lnTo>
                    <a:pt x="137" y="62"/>
                  </a:lnTo>
                  <a:lnTo>
                    <a:pt x="136" y="67"/>
                  </a:lnTo>
                  <a:lnTo>
                    <a:pt x="136" y="72"/>
                  </a:lnTo>
                  <a:lnTo>
                    <a:pt x="137" y="87"/>
                  </a:lnTo>
                  <a:lnTo>
                    <a:pt x="137" y="91"/>
                  </a:lnTo>
                  <a:lnTo>
                    <a:pt x="137" y="98"/>
                  </a:lnTo>
                  <a:lnTo>
                    <a:pt x="137" y="105"/>
                  </a:lnTo>
                  <a:lnTo>
                    <a:pt x="137" y="107"/>
                  </a:lnTo>
                  <a:lnTo>
                    <a:pt x="132" y="107"/>
                  </a:lnTo>
                  <a:lnTo>
                    <a:pt x="124" y="107"/>
                  </a:lnTo>
                  <a:lnTo>
                    <a:pt x="123" y="108"/>
                  </a:lnTo>
                  <a:lnTo>
                    <a:pt x="121" y="116"/>
                  </a:lnTo>
                  <a:lnTo>
                    <a:pt x="117" y="121"/>
                  </a:lnTo>
                  <a:lnTo>
                    <a:pt x="117" y="123"/>
                  </a:lnTo>
                  <a:lnTo>
                    <a:pt x="117" y="127"/>
                  </a:lnTo>
                  <a:lnTo>
                    <a:pt x="117" y="129"/>
                  </a:lnTo>
                  <a:lnTo>
                    <a:pt x="112" y="131"/>
                  </a:lnTo>
                  <a:lnTo>
                    <a:pt x="112" y="133"/>
                  </a:lnTo>
                  <a:lnTo>
                    <a:pt x="114" y="137"/>
                  </a:lnTo>
                  <a:lnTo>
                    <a:pt x="114" y="139"/>
                  </a:lnTo>
                  <a:lnTo>
                    <a:pt x="110" y="142"/>
                  </a:lnTo>
                  <a:lnTo>
                    <a:pt x="108" y="146"/>
                  </a:lnTo>
                  <a:lnTo>
                    <a:pt x="110" y="148"/>
                  </a:lnTo>
                  <a:lnTo>
                    <a:pt x="113" y="148"/>
                  </a:lnTo>
                  <a:lnTo>
                    <a:pt x="115" y="148"/>
                  </a:lnTo>
                  <a:lnTo>
                    <a:pt x="115" y="149"/>
                  </a:lnTo>
                  <a:lnTo>
                    <a:pt x="117" y="156"/>
                  </a:lnTo>
                  <a:lnTo>
                    <a:pt x="118" y="160"/>
                  </a:lnTo>
                  <a:lnTo>
                    <a:pt x="118" y="161"/>
                  </a:lnTo>
                  <a:lnTo>
                    <a:pt x="121" y="164"/>
                  </a:lnTo>
                  <a:lnTo>
                    <a:pt x="123" y="166"/>
                  </a:lnTo>
                  <a:lnTo>
                    <a:pt x="123" y="169"/>
                  </a:lnTo>
                  <a:lnTo>
                    <a:pt x="122" y="171"/>
                  </a:lnTo>
                  <a:lnTo>
                    <a:pt x="119" y="170"/>
                  </a:lnTo>
                  <a:lnTo>
                    <a:pt x="117" y="170"/>
                  </a:lnTo>
                  <a:lnTo>
                    <a:pt x="115" y="171"/>
                  </a:lnTo>
                  <a:lnTo>
                    <a:pt x="109" y="174"/>
                  </a:lnTo>
                  <a:lnTo>
                    <a:pt x="107" y="175"/>
                  </a:lnTo>
                  <a:lnTo>
                    <a:pt x="106" y="178"/>
                  </a:lnTo>
                  <a:lnTo>
                    <a:pt x="106" y="180"/>
                  </a:lnTo>
                  <a:lnTo>
                    <a:pt x="105" y="182"/>
                  </a:lnTo>
                  <a:lnTo>
                    <a:pt x="90" y="196"/>
                  </a:lnTo>
                  <a:lnTo>
                    <a:pt x="87" y="196"/>
                  </a:lnTo>
                  <a:lnTo>
                    <a:pt x="75" y="196"/>
                  </a:lnTo>
                  <a:lnTo>
                    <a:pt x="72" y="197"/>
                  </a:lnTo>
                  <a:lnTo>
                    <a:pt x="70" y="198"/>
                  </a:lnTo>
                  <a:lnTo>
                    <a:pt x="70" y="203"/>
                  </a:lnTo>
                  <a:lnTo>
                    <a:pt x="66" y="210"/>
                  </a:lnTo>
                  <a:lnTo>
                    <a:pt x="64" y="211"/>
                  </a:lnTo>
                  <a:lnTo>
                    <a:pt x="63" y="211"/>
                  </a:lnTo>
                  <a:lnTo>
                    <a:pt x="57" y="211"/>
                  </a:lnTo>
                  <a:lnTo>
                    <a:pt x="52" y="212"/>
                  </a:lnTo>
                  <a:lnTo>
                    <a:pt x="48" y="214"/>
                  </a:lnTo>
                  <a:lnTo>
                    <a:pt x="45" y="216"/>
                  </a:lnTo>
                  <a:lnTo>
                    <a:pt x="44" y="216"/>
                  </a:lnTo>
                  <a:lnTo>
                    <a:pt x="43" y="216"/>
                  </a:lnTo>
                  <a:lnTo>
                    <a:pt x="40" y="212"/>
                  </a:lnTo>
                  <a:lnTo>
                    <a:pt x="32" y="216"/>
                  </a:lnTo>
                  <a:lnTo>
                    <a:pt x="29" y="217"/>
                  </a:lnTo>
                  <a:lnTo>
                    <a:pt x="28" y="217"/>
                  </a:lnTo>
                  <a:lnTo>
                    <a:pt x="27" y="216"/>
                  </a:lnTo>
                  <a:lnTo>
                    <a:pt x="26" y="215"/>
                  </a:lnTo>
                  <a:lnTo>
                    <a:pt x="24" y="209"/>
                  </a:lnTo>
                  <a:lnTo>
                    <a:pt x="20" y="203"/>
                  </a:lnTo>
                  <a:lnTo>
                    <a:pt x="12" y="196"/>
                  </a:lnTo>
                  <a:lnTo>
                    <a:pt x="6" y="189"/>
                  </a:lnTo>
                  <a:lnTo>
                    <a:pt x="7" y="186"/>
                  </a:lnTo>
                  <a:lnTo>
                    <a:pt x="9" y="184"/>
                  </a:lnTo>
                  <a:lnTo>
                    <a:pt x="10" y="184"/>
                  </a:lnTo>
                  <a:lnTo>
                    <a:pt x="13" y="184"/>
                  </a:lnTo>
                  <a:lnTo>
                    <a:pt x="21" y="185"/>
                  </a:lnTo>
                  <a:lnTo>
                    <a:pt x="24" y="185"/>
                  </a:lnTo>
                  <a:lnTo>
                    <a:pt x="26" y="184"/>
                  </a:lnTo>
                  <a:lnTo>
                    <a:pt x="25" y="183"/>
                  </a:lnTo>
                  <a:lnTo>
                    <a:pt x="24" y="182"/>
                  </a:lnTo>
                  <a:lnTo>
                    <a:pt x="22" y="178"/>
                  </a:lnTo>
                  <a:lnTo>
                    <a:pt x="21" y="175"/>
                  </a:lnTo>
                  <a:lnTo>
                    <a:pt x="20" y="168"/>
                  </a:lnTo>
                  <a:lnTo>
                    <a:pt x="21" y="164"/>
                  </a:lnTo>
                  <a:lnTo>
                    <a:pt x="20" y="156"/>
                  </a:lnTo>
                  <a:lnTo>
                    <a:pt x="18" y="151"/>
                  </a:lnTo>
                  <a:lnTo>
                    <a:pt x="12" y="144"/>
                  </a:lnTo>
                  <a:lnTo>
                    <a:pt x="11" y="143"/>
                  </a:lnTo>
                  <a:lnTo>
                    <a:pt x="7" y="14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5" name="Freeform 97">
              <a:extLst>
                <a:ext uri="{FF2B5EF4-FFF2-40B4-BE49-F238E27FC236}">
                  <a16:creationId xmlns:a16="http://schemas.microsoft.com/office/drawing/2014/main" id="{58D23DE4-FFCE-BA5D-83AD-AF8B75BC78CF}"/>
                </a:ext>
              </a:extLst>
            </p:cNvPr>
            <p:cNvSpPr>
              <a:spLocks/>
            </p:cNvSpPr>
            <p:nvPr/>
          </p:nvSpPr>
          <p:spPr bwMode="auto">
            <a:xfrm>
              <a:off x="5462171" y="4964113"/>
              <a:ext cx="155575" cy="241300"/>
            </a:xfrm>
            <a:custGeom>
              <a:avLst/>
              <a:gdLst/>
              <a:ahLst/>
              <a:cxnLst>
                <a:cxn ang="0">
                  <a:pos x="23" y="146"/>
                </a:cxn>
                <a:cxn ang="0">
                  <a:pos x="17" y="145"/>
                </a:cxn>
                <a:cxn ang="0">
                  <a:pos x="17" y="136"/>
                </a:cxn>
                <a:cxn ang="0">
                  <a:pos x="16" y="128"/>
                </a:cxn>
                <a:cxn ang="0">
                  <a:pos x="16" y="122"/>
                </a:cxn>
                <a:cxn ang="0">
                  <a:pos x="13" y="120"/>
                </a:cxn>
                <a:cxn ang="0">
                  <a:pos x="6" y="119"/>
                </a:cxn>
                <a:cxn ang="0">
                  <a:pos x="4" y="114"/>
                </a:cxn>
                <a:cxn ang="0">
                  <a:pos x="1" y="111"/>
                </a:cxn>
                <a:cxn ang="0">
                  <a:pos x="2" y="107"/>
                </a:cxn>
                <a:cxn ang="0">
                  <a:pos x="3" y="98"/>
                </a:cxn>
                <a:cxn ang="0">
                  <a:pos x="12" y="90"/>
                </a:cxn>
                <a:cxn ang="0">
                  <a:pos x="21" y="82"/>
                </a:cxn>
                <a:cxn ang="0">
                  <a:pos x="28" y="83"/>
                </a:cxn>
                <a:cxn ang="0">
                  <a:pos x="34" y="89"/>
                </a:cxn>
                <a:cxn ang="0">
                  <a:pos x="37" y="87"/>
                </a:cxn>
                <a:cxn ang="0">
                  <a:pos x="41" y="80"/>
                </a:cxn>
                <a:cxn ang="0">
                  <a:pos x="49" y="62"/>
                </a:cxn>
                <a:cxn ang="0">
                  <a:pos x="53" y="60"/>
                </a:cxn>
                <a:cxn ang="0">
                  <a:pos x="55" y="51"/>
                </a:cxn>
                <a:cxn ang="0">
                  <a:pos x="58" y="48"/>
                </a:cxn>
                <a:cxn ang="0">
                  <a:pos x="61" y="42"/>
                </a:cxn>
                <a:cxn ang="0">
                  <a:pos x="68" y="27"/>
                </a:cxn>
                <a:cxn ang="0">
                  <a:pos x="75" y="24"/>
                </a:cxn>
                <a:cxn ang="0">
                  <a:pos x="77" y="22"/>
                </a:cxn>
                <a:cxn ang="0">
                  <a:pos x="77" y="13"/>
                </a:cxn>
                <a:cxn ang="0">
                  <a:pos x="73" y="11"/>
                </a:cxn>
                <a:cxn ang="0">
                  <a:pos x="71" y="7"/>
                </a:cxn>
                <a:cxn ang="0">
                  <a:pos x="71" y="0"/>
                </a:cxn>
                <a:cxn ang="0">
                  <a:pos x="76" y="2"/>
                </a:cxn>
                <a:cxn ang="0">
                  <a:pos x="84" y="14"/>
                </a:cxn>
                <a:cxn ang="0">
                  <a:pos x="84" y="26"/>
                </a:cxn>
                <a:cxn ang="0">
                  <a:pos x="86" y="36"/>
                </a:cxn>
                <a:cxn ang="0">
                  <a:pos x="89" y="41"/>
                </a:cxn>
                <a:cxn ang="0">
                  <a:pos x="88" y="43"/>
                </a:cxn>
                <a:cxn ang="0">
                  <a:pos x="77" y="42"/>
                </a:cxn>
                <a:cxn ang="0">
                  <a:pos x="73" y="42"/>
                </a:cxn>
                <a:cxn ang="0">
                  <a:pos x="70" y="47"/>
                </a:cxn>
                <a:cxn ang="0">
                  <a:pos x="84" y="61"/>
                </a:cxn>
                <a:cxn ang="0">
                  <a:pos x="90" y="73"/>
                </a:cxn>
                <a:cxn ang="0">
                  <a:pos x="90" y="75"/>
                </a:cxn>
                <a:cxn ang="0">
                  <a:pos x="83" y="87"/>
                </a:cxn>
                <a:cxn ang="0">
                  <a:pos x="77" y="93"/>
                </a:cxn>
                <a:cxn ang="0">
                  <a:pos x="76" y="96"/>
                </a:cxn>
                <a:cxn ang="0">
                  <a:pos x="78" y="108"/>
                </a:cxn>
                <a:cxn ang="0">
                  <a:pos x="82" y="115"/>
                </a:cxn>
                <a:cxn ang="0">
                  <a:pos x="85" y="123"/>
                </a:cxn>
                <a:cxn ang="0">
                  <a:pos x="92" y="133"/>
                </a:cxn>
                <a:cxn ang="0">
                  <a:pos x="97" y="142"/>
                </a:cxn>
                <a:cxn ang="0">
                  <a:pos x="97" y="146"/>
                </a:cxn>
                <a:cxn ang="0">
                  <a:pos x="96" y="152"/>
                </a:cxn>
                <a:cxn ang="0">
                  <a:pos x="86" y="148"/>
                </a:cxn>
                <a:cxn ang="0">
                  <a:pos x="79" y="146"/>
                </a:cxn>
                <a:cxn ang="0">
                  <a:pos x="75" y="146"/>
                </a:cxn>
                <a:cxn ang="0">
                  <a:pos x="64" y="146"/>
                </a:cxn>
                <a:cxn ang="0">
                  <a:pos x="55" y="144"/>
                </a:cxn>
                <a:cxn ang="0">
                  <a:pos x="40" y="143"/>
                </a:cxn>
                <a:cxn ang="0">
                  <a:pos x="34" y="146"/>
                </a:cxn>
              </a:cxnLst>
              <a:rect l="0" t="0" r="r" b="b"/>
              <a:pathLst>
                <a:path w="98" h="152">
                  <a:moveTo>
                    <a:pt x="34" y="146"/>
                  </a:moveTo>
                  <a:lnTo>
                    <a:pt x="23" y="146"/>
                  </a:lnTo>
                  <a:lnTo>
                    <a:pt x="17" y="146"/>
                  </a:lnTo>
                  <a:lnTo>
                    <a:pt x="17" y="145"/>
                  </a:lnTo>
                  <a:lnTo>
                    <a:pt x="16" y="141"/>
                  </a:lnTo>
                  <a:lnTo>
                    <a:pt x="17" y="136"/>
                  </a:lnTo>
                  <a:lnTo>
                    <a:pt x="17" y="132"/>
                  </a:lnTo>
                  <a:lnTo>
                    <a:pt x="16" y="128"/>
                  </a:lnTo>
                  <a:lnTo>
                    <a:pt x="13" y="125"/>
                  </a:lnTo>
                  <a:lnTo>
                    <a:pt x="16" y="122"/>
                  </a:lnTo>
                  <a:lnTo>
                    <a:pt x="14" y="120"/>
                  </a:lnTo>
                  <a:lnTo>
                    <a:pt x="13" y="120"/>
                  </a:lnTo>
                  <a:lnTo>
                    <a:pt x="9" y="120"/>
                  </a:lnTo>
                  <a:lnTo>
                    <a:pt x="6" y="119"/>
                  </a:lnTo>
                  <a:lnTo>
                    <a:pt x="5" y="117"/>
                  </a:lnTo>
                  <a:lnTo>
                    <a:pt x="4" y="114"/>
                  </a:lnTo>
                  <a:lnTo>
                    <a:pt x="4" y="112"/>
                  </a:lnTo>
                  <a:lnTo>
                    <a:pt x="1" y="111"/>
                  </a:lnTo>
                  <a:lnTo>
                    <a:pt x="0" y="111"/>
                  </a:lnTo>
                  <a:lnTo>
                    <a:pt x="2" y="107"/>
                  </a:lnTo>
                  <a:lnTo>
                    <a:pt x="4" y="104"/>
                  </a:lnTo>
                  <a:lnTo>
                    <a:pt x="3" y="98"/>
                  </a:lnTo>
                  <a:lnTo>
                    <a:pt x="6" y="95"/>
                  </a:lnTo>
                  <a:lnTo>
                    <a:pt x="12" y="90"/>
                  </a:lnTo>
                  <a:lnTo>
                    <a:pt x="19" y="83"/>
                  </a:lnTo>
                  <a:lnTo>
                    <a:pt x="21" y="82"/>
                  </a:lnTo>
                  <a:lnTo>
                    <a:pt x="28" y="83"/>
                  </a:lnTo>
                  <a:lnTo>
                    <a:pt x="28" y="83"/>
                  </a:lnTo>
                  <a:lnTo>
                    <a:pt x="33" y="89"/>
                  </a:lnTo>
                  <a:lnTo>
                    <a:pt x="34" y="89"/>
                  </a:lnTo>
                  <a:lnTo>
                    <a:pt x="35" y="89"/>
                  </a:lnTo>
                  <a:lnTo>
                    <a:pt x="37" y="87"/>
                  </a:lnTo>
                  <a:lnTo>
                    <a:pt x="39" y="84"/>
                  </a:lnTo>
                  <a:lnTo>
                    <a:pt x="41" y="80"/>
                  </a:lnTo>
                  <a:lnTo>
                    <a:pt x="46" y="67"/>
                  </a:lnTo>
                  <a:lnTo>
                    <a:pt x="49" y="62"/>
                  </a:lnTo>
                  <a:lnTo>
                    <a:pt x="50" y="60"/>
                  </a:lnTo>
                  <a:lnTo>
                    <a:pt x="53" y="60"/>
                  </a:lnTo>
                  <a:lnTo>
                    <a:pt x="54" y="58"/>
                  </a:lnTo>
                  <a:lnTo>
                    <a:pt x="55" y="51"/>
                  </a:lnTo>
                  <a:lnTo>
                    <a:pt x="55" y="49"/>
                  </a:lnTo>
                  <a:lnTo>
                    <a:pt x="58" y="48"/>
                  </a:lnTo>
                  <a:lnTo>
                    <a:pt x="60" y="48"/>
                  </a:lnTo>
                  <a:lnTo>
                    <a:pt x="61" y="42"/>
                  </a:lnTo>
                  <a:lnTo>
                    <a:pt x="64" y="35"/>
                  </a:lnTo>
                  <a:lnTo>
                    <a:pt x="68" y="27"/>
                  </a:lnTo>
                  <a:lnTo>
                    <a:pt x="70" y="25"/>
                  </a:lnTo>
                  <a:lnTo>
                    <a:pt x="75" y="24"/>
                  </a:lnTo>
                  <a:lnTo>
                    <a:pt x="77" y="23"/>
                  </a:lnTo>
                  <a:lnTo>
                    <a:pt x="77" y="22"/>
                  </a:lnTo>
                  <a:lnTo>
                    <a:pt x="78" y="15"/>
                  </a:lnTo>
                  <a:lnTo>
                    <a:pt x="77" y="13"/>
                  </a:lnTo>
                  <a:lnTo>
                    <a:pt x="77" y="12"/>
                  </a:lnTo>
                  <a:lnTo>
                    <a:pt x="73" y="11"/>
                  </a:lnTo>
                  <a:lnTo>
                    <a:pt x="72" y="10"/>
                  </a:lnTo>
                  <a:lnTo>
                    <a:pt x="71" y="7"/>
                  </a:lnTo>
                  <a:lnTo>
                    <a:pt x="71" y="3"/>
                  </a:lnTo>
                  <a:lnTo>
                    <a:pt x="71" y="0"/>
                  </a:lnTo>
                  <a:lnTo>
                    <a:pt x="75" y="1"/>
                  </a:lnTo>
                  <a:lnTo>
                    <a:pt x="76" y="2"/>
                  </a:lnTo>
                  <a:lnTo>
                    <a:pt x="82" y="9"/>
                  </a:lnTo>
                  <a:lnTo>
                    <a:pt x="84" y="14"/>
                  </a:lnTo>
                  <a:lnTo>
                    <a:pt x="85" y="22"/>
                  </a:lnTo>
                  <a:lnTo>
                    <a:pt x="84" y="26"/>
                  </a:lnTo>
                  <a:lnTo>
                    <a:pt x="85" y="33"/>
                  </a:lnTo>
                  <a:lnTo>
                    <a:pt x="86" y="36"/>
                  </a:lnTo>
                  <a:lnTo>
                    <a:pt x="88" y="40"/>
                  </a:lnTo>
                  <a:lnTo>
                    <a:pt x="89" y="41"/>
                  </a:lnTo>
                  <a:lnTo>
                    <a:pt x="90" y="42"/>
                  </a:lnTo>
                  <a:lnTo>
                    <a:pt x="88" y="43"/>
                  </a:lnTo>
                  <a:lnTo>
                    <a:pt x="85" y="43"/>
                  </a:lnTo>
                  <a:lnTo>
                    <a:pt x="77" y="42"/>
                  </a:lnTo>
                  <a:lnTo>
                    <a:pt x="74" y="42"/>
                  </a:lnTo>
                  <a:lnTo>
                    <a:pt x="73" y="42"/>
                  </a:lnTo>
                  <a:lnTo>
                    <a:pt x="71" y="44"/>
                  </a:lnTo>
                  <a:lnTo>
                    <a:pt x="70" y="47"/>
                  </a:lnTo>
                  <a:lnTo>
                    <a:pt x="76" y="54"/>
                  </a:lnTo>
                  <a:lnTo>
                    <a:pt x="84" y="61"/>
                  </a:lnTo>
                  <a:lnTo>
                    <a:pt x="88" y="67"/>
                  </a:lnTo>
                  <a:lnTo>
                    <a:pt x="90" y="73"/>
                  </a:lnTo>
                  <a:lnTo>
                    <a:pt x="91" y="74"/>
                  </a:lnTo>
                  <a:lnTo>
                    <a:pt x="90" y="75"/>
                  </a:lnTo>
                  <a:lnTo>
                    <a:pt x="88" y="77"/>
                  </a:lnTo>
                  <a:lnTo>
                    <a:pt x="83" y="87"/>
                  </a:lnTo>
                  <a:lnTo>
                    <a:pt x="80" y="90"/>
                  </a:lnTo>
                  <a:lnTo>
                    <a:pt x="77" y="93"/>
                  </a:lnTo>
                  <a:lnTo>
                    <a:pt x="76" y="94"/>
                  </a:lnTo>
                  <a:lnTo>
                    <a:pt x="76" y="96"/>
                  </a:lnTo>
                  <a:lnTo>
                    <a:pt x="77" y="101"/>
                  </a:lnTo>
                  <a:lnTo>
                    <a:pt x="78" y="108"/>
                  </a:lnTo>
                  <a:lnTo>
                    <a:pt x="80" y="111"/>
                  </a:lnTo>
                  <a:lnTo>
                    <a:pt x="82" y="115"/>
                  </a:lnTo>
                  <a:lnTo>
                    <a:pt x="85" y="119"/>
                  </a:lnTo>
                  <a:lnTo>
                    <a:pt x="85" y="123"/>
                  </a:lnTo>
                  <a:lnTo>
                    <a:pt x="85" y="125"/>
                  </a:lnTo>
                  <a:lnTo>
                    <a:pt x="92" y="133"/>
                  </a:lnTo>
                  <a:lnTo>
                    <a:pt x="95" y="137"/>
                  </a:lnTo>
                  <a:lnTo>
                    <a:pt x="97" y="142"/>
                  </a:lnTo>
                  <a:lnTo>
                    <a:pt x="98" y="145"/>
                  </a:lnTo>
                  <a:lnTo>
                    <a:pt x="97" y="146"/>
                  </a:lnTo>
                  <a:lnTo>
                    <a:pt x="98" y="151"/>
                  </a:lnTo>
                  <a:lnTo>
                    <a:pt x="96" y="152"/>
                  </a:lnTo>
                  <a:lnTo>
                    <a:pt x="91" y="150"/>
                  </a:lnTo>
                  <a:lnTo>
                    <a:pt x="86" y="148"/>
                  </a:lnTo>
                  <a:lnTo>
                    <a:pt x="82" y="147"/>
                  </a:lnTo>
                  <a:lnTo>
                    <a:pt x="79" y="146"/>
                  </a:lnTo>
                  <a:lnTo>
                    <a:pt x="76" y="146"/>
                  </a:lnTo>
                  <a:lnTo>
                    <a:pt x="75" y="146"/>
                  </a:lnTo>
                  <a:lnTo>
                    <a:pt x="70" y="146"/>
                  </a:lnTo>
                  <a:lnTo>
                    <a:pt x="64" y="146"/>
                  </a:lnTo>
                  <a:lnTo>
                    <a:pt x="61" y="145"/>
                  </a:lnTo>
                  <a:lnTo>
                    <a:pt x="55" y="144"/>
                  </a:lnTo>
                  <a:lnTo>
                    <a:pt x="50" y="144"/>
                  </a:lnTo>
                  <a:lnTo>
                    <a:pt x="40" y="143"/>
                  </a:lnTo>
                  <a:lnTo>
                    <a:pt x="35" y="143"/>
                  </a:lnTo>
                  <a:lnTo>
                    <a:pt x="34" y="14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6" name="Freeform 98">
              <a:extLst>
                <a:ext uri="{FF2B5EF4-FFF2-40B4-BE49-F238E27FC236}">
                  <a16:creationId xmlns:a16="http://schemas.microsoft.com/office/drawing/2014/main" id="{7C013EBE-1676-C1CB-5237-78321BC427C5}"/>
                </a:ext>
              </a:extLst>
            </p:cNvPr>
            <p:cNvSpPr>
              <a:spLocks/>
            </p:cNvSpPr>
            <p:nvPr/>
          </p:nvSpPr>
          <p:spPr bwMode="auto">
            <a:xfrm>
              <a:off x="6116221" y="4230688"/>
              <a:ext cx="139700" cy="71438"/>
            </a:xfrm>
            <a:custGeom>
              <a:avLst/>
              <a:gdLst/>
              <a:ahLst/>
              <a:cxnLst>
                <a:cxn ang="0">
                  <a:pos x="0" y="2"/>
                </a:cxn>
                <a:cxn ang="0">
                  <a:pos x="4" y="1"/>
                </a:cxn>
                <a:cxn ang="0">
                  <a:pos x="6" y="2"/>
                </a:cxn>
                <a:cxn ang="0">
                  <a:pos x="11" y="2"/>
                </a:cxn>
                <a:cxn ang="0">
                  <a:pos x="13" y="4"/>
                </a:cxn>
                <a:cxn ang="0">
                  <a:pos x="16" y="5"/>
                </a:cxn>
                <a:cxn ang="0">
                  <a:pos x="19" y="6"/>
                </a:cxn>
                <a:cxn ang="0">
                  <a:pos x="22" y="7"/>
                </a:cxn>
                <a:cxn ang="0">
                  <a:pos x="26" y="8"/>
                </a:cxn>
                <a:cxn ang="0">
                  <a:pos x="32" y="7"/>
                </a:cxn>
                <a:cxn ang="0">
                  <a:pos x="36" y="8"/>
                </a:cxn>
                <a:cxn ang="0">
                  <a:pos x="39" y="9"/>
                </a:cxn>
                <a:cxn ang="0">
                  <a:pos x="42" y="12"/>
                </a:cxn>
                <a:cxn ang="0">
                  <a:pos x="46" y="14"/>
                </a:cxn>
                <a:cxn ang="0">
                  <a:pos x="50" y="15"/>
                </a:cxn>
                <a:cxn ang="0">
                  <a:pos x="49" y="17"/>
                </a:cxn>
                <a:cxn ang="0">
                  <a:pos x="51" y="19"/>
                </a:cxn>
                <a:cxn ang="0">
                  <a:pos x="55" y="18"/>
                </a:cxn>
                <a:cxn ang="0">
                  <a:pos x="56" y="16"/>
                </a:cxn>
                <a:cxn ang="0">
                  <a:pos x="60" y="15"/>
                </a:cxn>
                <a:cxn ang="0">
                  <a:pos x="62" y="17"/>
                </a:cxn>
                <a:cxn ang="0">
                  <a:pos x="64" y="15"/>
                </a:cxn>
                <a:cxn ang="0">
                  <a:pos x="66" y="16"/>
                </a:cxn>
                <a:cxn ang="0">
                  <a:pos x="68" y="17"/>
                </a:cxn>
                <a:cxn ang="0">
                  <a:pos x="70" y="19"/>
                </a:cxn>
                <a:cxn ang="0">
                  <a:pos x="75" y="19"/>
                </a:cxn>
                <a:cxn ang="0">
                  <a:pos x="75" y="22"/>
                </a:cxn>
                <a:cxn ang="0">
                  <a:pos x="76" y="27"/>
                </a:cxn>
                <a:cxn ang="0">
                  <a:pos x="79" y="29"/>
                </a:cxn>
                <a:cxn ang="0">
                  <a:pos x="82" y="29"/>
                </a:cxn>
                <a:cxn ang="0">
                  <a:pos x="84" y="31"/>
                </a:cxn>
                <a:cxn ang="0">
                  <a:pos x="82" y="33"/>
                </a:cxn>
                <a:cxn ang="0">
                  <a:pos x="82" y="36"/>
                </a:cxn>
                <a:cxn ang="0">
                  <a:pos x="87" y="40"/>
                </a:cxn>
                <a:cxn ang="0">
                  <a:pos x="87" y="44"/>
                </a:cxn>
                <a:cxn ang="0">
                  <a:pos x="84" y="45"/>
                </a:cxn>
                <a:cxn ang="0">
                  <a:pos x="82" y="43"/>
                </a:cxn>
                <a:cxn ang="0">
                  <a:pos x="79" y="44"/>
                </a:cxn>
                <a:cxn ang="0">
                  <a:pos x="74" y="40"/>
                </a:cxn>
                <a:cxn ang="0">
                  <a:pos x="70" y="39"/>
                </a:cxn>
                <a:cxn ang="0">
                  <a:pos x="66" y="41"/>
                </a:cxn>
                <a:cxn ang="0">
                  <a:pos x="62" y="42"/>
                </a:cxn>
                <a:cxn ang="0">
                  <a:pos x="55" y="42"/>
                </a:cxn>
                <a:cxn ang="0">
                  <a:pos x="50" y="44"/>
                </a:cxn>
                <a:cxn ang="0">
                  <a:pos x="46" y="44"/>
                </a:cxn>
                <a:cxn ang="0">
                  <a:pos x="44" y="45"/>
                </a:cxn>
                <a:cxn ang="0">
                  <a:pos x="34" y="36"/>
                </a:cxn>
                <a:cxn ang="0">
                  <a:pos x="28" y="40"/>
                </a:cxn>
                <a:cxn ang="0">
                  <a:pos x="18" y="39"/>
                </a:cxn>
                <a:cxn ang="0">
                  <a:pos x="20" y="33"/>
                </a:cxn>
                <a:cxn ang="0">
                  <a:pos x="20" y="27"/>
                </a:cxn>
                <a:cxn ang="0">
                  <a:pos x="17" y="15"/>
                </a:cxn>
                <a:cxn ang="0">
                  <a:pos x="11" y="10"/>
                </a:cxn>
                <a:cxn ang="0">
                  <a:pos x="2" y="6"/>
                </a:cxn>
              </a:cxnLst>
              <a:rect l="0" t="0" r="r" b="b"/>
              <a:pathLst>
                <a:path w="88" h="45">
                  <a:moveTo>
                    <a:pt x="0" y="4"/>
                  </a:moveTo>
                  <a:lnTo>
                    <a:pt x="0" y="2"/>
                  </a:lnTo>
                  <a:lnTo>
                    <a:pt x="2" y="0"/>
                  </a:lnTo>
                  <a:lnTo>
                    <a:pt x="4" y="1"/>
                  </a:lnTo>
                  <a:lnTo>
                    <a:pt x="4" y="1"/>
                  </a:lnTo>
                  <a:lnTo>
                    <a:pt x="6" y="2"/>
                  </a:lnTo>
                  <a:lnTo>
                    <a:pt x="9" y="2"/>
                  </a:lnTo>
                  <a:lnTo>
                    <a:pt x="11" y="2"/>
                  </a:lnTo>
                  <a:lnTo>
                    <a:pt x="12" y="3"/>
                  </a:lnTo>
                  <a:lnTo>
                    <a:pt x="13" y="4"/>
                  </a:lnTo>
                  <a:lnTo>
                    <a:pt x="15" y="5"/>
                  </a:lnTo>
                  <a:lnTo>
                    <a:pt x="16" y="5"/>
                  </a:lnTo>
                  <a:lnTo>
                    <a:pt x="18" y="5"/>
                  </a:lnTo>
                  <a:lnTo>
                    <a:pt x="19" y="6"/>
                  </a:lnTo>
                  <a:lnTo>
                    <a:pt x="21" y="7"/>
                  </a:lnTo>
                  <a:lnTo>
                    <a:pt x="22" y="7"/>
                  </a:lnTo>
                  <a:lnTo>
                    <a:pt x="24" y="8"/>
                  </a:lnTo>
                  <a:lnTo>
                    <a:pt x="26" y="8"/>
                  </a:lnTo>
                  <a:lnTo>
                    <a:pt x="29" y="7"/>
                  </a:lnTo>
                  <a:lnTo>
                    <a:pt x="32" y="7"/>
                  </a:lnTo>
                  <a:lnTo>
                    <a:pt x="34" y="8"/>
                  </a:lnTo>
                  <a:lnTo>
                    <a:pt x="36" y="8"/>
                  </a:lnTo>
                  <a:lnTo>
                    <a:pt x="37" y="8"/>
                  </a:lnTo>
                  <a:lnTo>
                    <a:pt x="39" y="9"/>
                  </a:lnTo>
                  <a:lnTo>
                    <a:pt x="40" y="11"/>
                  </a:lnTo>
                  <a:lnTo>
                    <a:pt x="42" y="12"/>
                  </a:lnTo>
                  <a:lnTo>
                    <a:pt x="45" y="13"/>
                  </a:lnTo>
                  <a:lnTo>
                    <a:pt x="46" y="14"/>
                  </a:lnTo>
                  <a:lnTo>
                    <a:pt x="48" y="15"/>
                  </a:lnTo>
                  <a:lnTo>
                    <a:pt x="50" y="15"/>
                  </a:lnTo>
                  <a:lnTo>
                    <a:pt x="49" y="17"/>
                  </a:lnTo>
                  <a:lnTo>
                    <a:pt x="49" y="17"/>
                  </a:lnTo>
                  <a:lnTo>
                    <a:pt x="50" y="18"/>
                  </a:lnTo>
                  <a:lnTo>
                    <a:pt x="51" y="19"/>
                  </a:lnTo>
                  <a:lnTo>
                    <a:pt x="53" y="18"/>
                  </a:lnTo>
                  <a:lnTo>
                    <a:pt x="55" y="18"/>
                  </a:lnTo>
                  <a:lnTo>
                    <a:pt x="55" y="17"/>
                  </a:lnTo>
                  <a:lnTo>
                    <a:pt x="56" y="16"/>
                  </a:lnTo>
                  <a:lnTo>
                    <a:pt x="57" y="15"/>
                  </a:lnTo>
                  <a:lnTo>
                    <a:pt x="60" y="15"/>
                  </a:lnTo>
                  <a:lnTo>
                    <a:pt x="61" y="16"/>
                  </a:lnTo>
                  <a:lnTo>
                    <a:pt x="62" y="17"/>
                  </a:lnTo>
                  <a:lnTo>
                    <a:pt x="63" y="16"/>
                  </a:lnTo>
                  <a:lnTo>
                    <a:pt x="64" y="15"/>
                  </a:lnTo>
                  <a:lnTo>
                    <a:pt x="64" y="15"/>
                  </a:lnTo>
                  <a:lnTo>
                    <a:pt x="66" y="16"/>
                  </a:lnTo>
                  <a:lnTo>
                    <a:pt x="66" y="17"/>
                  </a:lnTo>
                  <a:lnTo>
                    <a:pt x="68" y="17"/>
                  </a:lnTo>
                  <a:lnTo>
                    <a:pt x="69" y="18"/>
                  </a:lnTo>
                  <a:lnTo>
                    <a:pt x="70" y="19"/>
                  </a:lnTo>
                  <a:lnTo>
                    <a:pt x="72" y="19"/>
                  </a:lnTo>
                  <a:lnTo>
                    <a:pt x="75" y="19"/>
                  </a:lnTo>
                  <a:lnTo>
                    <a:pt x="75" y="20"/>
                  </a:lnTo>
                  <a:lnTo>
                    <a:pt x="75" y="22"/>
                  </a:lnTo>
                  <a:lnTo>
                    <a:pt x="74" y="24"/>
                  </a:lnTo>
                  <a:lnTo>
                    <a:pt x="76" y="27"/>
                  </a:lnTo>
                  <a:lnTo>
                    <a:pt x="78" y="28"/>
                  </a:lnTo>
                  <a:lnTo>
                    <a:pt x="79" y="29"/>
                  </a:lnTo>
                  <a:lnTo>
                    <a:pt x="81" y="29"/>
                  </a:lnTo>
                  <a:lnTo>
                    <a:pt x="82" y="29"/>
                  </a:lnTo>
                  <a:lnTo>
                    <a:pt x="84" y="29"/>
                  </a:lnTo>
                  <a:lnTo>
                    <a:pt x="84" y="31"/>
                  </a:lnTo>
                  <a:lnTo>
                    <a:pt x="82" y="32"/>
                  </a:lnTo>
                  <a:lnTo>
                    <a:pt x="82" y="33"/>
                  </a:lnTo>
                  <a:lnTo>
                    <a:pt x="81" y="34"/>
                  </a:lnTo>
                  <a:lnTo>
                    <a:pt x="82" y="36"/>
                  </a:lnTo>
                  <a:lnTo>
                    <a:pt x="83" y="39"/>
                  </a:lnTo>
                  <a:lnTo>
                    <a:pt x="87" y="40"/>
                  </a:lnTo>
                  <a:lnTo>
                    <a:pt x="88" y="42"/>
                  </a:lnTo>
                  <a:lnTo>
                    <a:pt x="87" y="44"/>
                  </a:lnTo>
                  <a:lnTo>
                    <a:pt x="86" y="45"/>
                  </a:lnTo>
                  <a:lnTo>
                    <a:pt x="84" y="45"/>
                  </a:lnTo>
                  <a:lnTo>
                    <a:pt x="83" y="44"/>
                  </a:lnTo>
                  <a:lnTo>
                    <a:pt x="82" y="43"/>
                  </a:lnTo>
                  <a:lnTo>
                    <a:pt x="81" y="43"/>
                  </a:lnTo>
                  <a:lnTo>
                    <a:pt x="79" y="44"/>
                  </a:lnTo>
                  <a:lnTo>
                    <a:pt x="75" y="42"/>
                  </a:lnTo>
                  <a:lnTo>
                    <a:pt x="74" y="40"/>
                  </a:lnTo>
                  <a:lnTo>
                    <a:pt x="72" y="39"/>
                  </a:lnTo>
                  <a:lnTo>
                    <a:pt x="70" y="39"/>
                  </a:lnTo>
                  <a:lnTo>
                    <a:pt x="68" y="39"/>
                  </a:lnTo>
                  <a:lnTo>
                    <a:pt x="66" y="41"/>
                  </a:lnTo>
                  <a:lnTo>
                    <a:pt x="64" y="42"/>
                  </a:lnTo>
                  <a:lnTo>
                    <a:pt x="62" y="42"/>
                  </a:lnTo>
                  <a:lnTo>
                    <a:pt x="58" y="43"/>
                  </a:lnTo>
                  <a:lnTo>
                    <a:pt x="55" y="42"/>
                  </a:lnTo>
                  <a:lnTo>
                    <a:pt x="52" y="44"/>
                  </a:lnTo>
                  <a:lnTo>
                    <a:pt x="50" y="44"/>
                  </a:lnTo>
                  <a:lnTo>
                    <a:pt x="48" y="44"/>
                  </a:lnTo>
                  <a:lnTo>
                    <a:pt x="46" y="44"/>
                  </a:lnTo>
                  <a:lnTo>
                    <a:pt x="44" y="45"/>
                  </a:lnTo>
                  <a:lnTo>
                    <a:pt x="44" y="45"/>
                  </a:lnTo>
                  <a:lnTo>
                    <a:pt x="36" y="37"/>
                  </a:lnTo>
                  <a:lnTo>
                    <a:pt x="34" y="36"/>
                  </a:lnTo>
                  <a:lnTo>
                    <a:pt x="29" y="39"/>
                  </a:lnTo>
                  <a:lnTo>
                    <a:pt x="28" y="40"/>
                  </a:lnTo>
                  <a:lnTo>
                    <a:pt x="25" y="39"/>
                  </a:lnTo>
                  <a:lnTo>
                    <a:pt x="18" y="39"/>
                  </a:lnTo>
                  <a:lnTo>
                    <a:pt x="18" y="38"/>
                  </a:lnTo>
                  <a:lnTo>
                    <a:pt x="20" y="33"/>
                  </a:lnTo>
                  <a:lnTo>
                    <a:pt x="21" y="32"/>
                  </a:lnTo>
                  <a:lnTo>
                    <a:pt x="20" y="27"/>
                  </a:lnTo>
                  <a:lnTo>
                    <a:pt x="18" y="18"/>
                  </a:lnTo>
                  <a:lnTo>
                    <a:pt x="17" y="15"/>
                  </a:lnTo>
                  <a:lnTo>
                    <a:pt x="13" y="11"/>
                  </a:lnTo>
                  <a:lnTo>
                    <a:pt x="11" y="10"/>
                  </a:lnTo>
                  <a:lnTo>
                    <a:pt x="6" y="8"/>
                  </a:lnTo>
                  <a:lnTo>
                    <a:pt x="2" y="6"/>
                  </a:lnTo>
                  <a:lnTo>
                    <a:pt x="0"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7" name="Freeform 99">
              <a:extLst>
                <a:ext uri="{FF2B5EF4-FFF2-40B4-BE49-F238E27FC236}">
                  <a16:creationId xmlns:a16="http://schemas.microsoft.com/office/drawing/2014/main" id="{323741BA-58A8-EAB5-2B53-247D3CAA6398}"/>
                </a:ext>
              </a:extLst>
            </p:cNvPr>
            <p:cNvSpPr>
              <a:spLocks/>
            </p:cNvSpPr>
            <p:nvPr/>
          </p:nvSpPr>
          <p:spPr bwMode="auto">
            <a:xfrm>
              <a:off x="6009859" y="4473575"/>
              <a:ext cx="31750" cy="41275"/>
            </a:xfrm>
            <a:custGeom>
              <a:avLst/>
              <a:gdLst/>
              <a:ahLst/>
              <a:cxnLst>
                <a:cxn ang="0">
                  <a:pos x="11" y="1"/>
                </a:cxn>
                <a:cxn ang="0">
                  <a:pos x="14" y="1"/>
                </a:cxn>
                <a:cxn ang="0">
                  <a:pos x="16" y="1"/>
                </a:cxn>
                <a:cxn ang="0">
                  <a:pos x="16" y="0"/>
                </a:cxn>
                <a:cxn ang="0">
                  <a:pos x="17" y="1"/>
                </a:cxn>
                <a:cxn ang="0">
                  <a:pos x="17" y="2"/>
                </a:cxn>
                <a:cxn ang="0">
                  <a:pos x="16" y="3"/>
                </a:cxn>
                <a:cxn ang="0">
                  <a:pos x="17" y="3"/>
                </a:cxn>
                <a:cxn ang="0">
                  <a:pos x="19" y="5"/>
                </a:cxn>
                <a:cxn ang="0">
                  <a:pos x="19" y="6"/>
                </a:cxn>
                <a:cxn ang="0">
                  <a:pos x="20" y="6"/>
                </a:cxn>
                <a:cxn ang="0">
                  <a:pos x="19" y="8"/>
                </a:cxn>
                <a:cxn ang="0">
                  <a:pos x="20" y="8"/>
                </a:cxn>
                <a:cxn ang="0">
                  <a:pos x="18" y="10"/>
                </a:cxn>
                <a:cxn ang="0">
                  <a:pos x="17" y="11"/>
                </a:cxn>
                <a:cxn ang="0">
                  <a:pos x="16" y="12"/>
                </a:cxn>
                <a:cxn ang="0">
                  <a:pos x="16" y="12"/>
                </a:cxn>
                <a:cxn ang="0">
                  <a:pos x="16" y="13"/>
                </a:cxn>
                <a:cxn ang="0">
                  <a:pos x="17" y="14"/>
                </a:cxn>
                <a:cxn ang="0">
                  <a:pos x="13" y="14"/>
                </a:cxn>
                <a:cxn ang="0">
                  <a:pos x="11" y="15"/>
                </a:cxn>
                <a:cxn ang="0">
                  <a:pos x="11" y="17"/>
                </a:cxn>
                <a:cxn ang="0">
                  <a:pos x="12" y="17"/>
                </a:cxn>
                <a:cxn ang="0">
                  <a:pos x="13" y="18"/>
                </a:cxn>
                <a:cxn ang="0">
                  <a:pos x="9" y="21"/>
                </a:cxn>
                <a:cxn ang="0">
                  <a:pos x="9" y="21"/>
                </a:cxn>
                <a:cxn ang="0">
                  <a:pos x="7" y="23"/>
                </a:cxn>
                <a:cxn ang="0">
                  <a:pos x="6" y="23"/>
                </a:cxn>
                <a:cxn ang="0">
                  <a:pos x="6" y="23"/>
                </a:cxn>
                <a:cxn ang="0">
                  <a:pos x="5" y="24"/>
                </a:cxn>
                <a:cxn ang="0">
                  <a:pos x="5" y="26"/>
                </a:cxn>
                <a:cxn ang="0">
                  <a:pos x="3" y="26"/>
                </a:cxn>
                <a:cxn ang="0">
                  <a:pos x="3" y="25"/>
                </a:cxn>
                <a:cxn ang="0">
                  <a:pos x="2" y="25"/>
                </a:cxn>
                <a:cxn ang="0">
                  <a:pos x="0" y="26"/>
                </a:cxn>
                <a:cxn ang="0">
                  <a:pos x="1" y="23"/>
                </a:cxn>
                <a:cxn ang="0">
                  <a:pos x="2" y="21"/>
                </a:cxn>
                <a:cxn ang="0">
                  <a:pos x="3" y="19"/>
                </a:cxn>
                <a:cxn ang="0">
                  <a:pos x="5" y="14"/>
                </a:cxn>
                <a:cxn ang="0">
                  <a:pos x="5" y="13"/>
                </a:cxn>
                <a:cxn ang="0">
                  <a:pos x="6" y="13"/>
                </a:cxn>
                <a:cxn ang="0">
                  <a:pos x="7" y="11"/>
                </a:cxn>
                <a:cxn ang="0">
                  <a:pos x="7" y="9"/>
                </a:cxn>
                <a:cxn ang="0">
                  <a:pos x="7" y="7"/>
                </a:cxn>
                <a:cxn ang="0">
                  <a:pos x="10" y="4"/>
                </a:cxn>
                <a:cxn ang="0">
                  <a:pos x="11" y="3"/>
                </a:cxn>
                <a:cxn ang="0">
                  <a:pos x="11" y="2"/>
                </a:cxn>
                <a:cxn ang="0">
                  <a:pos x="11" y="1"/>
                </a:cxn>
              </a:cxnLst>
              <a:rect l="0" t="0" r="r" b="b"/>
              <a:pathLst>
                <a:path w="20" h="26">
                  <a:moveTo>
                    <a:pt x="11" y="1"/>
                  </a:moveTo>
                  <a:lnTo>
                    <a:pt x="14" y="1"/>
                  </a:lnTo>
                  <a:lnTo>
                    <a:pt x="16" y="1"/>
                  </a:lnTo>
                  <a:lnTo>
                    <a:pt x="16" y="0"/>
                  </a:lnTo>
                  <a:lnTo>
                    <a:pt x="17" y="1"/>
                  </a:lnTo>
                  <a:lnTo>
                    <a:pt x="17" y="2"/>
                  </a:lnTo>
                  <a:lnTo>
                    <a:pt x="16" y="3"/>
                  </a:lnTo>
                  <a:lnTo>
                    <a:pt x="17" y="3"/>
                  </a:lnTo>
                  <a:lnTo>
                    <a:pt x="19" y="5"/>
                  </a:lnTo>
                  <a:lnTo>
                    <a:pt x="19" y="6"/>
                  </a:lnTo>
                  <a:lnTo>
                    <a:pt x="20" y="6"/>
                  </a:lnTo>
                  <a:lnTo>
                    <a:pt x="19" y="8"/>
                  </a:lnTo>
                  <a:lnTo>
                    <a:pt x="20" y="8"/>
                  </a:lnTo>
                  <a:lnTo>
                    <a:pt x="18" y="10"/>
                  </a:lnTo>
                  <a:lnTo>
                    <a:pt x="17" y="11"/>
                  </a:lnTo>
                  <a:lnTo>
                    <a:pt x="16" y="12"/>
                  </a:lnTo>
                  <a:lnTo>
                    <a:pt x="16" y="12"/>
                  </a:lnTo>
                  <a:lnTo>
                    <a:pt x="16" y="13"/>
                  </a:lnTo>
                  <a:lnTo>
                    <a:pt x="17" y="14"/>
                  </a:lnTo>
                  <a:lnTo>
                    <a:pt x="13" y="14"/>
                  </a:lnTo>
                  <a:lnTo>
                    <a:pt x="11" y="15"/>
                  </a:lnTo>
                  <a:lnTo>
                    <a:pt x="11" y="17"/>
                  </a:lnTo>
                  <a:lnTo>
                    <a:pt x="12" y="17"/>
                  </a:lnTo>
                  <a:lnTo>
                    <a:pt x="13" y="18"/>
                  </a:lnTo>
                  <a:lnTo>
                    <a:pt x="9" y="21"/>
                  </a:lnTo>
                  <a:lnTo>
                    <a:pt x="9" y="21"/>
                  </a:lnTo>
                  <a:lnTo>
                    <a:pt x="7" y="23"/>
                  </a:lnTo>
                  <a:lnTo>
                    <a:pt x="6" y="23"/>
                  </a:lnTo>
                  <a:lnTo>
                    <a:pt x="6" y="23"/>
                  </a:lnTo>
                  <a:lnTo>
                    <a:pt x="5" y="24"/>
                  </a:lnTo>
                  <a:lnTo>
                    <a:pt x="5" y="26"/>
                  </a:lnTo>
                  <a:lnTo>
                    <a:pt x="3" y="26"/>
                  </a:lnTo>
                  <a:lnTo>
                    <a:pt x="3" y="25"/>
                  </a:lnTo>
                  <a:lnTo>
                    <a:pt x="2" y="25"/>
                  </a:lnTo>
                  <a:lnTo>
                    <a:pt x="0" y="26"/>
                  </a:lnTo>
                  <a:lnTo>
                    <a:pt x="1" y="23"/>
                  </a:lnTo>
                  <a:lnTo>
                    <a:pt x="2" y="21"/>
                  </a:lnTo>
                  <a:lnTo>
                    <a:pt x="3" y="19"/>
                  </a:lnTo>
                  <a:lnTo>
                    <a:pt x="5" y="14"/>
                  </a:lnTo>
                  <a:lnTo>
                    <a:pt x="5" y="13"/>
                  </a:lnTo>
                  <a:lnTo>
                    <a:pt x="6" y="13"/>
                  </a:lnTo>
                  <a:lnTo>
                    <a:pt x="7" y="11"/>
                  </a:lnTo>
                  <a:lnTo>
                    <a:pt x="7" y="9"/>
                  </a:lnTo>
                  <a:lnTo>
                    <a:pt x="7" y="7"/>
                  </a:lnTo>
                  <a:lnTo>
                    <a:pt x="10" y="4"/>
                  </a:lnTo>
                  <a:lnTo>
                    <a:pt x="11" y="3"/>
                  </a:lnTo>
                  <a:lnTo>
                    <a:pt x="11" y="2"/>
                  </a:lnTo>
                  <a:lnTo>
                    <a:pt x="11" y="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8" name="Freeform 100">
              <a:extLst>
                <a:ext uri="{FF2B5EF4-FFF2-40B4-BE49-F238E27FC236}">
                  <a16:creationId xmlns:a16="http://schemas.microsoft.com/office/drawing/2014/main" id="{CAA33F3F-8AA6-9912-A827-1AF5360967E9}"/>
                </a:ext>
              </a:extLst>
            </p:cNvPr>
            <p:cNvSpPr>
              <a:spLocks/>
            </p:cNvSpPr>
            <p:nvPr/>
          </p:nvSpPr>
          <p:spPr bwMode="auto">
            <a:xfrm>
              <a:off x="6020971" y="4402138"/>
              <a:ext cx="146050" cy="130175"/>
            </a:xfrm>
            <a:custGeom>
              <a:avLst/>
              <a:gdLst/>
              <a:ahLst/>
              <a:cxnLst>
                <a:cxn ang="0">
                  <a:pos x="2" y="73"/>
                </a:cxn>
                <a:cxn ang="0">
                  <a:pos x="2" y="71"/>
                </a:cxn>
                <a:cxn ang="0">
                  <a:pos x="0" y="68"/>
                </a:cxn>
                <a:cxn ang="0">
                  <a:pos x="2" y="66"/>
                </a:cxn>
                <a:cxn ang="0">
                  <a:pos x="5" y="62"/>
                </a:cxn>
                <a:cxn ang="0">
                  <a:pos x="4" y="60"/>
                </a:cxn>
                <a:cxn ang="0">
                  <a:pos x="10" y="59"/>
                </a:cxn>
                <a:cxn ang="0">
                  <a:pos x="9" y="57"/>
                </a:cxn>
                <a:cxn ang="0">
                  <a:pos x="10" y="56"/>
                </a:cxn>
                <a:cxn ang="0">
                  <a:pos x="13" y="53"/>
                </a:cxn>
                <a:cxn ang="0">
                  <a:pos x="13" y="51"/>
                </a:cxn>
                <a:cxn ang="0">
                  <a:pos x="12" y="50"/>
                </a:cxn>
                <a:cxn ang="0">
                  <a:pos x="9" y="48"/>
                </a:cxn>
                <a:cxn ang="0">
                  <a:pos x="10" y="46"/>
                </a:cxn>
                <a:cxn ang="0">
                  <a:pos x="9" y="46"/>
                </a:cxn>
                <a:cxn ang="0">
                  <a:pos x="4" y="46"/>
                </a:cxn>
                <a:cxn ang="0">
                  <a:pos x="4" y="38"/>
                </a:cxn>
                <a:cxn ang="0">
                  <a:pos x="4" y="33"/>
                </a:cxn>
                <a:cxn ang="0">
                  <a:pos x="2" y="30"/>
                </a:cxn>
                <a:cxn ang="0">
                  <a:pos x="3" y="29"/>
                </a:cxn>
                <a:cxn ang="0">
                  <a:pos x="3" y="27"/>
                </a:cxn>
                <a:cxn ang="0">
                  <a:pos x="4" y="24"/>
                </a:cxn>
                <a:cxn ang="0">
                  <a:pos x="8" y="24"/>
                </a:cxn>
                <a:cxn ang="0">
                  <a:pos x="10" y="24"/>
                </a:cxn>
                <a:cxn ang="0">
                  <a:pos x="12" y="20"/>
                </a:cxn>
                <a:cxn ang="0">
                  <a:pos x="14" y="16"/>
                </a:cxn>
                <a:cxn ang="0">
                  <a:pos x="14" y="10"/>
                </a:cxn>
                <a:cxn ang="0">
                  <a:pos x="16" y="11"/>
                </a:cxn>
                <a:cxn ang="0">
                  <a:pos x="24" y="12"/>
                </a:cxn>
                <a:cxn ang="0">
                  <a:pos x="34" y="9"/>
                </a:cxn>
                <a:cxn ang="0">
                  <a:pos x="45" y="12"/>
                </a:cxn>
                <a:cxn ang="0">
                  <a:pos x="54" y="12"/>
                </a:cxn>
                <a:cxn ang="0">
                  <a:pos x="66" y="6"/>
                </a:cxn>
                <a:cxn ang="0">
                  <a:pos x="73" y="6"/>
                </a:cxn>
                <a:cxn ang="0">
                  <a:pos x="84" y="5"/>
                </a:cxn>
                <a:cxn ang="0">
                  <a:pos x="90" y="0"/>
                </a:cxn>
                <a:cxn ang="0">
                  <a:pos x="91" y="2"/>
                </a:cxn>
                <a:cxn ang="0">
                  <a:pos x="86" y="11"/>
                </a:cxn>
                <a:cxn ang="0">
                  <a:pos x="79" y="15"/>
                </a:cxn>
                <a:cxn ang="0">
                  <a:pos x="75" y="19"/>
                </a:cxn>
                <a:cxn ang="0">
                  <a:pos x="76" y="24"/>
                </a:cxn>
                <a:cxn ang="0">
                  <a:pos x="73" y="47"/>
                </a:cxn>
                <a:cxn ang="0">
                  <a:pos x="41" y="67"/>
                </a:cxn>
                <a:cxn ang="0">
                  <a:pos x="17" y="82"/>
                </a:cxn>
                <a:cxn ang="0">
                  <a:pos x="13" y="81"/>
                </a:cxn>
              </a:cxnLst>
              <a:rect l="0" t="0" r="r" b="b"/>
              <a:pathLst>
                <a:path w="92" h="82">
                  <a:moveTo>
                    <a:pt x="2" y="74"/>
                  </a:moveTo>
                  <a:lnTo>
                    <a:pt x="2" y="73"/>
                  </a:lnTo>
                  <a:lnTo>
                    <a:pt x="2" y="72"/>
                  </a:lnTo>
                  <a:lnTo>
                    <a:pt x="2" y="71"/>
                  </a:lnTo>
                  <a:lnTo>
                    <a:pt x="1" y="70"/>
                  </a:lnTo>
                  <a:lnTo>
                    <a:pt x="0" y="68"/>
                  </a:lnTo>
                  <a:lnTo>
                    <a:pt x="2" y="66"/>
                  </a:lnTo>
                  <a:lnTo>
                    <a:pt x="2" y="66"/>
                  </a:lnTo>
                  <a:lnTo>
                    <a:pt x="6" y="63"/>
                  </a:lnTo>
                  <a:lnTo>
                    <a:pt x="5" y="62"/>
                  </a:lnTo>
                  <a:lnTo>
                    <a:pt x="4" y="62"/>
                  </a:lnTo>
                  <a:lnTo>
                    <a:pt x="4" y="60"/>
                  </a:lnTo>
                  <a:lnTo>
                    <a:pt x="6" y="59"/>
                  </a:lnTo>
                  <a:lnTo>
                    <a:pt x="10" y="59"/>
                  </a:lnTo>
                  <a:lnTo>
                    <a:pt x="9" y="58"/>
                  </a:lnTo>
                  <a:lnTo>
                    <a:pt x="9" y="57"/>
                  </a:lnTo>
                  <a:lnTo>
                    <a:pt x="9" y="57"/>
                  </a:lnTo>
                  <a:lnTo>
                    <a:pt x="10" y="56"/>
                  </a:lnTo>
                  <a:lnTo>
                    <a:pt x="11" y="55"/>
                  </a:lnTo>
                  <a:lnTo>
                    <a:pt x="13" y="53"/>
                  </a:lnTo>
                  <a:lnTo>
                    <a:pt x="12" y="53"/>
                  </a:lnTo>
                  <a:lnTo>
                    <a:pt x="13" y="51"/>
                  </a:lnTo>
                  <a:lnTo>
                    <a:pt x="12" y="51"/>
                  </a:lnTo>
                  <a:lnTo>
                    <a:pt x="12" y="50"/>
                  </a:lnTo>
                  <a:lnTo>
                    <a:pt x="10" y="48"/>
                  </a:lnTo>
                  <a:lnTo>
                    <a:pt x="9" y="48"/>
                  </a:lnTo>
                  <a:lnTo>
                    <a:pt x="10" y="47"/>
                  </a:lnTo>
                  <a:lnTo>
                    <a:pt x="10" y="46"/>
                  </a:lnTo>
                  <a:lnTo>
                    <a:pt x="9" y="45"/>
                  </a:lnTo>
                  <a:lnTo>
                    <a:pt x="9" y="46"/>
                  </a:lnTo>
                  <a:lnTo>
                    <a:pt x="7" y="46"/>
                  </a:lnTo>
                  <a:lnTo>
                    <a:pt x="4" y="46"/>
                  </a:lnTo>
                  <a:lnTo>
                    <a:pt x="3" y="42"/>
                  </a:lnTo>
                  <a:lnTo>
                    <a:pt x="4" y="38"/>
                  </a:lnTo>
                  <a:lnTo>
                    <a:pt x="4" y="37"/>
                  </a:lnTo>
                  <a:lnTo>
                    <a:pt x="4" y="33"/>
                  </a:lnTo>
                  <a:lnTo>
                    <a:pt x="1" y="31"/>
                  </a:lnTo>
                  <a:lnTo>
                    <a:pt x="2" y="30"/>
                  </a:lnTo>
                  <a:lnTo>
                    <a:pt x="2" y="29"/>
                  </a:lnTo>
                  <a:lnTo>
                    <a:pt x="3" y="29"/>
                  </a:lnTo>
                  <a:lnTo>
                    <a:pt x="2" y="27"/>
                  </a:lnTo>
                  <a:lnTo>
                    <a:pt x="3" y="27"/>
                  </a:lnTo>
                  <a:lnTo>
                    <a:pt x="4" y="24"/>
                  </a:lnTo>
                  <a:lnTo>
                    <a:pt x="4" y="24"/>
                  </a:lnTo>
                  <a:lnTo>
                    <a:pt x="6" y="24"/>
                  </a:lnTo>
                  <a:lnTo>
                    <a:pt x="8" y="24"/>
                  </a:lnTo>
                  <a:lnTo>
                    <a:pt x="9" y="24"/>
                  </a:lnTo>
                  <a:lnTo>
                    <a:pt x="10" y="24"/>
                  </a:lnTo>
                  <a:lnTo>
                    <a:pt x="11" y="23"/>
                  </a:lnTo>
                  <a:lnTo>
                    <a:pt x="12" y="20"/>
                  </a:lnTo>
                  <a:lnTo>
                    <a:pt x="16" y="19"/>
                  </a:lnTo>
                  <a:lnTo>
                    <a:pt x="14" y="16"/>
                  </a:lnTo>
                  <a:lnTo>
                    <a:pt x="13" y="13"/>
                  </a:lnTo>
                  <a:lnTo>
                    <a:pt x="14" y="10"/>
                  </a:lnTo>
                  <a:lnTo>
                    <a:pt x="15" y="11"/>
                  </a:lnTo>
                  <a:lnTo>
                    <a:pt x="16" y="11"/>
                  </a:lnTo>
                  <a:lnTo>
                    <a:pt x="21" y="12"/>
                  </a:lnTo>
                  <a:lnTo>
                    <a:pt x="24" y="12"/>
                  </a:lnTo>
                  <a:lnTo>
                    <a:pt x="28" y="11"/>
                  </a:lnTo>
                  <a:lnTo>
                    <a:pt x="34" y="9"/>
                  </a:lnTo>
                  <a:lnTo>
                    <a:pt x="36" y="8"/>
                  </a:lnTo>
                  <a:lnTo>
                    <a:pt x="45" y="12"/>
                  </a:lnTo>
                  <a:lnTo>
                    <a:pt x="48" y="13"/>
                  </a:lnTo>
                  <a:lnTo>
                    <a:pt x="54" y="12"/>
                  </a:lnTo>
                  <a:lnTo>
                    <a:pt x="58" y="11"/>
                  </a:lnTo>
                  <a:lnTo>
                    <a:pt x="66" y="6"/>
                  </a:lnTo>
                  <a:lnTo>
                    <a:pt x="69" y="5"/>
                  </a:lnTo>
                  <a:lnTo>
                    <a:pt x="73" y="6"/>
                  </a:lnTo>
                  <a:lnTo>
                    <a:pt x="78" y="6"/>
                  </a:lnTo>
                  <a:lnTo>
                    <a:pt x="84" y="5"/>
                  </a:lnTo>
                  <a:lnTo>
                    <a:pt x="88" y="2"/>
                  </a:lnTo>
                  <a:lnTo>
                    <a:pt x="90" y="0"/>
                  </a:lnTo>
                  <a:lnTo>
                    <a:pt x="91" y="0"/>
                  </a:lnTo>
                  <a:lnTo>
                    <a:pt x="91" y="2"/>
                  </a:lnTo>
                  <a:lnTo>
                    <a:pt x="92" y="4"/>
                  </a:lnTo>
                  <a:lnTo>
                    <a:pt x="86" y="11"/>
                  </a:lnTo>
                  <a:lnTo>
                    <a:pt x="84" y="13"/>
                  </a:lnTo>
                  <a:lnTo>
                    <a:pt x="79" y="15"/>
                  </a:lnTo>
                  <a:lnTo>
                    <a:pt x="77" y="16"/>
                  </a:lnTo>
                  <a:lnTo>
                    <a:pt x="75" y="19"/>
                  </a:lnTo>
                  <a:lnTo>
                    <a:pt x="75" y="21"/>
                  </a:lnTo>
                  <a:lnTo>
                    <a:pt x="76" y="24"/>
                  </a:lnTo>
                  <a:lnTo>
                    <a:pt x="76" y="27"/>
                  </a:lnTo>
                  <a:lnTo>
                    <a:pt x="73" y="47"/>
                  </a:lnTo>
                  <a:lnTo>
                    <a:pt x="42" y="66"/>
                  </a:lnTo>
                  <a:lnTo>
                    <a:pt x="41" y="67"/>
                  </a:lnTo>
                  <a:lnTo>
                    <a:pt x="24" y="77"/>
                  </a:lnTo>
                  <a:lnTo>
                    <a:pt x="17" y="82"/>
                  </a:lnTo>
                  <a:lnTo>
                    <a:pt x="16" y="82"/>
                  </a:lnTo>
                  <a:lnTo>
                    <a:pt x="13" y="81"/>
                  </a:lnTo>
                  <a:lnTo>
                    <a:pt x="2" y="7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29" name="Freeform 101">
              <a:extLst>
                <a:ext uri="{FF2B5EF4-FFF2-40B4-BE49-F238E27FC236}">
                  <a16:creationId xmlns:a16="http://schemas.microsoft.com/office/drawing/2014/main" id="{658EEA12-3A73-EC22-721E-39C107BC9D4D}"/>
                </a:ext>
              </a:extLst>
            </p:cNvPr>
            <p:cNvSpPr>
              <a:spLocks/>
            </p:cNvSpPr>
            <p:nvPr/>
          </p:nvSpPr>
          <p:spPr bwMode="auto">
            <a:xfrm>
              <a:off x="5992396" y="4510088"/>
              <a:ext cx="31750" cy="88900"/>
            </a:xfrm>
            <a:custGeom>
              <a:avLst/>
              <a:gdLst/>
              <a:ahLst/>
              <a:cxnLst>
                <a:cxn ang="0">
                  <a:pos x="10" y="56"/>
                </a:cxn>
                <a:cxn ang="0">
                  <a:pos x="6" y="44"/>
                </a:cxn>
                <a:cxn ang="0">
                  <a:pos x="1" y="31"/>
                </a:cxn>
                <a:cxn ang="0">
                  <a:pos x="0" y="29"/>
                </a:cxn>
                <a:cxn ang="0">
                  <a:pos x="1" y="28"/>
                </a:cxn>
                <a:cxn ang="0">
                  <a:pos x="5" y="23"/>
                </a:cxn>
                <a:cxn ang="0">
                  <a:pos x="6" y="20"/>
                </a:cxn>
                <a:cxn ang="0">
                  <a:pos x="7" y="16"/>
                </a:cxn>
                <a:cxn ang="0">
                  <a:pos x="8" y="12"/>
                </a:cxn>
                <a:cxn ang="0">
                  <a:pos x="9" y="7"/>
                </a:cxn>
                <a:cxn ang="0">
                  <a:pos x="10" y="7"/>
                </a:cxn>
                <a:cxn ang="0">
                  <a:pos x="10" y="6"/>
                </a:cxn>
                <a:cxn ang="0">
                  <a:pos x="11" y="4"/>
                </a:cxn>
                <a:cxn ang="0">
                  <a:pos x="11" y="3"/>
                </a:cxn>
                <a:cxn ang="0">
                  <a:pos x="13" y="2"/>
                </a:cxn>
                <a:cxn ang="0">
                  <a:pos x="14" y="2"/>
                </a:cxn>
                <a:cxn ang="0">
                  <a:pos x="14" y="3"/>
                </a:cxn>
                <a:cxn ang="0">
                  <a:pos x="16" y="3"/>
                </a:cxn>
                <a:cxn ang="0">
                  <a:pos x="16" y="1"/>
                </a:cxn>
                <a:cxn ang="0">
                  <a:pos x="17" y="0"/>
                </a:cxn>
                <a:cxn ang="0">
                  <a:pos x="17" y="0"/>
                </a:cxn>
                <a:cxn ang="0">
                  <a:pos x="18" y="0"/>
                </a:cxn>
                <a:cxn ang="0">
                  <a:pos x="19" y="2"/>
                </a:cxn>
                <a:cxn ang="0">
                  <a:pos x="20" y="3"/>
                </a:cxn>
                <a:cxn ang="0">
                  <a:pos x="20" y="4"/>
                </a:cxn>
                <a:cxn ang="0">
                  <a:pos x="20" y="5"/>
                </a:cxn>
                <a:cxn ang="0">
                  <a:pos x="20" y="6"/>
                </a:cxn>
                <a:cxn ang="0">
                  <a:pos x="20" y="6"/>
                </a:cxn>
                <a:cxn ang="0">
                  <a:pos x="19" y="7"/>
                </a:cxn>
                <a:cxn ang="0">
                  <a:pos x="20" y="10"/>
                </a:cxn>
                <a:cxn ang="0">
                  <a:pos x="20" y="12"/>
                </a:cxn>
                <a:cxn ang="0">
                  <a:pos x="19" y="13"/>
                </a:cxn>
                <a:cxn ang="0">
                  <a:pos x="19" y="19"/>
                </a:cxn>
                <a:cxn ang="0">
                  <a:pos x="19" y="24"/>
                </a:cxn>
                <a:cxn ang="0">
                  <a:pos x="18" y="26"/>
                </a:cxn>
                <a:cxn ang="0">
                  <a:pos x="18" y="29"/>
                </a:cxn>
                <a:cxn ang="0">
                  <a:pos x="16" y="35"/>
                </a:cxn>
                <a:cxn ang="0">
                  <a:pos x="13" y="42"/>
                </a:cxn>
                <a:cxn ang="0">
                  <a:pos x="13" y="48"/>
                </a:cxn>
                <a:cxn ang="0">
                  <a:pos x="12" y="54"/>
                </a:cxn>
                <a:cxn ang="0">
                  <a:pos x="11" y="55"/>
                </a:cxn>
                <a:cxn ang="0">
                  <a:pos x="10" y="56"/>
                </a:cxn>
                <a:cxn ang="0">
                  <a:pos x="10" y="56"/>
                </a:cxn>
              </a:cxnLst>
              <a:rect l="0" t="0" r="r" b="b"/>
              <a:pathLst>
                <a:path w="20" h="56">
                  <a:moveTo>
                    <a:pt x="10" y="56"/>
                  </a:moveTo>
                  <a:lnTo>
                    <a:pt x="6" y="44"/>
                  </a:lnTo>
                  <a:lnTo>
                    <a:pt x="1" y="31"/>
                  </a:lnTo>
                  <a:lnTo>
                    <a:pt x="0" y="29"/>
                  </a:lnTo>
                  <a:lnTo>
                    <a:pt x="1" y="28"/>
                  </a:lnTo>
                  <a:lnTo>
                    <a:pt x="5" y="23"/>
                  </a:lnTo>
                  <a:lnTo>
                    <a:pt x="6" y="20"/>
                  </a:lnTo>
                  <a:lnTo>
                    <a:pt x="7" y="16"/>
                  </a:lnTo>
                  <a:lnTo>
                    <a:pt x="8" y="12"/>
                  </a:lnTo>
                  <a:lnTo>
                    <a:pt x="9" y="7"/>
                  </a:lnTo>
                  <a:lnTo>
                    <a:pt x="10" y="7"/>
                  </a:lnTo>
                  <a:lnTo>
                    <a:pt x="10" y="6"/>
                  </a:lnTo>
                  <a:lnTo>
                    <a:pt x="11" y="4"/>
                  </a:lnTo>
                  <a:lnTo>
                    <a:pt x="11" y="3"/>
                  </a:lnTo>
                  <a:lnTo>
                    <a:pt x="13" y="2"/>
                  </a:lnTo>
                  <a:lnTo>
                    <a:pt x="14" y="2"/>
                  </a:lnTo>
                  <a:lnTo>
                    <a:pt x="14" y="3"/>
                  </a:lnTo>
                  <a:lnTo>
                    <a:pt x="16" y="3"/>
                  </a:lnTo>
                  <a:lnTo>
                    <a:pt x="16" y="1"/>
                  </a:lnTo>
                  <a:lnTo>
                    <a:pt x="17" y="0"/>
                  </a:lnTo>
                  <a:lnTo>
                    <a:pt x="17" y="0"/>
                  </a:lnTo>
                  <a:lnTo>
                    <a:pt x="18" y="0"/>
                  </a:lnTo>
                  <a:lnTo>
                    <a:pt x="19" y="2"/>
                  </a:lnTo>
                  <a:lnTo>
                    <a:pt x="20" y="3"/>
                  </a:lnTo>
                  <a:lnTo>
                    <a:pt x="20" y="4"/>
                  </a:lnTo>
                  <a:lnTo>
                    <a:pt x="20" y="5"/>
                  </a:lnTo>
                  <a:lnTo>
                    <a:pt x="20" y="6"/>
                  </a:lnTo>
                  <a:lnTo>
                    <a:pt x="20" y="6"/>
                  </a:lnTo>
                  <a:lnTo>
                    <a:pt x="19" y="7"/>
                  </a:lnTo>
                  <a:lnTo>
                    <a:pt x="20" y="10"/>
                  </a:lnTo>
                  <a:lnTo>
                    <a:pt x="20" y="12"/>
                  </a:lnTo>
                  <a:lnTo>
                    <a:pt x="19" y="13"/>
                  </a:lnTo>
                  <a:lnTo>
                    <a:pt x="19" y="19"/>
                  </a:lnTo>
                  <a:lnTo>
                    <a:pt x="19" y="24"/>
                  </a:lnTo>
                  <a:lnTo>
                    <a:pt x="18" y="26"/>
                  </a:lnTo>
                  <a:lnTo>
                    <a:pt x="18" y="29"/>
                  </a:lnTo>
                  <a:lnTo>
                    <a:pt x="16" y="35"/>
                  </a:lnTo>
                  <a:lnTo>
                    <a:pt x="13" y="42"/>
                  </a:lnTo>
                  <a:lnTo>
                    <a:pt x="13" y="48"/>
                  </a:lnTo>
                  <a:lnTo>
                    <a:pt x="12" y="54"/>
                  </a:lnTo>
                  <a:lnTo>
                    <a:pt x="11" y="55"/>
                  </a:lnTo>
                  <a:lnTo>
                    <a:pt x="10" y="56"/>
                  </a:lnTo>
                  <a:lnTo>
                    <a:pt x="10" y="5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0" name="Freeform 102">
              <a:extLst>
                <a:ext uri="{FF2B5EF4-FFF2-40B4-BE49-F238E27FC236}">
                  <a16:creationId xmlns:a16="http://schemas.microsoft.com/office/drawing/2014/main" id="{CCA4B98F-B7D8-9602-43A5-43ED03FFBFC5}"/>
                </a:ext>
              </a:extLst>
            </p:cNvPr>
            <p:cNvSpPr>
              <a:spLocks/>
            </p:cNvSpPr>
            <p:nvPr/>
          </p:nvSpPr>
          <p:spPr bwMode="auto">
            <a:xfrm>
              <a:off x="5466934" y="5191125"/>
              <a:ext cx="117475" cy="128588"/>
            </a:xfrm>
            <a:custGeom>
              <a:avLst/>
              <a:gdLst/>
              <a:ahLst/>
              <a:cxnLst>
                <a:cxn ang="0">
                  <a:pos x="32" y="0"/>
                </a:cxn>
                <a:cxn ang="0">
                  <a:pos x="47" y="1"/>
                </a:cxn>
                <a:cxn ang="0">
                  <a:pos x="58" y="2"/>
                </a:cxn>
                <a:cxn ang="0">
                  <a:pos x="55" y="9"/>
                </a:cxn>
                <a:cxn ang="0">
                  <a:pos x="57" y="15"/>
                </a:cxn>
                <a:cxn ang="0">
                  <a:pos x="65" y="12"/>
                </a:cxn>
                <a:cxn ang="0">
                  <a:pos x="71" y="14"/>
                </a:cxn>
                <a:cxn ang="0">
                  <a:pos x="72" y="22"/>
                </a:cxn>
                <a:cxn ang="0">
                  <a:pos x="66" y="27"/>
                </a:cxn>
                <a:cxn ang="0">
                  <a:pos x="65" y="30"/>
                </a:cxn>
                <a:cxn ang="0">
                  <a:pos x="66" y="33"/>
                </a:cxn>
                <a:cxn ang="0">
                  <a:pos x="70" y="36"/>
                </a:cxn>
                <a:cxn ang="0">
                  <a:pos x="74" y="37"/>
                </a:cxn>
                <a:cxn ang="0">
                  <a:pos x="73" y="46"/>
                </a:cxn>
                <a:cxn ang="0">
                  <a:pos x="71" y="59"/>
                </a:cxn>
                <a:cxn ang="0">
                  <a:pos x="68" y="64"/>
                </a:cxn>
                <a:cxn ang="0">
                  <a:pos x="65" y="63"/>
                </a:cxn>
                <a:cxn ang="0">
                  <a:pos x="63" y="58"/>
                </a:cxn>
                <a:cxn ang="0">
                  <a:pos x="59" y="62"/>
                </a:cxn>
                <a:cxn ang="0">
                  <a:pos x="56" y="61"/>
                </a:cxn>
                <a:cxn ang="0">
                  <a:pos x="51" y="55"/>
                </a:cxn>
                <a:cxn ang="0">
                  <a:pos x="49" y="54"/>
                </a:cxn>
                <a:cxn ang="0">
                  <a:pos x="47" y="60"/>
                </a:cxn>
                <a:cxn ang="0">
                  <a:pos x="42" y="63"/>
                </a:cxn>
                <a:cxn ang="0">
                  <a:pos x="36" y="64"/>
                </a:cxn>
                <a:cxn ang="0">
                  <a:pos x="37" y="70"/>
                </a:cxn>
                <a:cxn ang="0">
                  <a:pos x="40" y="74"/>
                </a:cxn>
                <a:cxn ang="0">
                  <a:pos x="39" y="80"/>
                </a:cxn>
                <a:cxn ang="0">
                  <a:pos x="32" y="79"/>
                </a:cxn>
                <a:cxn ang="0">
                  <a:pos x="30" y="81"/>
                </a:cxn>
                <a:cxn ang="0">
                  <a:pos x="24" y="75"/>
                </a:cxn>
                <a:cxn ang="0">
                  <a:pos x="14" y="65"/>
                </a:cxn>
                <a:cxn ang="0">
                  <a:pos x="14" y="62"/>
                </a:cxn>
                <a:cxn ang="0">
                  <a:pos x="5" y="53"/>
                </a:cxn>
                <a:cxn ang="0">
                  <a:pos x="8" y="51"/>
                </a:cxn>
                <a:cxn ang="0">
                  <a:pos x="4" y="47"/>
                </a:cxn>
                <a:cxn ang="0">
                  <a:pos x="0" y="42"/>
                </a:cxn>
                <a:cxn ang="0">
                  <a:pos x="5" y="38"/>
                </a:cxn>
                <a:cxn ang="0">
                  <a:pos x="8" y="30"/>
                </a:cxn>
                <a:cxn ang="0">
                  <a:pos x="11" y="28"/>
                </a:cxn>
                <a:cxn ang="0">
                  <a:pos x="14" y="27"/>
                </a:cxn>
                <a:cxn ang="0">
                  <a:pos x="7" y="23"/>
                </a:cxn>
                <a:cxn ang="0">
                  <a:pos x="10" y="22"/>
                </a:cxn>
                <a:cxn ang="0">
                  <a:pos x="16" y="18"/>
                </a:cxn>
                <a:cxn ang="0">
                  <a:pos x="28" y="18"/>
                </a:cxn>
                <a:cxn ang="0">
                  <a:pos x="32" y="17"/>
                </a:cxn>
                <a:cxn ang="0">
                  <a:pos x="31" y="3"/>
                </a:cxn>
              </a:cxnLst>
              <a:rect l="0" t="0" r="r" b="b"/>
              <a:pathLst>
                <a:path w="74" h="81">
                  <a:moveTo>
                    <a:pt x="31" y="3"/>
                  </a:moveTo>
                  <a:lnTo>
                    <a:pt x="32" y="0"/>
                  </a:lnTo>
                  <a:lnTo>
                    <a:pt x="37" y="0"/>
                  </a:lnTo>
                  <a:lnTo>
                    <a:pt x="47" y="1"/>
                  </a:lnTo>
                  <a:lnTo>
                    <a:pt x="52" y="1"/>
                  </a:lnTo>
                  <a:lnTo>
                    <a:pt x="58" y="2"/>
                  </a:lnTo>
                  <a:lnTo>
                    <a:pt x="56" y="5"/>
                  </a:lnTo>
                  <a:lnTo>
                    <a:pt x="55" y="9"/>
                  </a:lnTo>
                  <a:lnTo>
                    <a:pt x="56" y="13"/>
                  </a:lnTo>
                  <a:lnTo>
                    <a:pt x="57" y="15"/>
                  </a:lnTo>
                  <a:lnTo>
                    <a:pt x="59" y="15"/>
                  </a:lnTo>
                  <a:lnTo>
                    <a:pt x="65" y="12"/>
                  </a:lnTo>
                  <a:lnTo>
                    <a:pt x="68" y="12"/>
                  </a:lnTo>
                  <a:lnTo>
                    <a:pt x="71" y="14"/>
                  </a:lnTo>
                  <a:lnTo>
                    <a:pt x="73" y="19"/>
                  </a:lnTo>
                  <a:lnTo>
                    <a:pt x="72" y="22"/>
                  </a:lnTo>
                  <a:lnTo>
                    <a:pt x="69" y="24"/>
                  </a:lnTo>
                  <a:lnTo>
                    <a:pt x="66" y="27"/>
                  </a:lnTo>
                  <a:lnTo>
                    <a:pt x="65" y="28"/>
                  </a:lnTo>
                  <a:lnTo>
                    <a:pt x="65" y="30"/>
                  </a:lnTo>
                  <a:lnTo>
                    <a:pt x="65" y="31"/>
                  </a:lnTo>
                  <a:lnTo>
                    <a:pt x="66" y="33"/>
                  </a:lnTo>
                  <a:lnTo>
                    <a:pt x="67" y="35"/>
                  </a:lnTo>
                  <a:lnTo>
                    <a:pt x="70" y="36"/>
                  </a:lnTo>
                  <a:lnTo>
                    <a:pt x="73" y="37"/>
                  </a:lnTo>
                  <a:lnTo>
                    <a:pt x="74" y="37"/>
                  </a:lnTo>
                  <a:lnTo>
                    <a:pt x="74" y="39"/>
                  </a:lnTo>
                  <a:lnTo>
                    <a:pt x="73" y="46"/>
                  </a:lnTo>
                  <a:lnTo>
                    <a:pt x="72" y="53"/>
                  </a:lnTo>
                  <a:lnTo>
                    <a:pt x="71" y="59"/>
                  </a:lnTo>
                  <a:lnTo>
                    <a:pt x="70" y="63"/>
                  </a:lnTo>
                  <a:lnTo>
                    <a:pt x="68" y="64"/>
                  </a:lnTo>
                  <a:lnTo>
                    <a:pt x="66" y="63"/>
                  </a:lnTo>
                  <a:lnTo>
                    <a:pt x="65" y="63"/>
                  </a:lnTo>
                  <a:lnTo>
                    <a:pt x="64" y="60"/>
                  </a:lnTo>
                  <a:lnTo>
                    <a:pt x="63" y="58"/>
                  </a:lnTo>
                  <a:lnTo>
                    <a:pt x="61" y="61"/>
                  </a:lnTo>
                  <a:lnTo>
                    <a:pt x="59" y="62"/>
                  </a:lnTo>
                  <a:lnTo>
                    <a:pt x="58" y="62"/>
                  </a:lnTo>
                  <a:lnTo>
                    <a:pt x="56" y="61"/>
                  </a:lnTo>
                  <a:lnTo>
                    <a:pt x="53" y="58"/>
                  </a:lnTo>
                  <a:lnTo>
                    <a:pt x="51" y="55"/>
                  </a:lnTo>
                  <a:lnTo>
                    <a:pt x="50" y="54"/>
                  </a:lnTo>
                  <a:lnTo>
                    <a:pt x="49" y="54"/>
                  </a:lnTo>
                  <a:lnTo>
                    <a:pt x="47" y="55"/>
                  </a:lnTo>
                  <a:lnTo>
                    <a:pt x="47" y="60"/>
                  </a:lnTo>
                  <a:lnTo>
                    <a:pt x="46" y="61"/>
                  </a:lnTo>
                  <a:lnTo>
                    <a:pt x="42" y="63"/>
                  </a:lnTo>
                  <a:lnTo>
                    <a:pt x="37" y="64"/>
                  </a:lnTo>
                  <a:lnTo>
                    <a:pt x="36" y="64"/>
                  </a:lnTo>
                  <a:lnTo>
                    <a:pt x="36" y="67"/>
                  </a:lnTo>
                  <a:lnTo>
                    <a:pt x="37" y="70"/>
                  </a:lnTo>
                  <a:lnTo>
                    <a:pt x="39" y="73"/>
                  </a:lnTo>
                  <a:lnTo>
                    <a:pt x="40" y="74"/>
                  </a:lnTo>
                  <a:lnTo>
                    <a:pt x="41" y="76"/>
                  </a:lnTo>
                  <a:lnTo>
                    <a:pt x="39" y="80"/>
                  </a:lnTo>
                  <a:lnTo>
                    <a:pt x="34" y="78"/>
                  </a:lnTo>
                  <a:lnTo>
                    <a:pt x="32" y="79"/>
                  </a:lnTo>
                  <a:lnTo>
                    <a:pt x="31" y="81"/>
                  </a:lnTo>
                  <a:lnTo>
                    <a:pt x="30" y="81"/>
                  </a:lnTo>
                  <a:lnTo>
                    <a:pt x="27" y="78"/>
                  </a:lnTo>
                  <a:lnTo>
                    <a:pt x="24" y="75"/>
                  </a:lnTo>
                  <a:lnTo>
                    <a:pt x="22" y="72"/>
                  </a:lnTo>
                  <a:lnTo>
                    <a:pt x="14" y="65"/>
                  </a:lnTo>
                  <a:lnTo>
                    <a:pt x="16" y="63"/>
                  </a:lnTo>
                  <a:lnTo>
                    <a:pt x="14" y="62"/>
                  </a:lnTo>
                  <a:lnTo>
                    <a:pt x="11" y="61"/>
                  </a:lnTo>
                  <a:lnTo>
                    <a:pt x="5" y="53"/>
                  </a:lnTo>
                  <a:lnTo>
                    <a:pt x="8" y="51"/>
                  </a:lnTo>
                  <a:lnTo>
                    <a:pt x="8" y="51"/>
                  </a:lnTo>
                  <a:lnTo>
                    <a:pt x="7" y="48"/>
                  </a:lnTo>
                  <a:lnTo>
                    <a:pt x="4" y="47"/>
                  </a:lnTo>
                  <a:lnTo>
                    <a:pt x="2" y="44"/>
                  </a:lnTo>
                  <a:lnTo>
                    <a:pt x="0" y="42"/>
                  </a:lnTo>
                  <a:lnTo>
                    <a:pt x="2" y="40"/>
                  </a:lnTo>
                  <a:lnTo>
                    <a:pt x="5" y="38"/>
                  </a:lnTo>
                  <a:lnTo>
                    <a:pt x="7" y="36"/>
                  </a:lnTo>
                  <a:lnTo>
                    <a:pt x="8" y="30"/>
                  </a:lnTo>
                  <a:lnTo>
                    <a:pt x="8" y="28"/>
                  </a:lnTo>
                  <a:lnTo>
                    <a:pt x="11" y="28"/>
                  </a:lnTo>
                  <a:lnTo>
                    <a:pt x="14" y="29"/>
                  </a:lnTo>
                  <a:lnTo>
                    <a:pt x="14" y="27"/>
                  </a:lnTo>
                  <a:lnTo>
                    <a:pt x="10" y="25"/>
                  </a:lnTo>
                  <a:lnTo>
                    <a:pt x="7" y="23"/>
                  </a:lnTo>
                  <a:lnTo>
                    <a:pt x="8" y="22"/>
                  </a:lnTo>
                  <a:lnTo>
                    <a:pt x="10" y="22"/>
                  </a:lnTo>
                  <a:lnTo>
                    <a:pt x="11" y="18"/>
                  </a:lnTo>
                  <a:lnTo>
                    <a:pt x="16" y="18"/>
                  </a:lnTo>
                  <a:lnTo>
                    <a:pt x="21" y="18"/>
                  </a:lnTo>
                  <a:lnTo>
                    <a:pt x="28" y="18"/>
                  </a:lnTo>
                  <a:lnTo>
                    <a:pt x="32" y="18"/>
                  </a:lnTo>
                  <a:lnTo>
                    <a:pt x="32" y="17"/>
                  </a:lnTo>
                  <a:lnTo>
                    <a:pt x="32" y="14"/>
                  </a:lnTo>
                  <a:lnTo>
                    <a:pt x="31" y="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1" name="Freeform 103">
              <a:extLst>
                <a:ext uri="{FF2B5EF4-FFF2-40B4-BE49-F238E27FC236}">
                  <a16:creationId xmlns:a16="http://schemas.microsoft.com/office/drawing/2014/main" id="{3564B3B0-537E-8551-30F0-8349429049BE}"/>
                </a:ext>
              </a:extLst>
            </p:cNvPr>
            <p:cNvSpPr>
              <a:spLocks noEditPoints="1"/>
            </p:cNvSpPr>
            <p:nvPr/>
          </p:nvSpPr>
          <p:spPr bwMode="auto">
            <a:xfrm>
              <a:off x="3717509" y="5610225"/>
              <a:ext cx="177800" cy="996950"/>
            </a:xfrm>
            <a:custGeom>
              <a:avLst/>
              <a:gdLst/>
              <a:ahLst/>
              <a:cxnLst>
                <a:cxn ang="0">
                  <a:pos x="77" y="575"/>
                </a:cxn>
                <a:cxn ang="0">
                  <a:pos x="61" y="595"/>
                </a:cxn>
                <a:cxn ang="0">
                  <a:pos x="54" y="590"/>
                </a:cxn>
                <a:cxn ang="0">
                  <a:pos x="36" y="588"/>
                </a:cxn>
                <a:cxn ang="0">
                  <a:pos x="47" y="576"/>
                </a:cxn>
                <a:cxn ang="0">
                  <a:pos x="35" y="562"/>
                </a:cxn>
                <a:cxn ang="0">
                  <a:pos x="23" y="556"/>
                </a:cxn>
                <a:cxn ang="0">
                  <a:pos x="17" y="543"/>
                </a:cxn>
                <a:cxn ang="0">
                  <a:pos x="22" y="532"/>
                </a:cxn>
                <a:cxn ang="0">
                  <a:pos x="21" y="511"/>
                </a:cxn>
                <a:cxn ang="0">
                  <a:pos x="21" y="483"/>
                </a:cxn>
                <a:cxn ang="0">
                  <a:pos x="16" y="478"/>
                </a:cxn>
                <a:cxn ang="0">
                  <a:pos x="19" y="469"/>
                </a:cxn>
                <a:cxn ang="0">
                  <a:pos x="6" y="454"/>
                </a:cxn>
                <a:cxn ang="0">
                  <a:pos x="12" y="442"/>
                </a:cxn>
                <a:cxn ang="0">
                  <a:pos x="15" y="455"/>
                </a:cxn>
                <a:cxn ang="0">
                  <a:pos x="26" y="449"/>
                </a:cxn>
                <a:cxn ang="0">
                  <a:pos x="29" y="430"/>
                </a:cxn>
                <a:cxn ang="0">
                  <a:pos x="38" y="415"/>
                </a:cxn>
                <a:cxn ang="0">
                  <a:pos x="35" y="393"/>
                </a:cxn>
                <a:cxn ang="0">
                  <a:pos x="40" y="372"/>
                </a:cxn>
                <a:cxn ang="0">
                  <a:pos x="33" y="364"/>
                </a:cxn>
                <a:cxn ang="0">
                  <a:pos x="21" y="351"/>
                </a:cxn>
                <a:cxn ang="0">
                  <a:pos x="27" y="309"/>
                </a:cxn>
                <a:cxn ang="0">
                  <a:pos x="29" y="291"/>
                </a:cxn>
                <a:cxn ang="0">
                  <a:pos x="42" y="259"/>
                </a:cxn>
                <a:cxn ang="0">
                  <a:pos x="51" y="232"/>
                </a:cxn>
                <a:cxn ang="0">
                  <a:pos x="52" y="210"/>
                </a:cxn>
                <a:cxn ang="0">
                  <a:pos x="56" y="170"/>
                </a:cxn>
                <a:cxn ang="0">
                  <a:pos x="61" y="137"/>
                </a:cxn>
                <a:cxn ang="0">
                  <a:pos x="66" y="101"/>
                </a:cxn>
                <a:cxn ang="0">
                  <a:pos x="65" y="79"/>
                </a:cxn>
                <a:cxn ang="0">
                  <a:pos x="71" y="57"/>
                </a:cxn>
                <a:cxn ang="0">
                  <a:pos x="74" y="7"/>
                </a:cxn>
                <a:cxn ang="0">
                  <a:pos x="87" y="17"/>
                </a:cxn>
                <a:cxn ang="0">
                  <a:pos x="96" y="50"/>
                </a:cxn>
                <a:cxn ang="0">
                  <a:pos x="111" y="76"/>
                </a:cxn>
                <a:cxn ang="0">
                  <a:pos x="92" y="100"/>
                </a:cxn>
                <a:cxn ang="0">
                  <a:pos x="92" y="123"/>
                </a:cxn>
                <a:cxn ang="0">
                  <a:pos x="87" y="136"/>
                </a:cxn>
                <a:cxn ang="0">
                  <a:pos x="74" y="182"/>
                </a:cxn>
                <a:cxn ang="0">
                  <a:pos x="70" y="215"/>
                </a:cxn>
                <a:cxn ang="0">
                  <a:pos x="68" y="271"/>
                </a:cxn>
                <a:cxn ang="0">
                  <a:pos x="61" y="315"/>
                </a:cxn>
                <a:cxn ang="0">
                  <a:pos x="48" y="349"/>
                </a:cxn>
                <a:cxn ang="0">
                  <a:pos x="45" y="390"/>
                </a:cxn>
                <a:cxn ang="0">
                  <a:pos x="56" y="416"/>
                </a:cxn>
                <a:cxn ang="0">
                  <a:pos x="47" y="425"/>
                </a:cxn>
                <a:cxn ang="0">
                  <a:pos x="49" y="465"/>
                </a:cxn>
                <a:cxn ang="0">
                  <a:pos x="42" y="489"/>
                </a:cxn>
                <a:cxn ang="0">
                  <a:pos x="31" y="540"/>
                </a:cxn>
                <a:cxn ang="0">
                  <a:pos x="53" y="566"/>
                </a:cxn>
                <a:cxn ang="0">
                  <a:pos x="83" y="628"/>
                </a:cxn>
                <a:cxn ang="0">
                  <a:pos x="63" y="625"/>
                </a:cxn>
                <a:cxn ang="0">
                  <a:pos x="81" y="614"/>
                </a:cxn>
                <a:cxn ang="0">
                  <a:pos x="80" y="597"/>
                </a:cxn>
                <a:cxn ang="0">
                  <a:pos x="75" y="582"/>
                </a:cxn>
                <a:cxn ang="0">
                  <a:pos x="29" y="584"/>
                </a:cxn>
                <a:cxn ang="0">
                  <a:pos x="35" y="570"/>
                </a:cxn>
                <a:cxn ang="0">
                  <a:pos x="17" y="396"/>
                </a:cxn>
                <a:cxn ang="0">
                  <a:pos x="25" y="371"/>
                </a:cxn>
                <a:cxn ang="0">
                  <a:pos x="23" y="398"/>
                </a:cxn>
              </a:cxnLst>
              <a:rect l="0" t="0" r="r" b="b"/>
              <a:pathLst>
                <a:path w="112" h="628">
                  <a:moveTo>
                    <a:pt x="92" y="573"/>
                  </a:moveTo>
                  <a:lnTo>
                    <a:pt x="90" y="574"/>
                  </a:lnTo>
                  <a:lnTo>
                    <a:pt x="85" y="573"/>
                  </a:lnTo>
                  <a:lnTo>
                    <a:pt x="82" y="570"/>
                  </a:lnTo>
                  <a:lnTo>
                    <a:pt x="81" y="570"/>
                  </a:lnTo>
                  <a:lnTo>
                    <a:pt x="79" y="571"/>
                  </a:lnTo>
                  <a:lnTo>
                    <a:pt x="77" y="575"/>
                  </a:lnTo>
                  <a:lnTo>
                    <a:pt x="74" y="577"/>
                  </a:lnTo>
                  <a:lnTo>
                    <a:pt x="67" y="578"/>
                  </a:lnTo>
                  <a:lnTo>
                    <a:pt x="65" y="579"/>
                  </a:lnTo>
                  <a:lnTo>
                    <a:pt x="63" y="581"/>
                  </a:lnTo>
                  <a:lnTo>
                    <a:pt x="61" y="587"/>
                  </a:lnTo>
                  <a:lnTo>
                    <a:pt x="60" y="590"/>
                  </a:lnTo>
                  <a:lnTo>
                    <a:pt x="61" y="595"/>
                  </a:lnTo>
                  <a:lnTo>
                    <a:pt x="60" y="602"/>
                  </a:lnTo>
                  <a:lnTo>
                    <a:pt x="59" y="603"/>
                  </a:lnTo>
                  <a:lnTo>
                    <a:pt x="56" y="603"/>
                  </a:lnTo>
                  <a:lnTo>
                    <a:pt x="53" y="604"/>
                  </a:lnTo>
                  <a:lnTo>
                    <a:pt x="48" y="600"/>
                  </a:lnTo>
                  <a:lnTo>
                    <a:pt x="52" y="594"/>
                  </a:lnTo>
                  <a:lnTo>
                    <a:pt x="54" y="590"/>
                  </a:lnTo>
                  <a:lnTo>
                    <a:pt x="57" y="586"/>
                  </a:lnTo>
                  <a:lnTo>
                    <a:pt x="57" y="584"/>
                  </a:lnTo>
                  <a:lnTo>
                    <a:pt x="55" y="583"/>
                  </a:lnTo>
                  <a:lnTo>
                    <a:pt x="53" y="582"/>
                  </a:lnTo>
                  <a:lnTo>
                    <a:pt x="45" y="587"/>
                  </a:lnTo>
                  <a:lnTo>
                    <a:pt x="39" y="586"/>
                  </a:lnTo>
                  <a:lnTo>
                    <a:pt x="36" y="588"/>
                  </a:lnTo>
                  <a:lnTo>
                    <a:pt x="35" y="585"/>
                  </a:lnTo>
                  <a:lnTo>
                    <a:pt x="36" y="583"/>
                  </a:lnTo>
                  <a:lnTo>
                    <a:pt x="41" y="580"/>
                  </a:lnTo>
                  <a:lnTo>
                    <a:pt x="43" y="581"/>
                  </a:lnTo>
                  <a:lnTo>
                    <a:pt x="48" y="579"/>
                  </a:lnTo>
                  <a:lnTo>
                    <a:pt x="50" y="577"/>
                  </a:lnTo>
                  <a:lnTo>
                    <a:pt x="47" y="576"/>
                  </a:lnTo>
                  <a:lnTo>
                    <a:pt x="43" y="576"/>
                  </a:lnTo>
                  <a:lnTo>
                    <a:pt x="39" y="576"/>
                  </a:lnTo>
                  <a:lnTo>
                    <a:pt x="39" y="572"/>
                  </a:lnTo>
                  <a:lnTo>
                    <a:pt x="40" y="569"/>
                  </a:lnTo>
                  <a:lnTo>
                    <a:pt x="40" y="567"/>
                  </a:lnTo>
                  <a:lnTo>
                    <a:pt x="38" y="567"/>
                  </a:lnTo>
                  <a:lnTo>
                    <a:pt x="35" y="562"/>
                  </a:lnTo>
                  <a:lnTo>
                    <a:pt x="32" y="566"/>
                  </a:lnTo>
                  <a:lnTo>
                    <a:pt x="28" y="564"/>
                  </a:lnTo>
                  <a:lnTo>
                    <a:pt x="29" y="559"/>
                  </a:lnTo>
                  <a:lnTo>
                    <a:pt x="30" y="558"/>
                  </a:lnTo>
                  <a:lnTo>
                    <a:pt x="27" y="558"/>
                  </a:lnTo>
                  <a:lnTo>
                    <a:pt x="25" y="559"/>
                  </a:lnTo>
                  <a:lnTo>
                    <a:pt x="23" y="556"/>
                  </a:lnTo>
                  <a:lnTo>
                    <a:pt x="21" y="555"/>
                  </a:lnTo>
                  <a:lnTo>
                    <a:pt x="24" y="552"/>
                  </a:lnTo>
                  <a:lnTo>
                    <a:pt x="25" y="550"/>
                  </a:lnTo>
                  <a:lnTo>
                    <a:pt x="24" y="547"/>
                  </a:lnTo>
                  <a:lnTo>
                    <a:pt x="24" y="547"/>
                  </a:lnTo>
                  <a:lnTo>
                    <a:pt x="22" y="547"/>
                  </a:lnTo>
                  <a:lnTo>
                    <a:pt x="17" y="543"/>
                  </a:lnTo>
                  <a:lnTo>
                    <a:pt x="17" y="543"/>
                  </a:lnTo>
                  <a:lnTo>
                    <a:pt x="21" y="541"/>
                  </a:lnTo>
                  <a:lnTo>
                    <a:pt x="23" y="539"/>
                  </a:lnTo>
                  <a:lnTo>
                    <a:pt x="23" y="537"/>
                  </a:lnTo>
                  <a:lnTo>
                    <a:pt x="26" y="533"/>
                  </a:lnTo>
                  <a:lnTo>
                    <a:pt x="26" y="531"/>
                  </a:lnTo>
                  <a:lnTo>
                    <a:pt x="22" y="532"/>
                  </a:lnTo>
                  <a:lnTo>
                    <a:pt x="21" y="532"/>
                  </a:lnTo>
                  <a:lnTo>
                    <a:pt x="19" y="532"/>
                  </a:lnTo>
                  <a:lnTo>
                    <a:pt x="17" y="526"/>
                  </a:lnTo>
                  <a:lnTo>
                    <a:pt x="21" y="522"/>
                  </a:lnTo>
                  <a:lnTo>
                    <a:pt x="17" y="519"/>
                  </a:lnTo>
                  <a:lnTo>
                    <a:pt x="17" y="515"/>
                  </a:lnTo>
                  <a:lnTo>
                    <a:pt x="21" y="511"/>
                  </a:lnTo>
                  <a:lnTo>
                    <a:pt x="20" y="507"/>
                  </a:lnTo>
                  <a:lnTo>
                    <a:pt x="17" y="511"/>
                  </a:lnTo>
                  <a:lnTo>
                    <a:pt x="16" y="497"/>
                  </a:lnTo>
                  <a:lnTo>
                    <a:pt x="18" y="492"/>
                  </a:lnTo>
                  <a:lnTo>
                    <a:pt x="17" y="484"/>
                  </a:lnTo>
                  <a:lnTo>
                    <a:pt x="17" y="483"/>
                  </a:lnTo>
                  <a:lnTo>
                    <a:pt x="21" y="483"/>
                  </a:lnTo>
                  <a:lnTo>
                    <a:pt x="23" y="485"/>
                  </a:lnTo>
                  <a:lnTo>
                    <a:pt x="27" y="486"/>
                  </a:lnTo>
                  <a:lnTo>
                    <a:pt x="28" y="483"/>
                  </a:lnTo>
                  <a:lnTo>
                    <a:pt x="28" y="482"/>
                  </a:lnTo>
                  <a:lnTo>
                    <a:pt x="23" y="478"/>
                  </a:lnTo>
                  <a:lnTo>
                    <a:pt x="18" y="479"/>
                  </a:lnTo>
                  <a:lnTo>
                    <a:pt x="16" y="478"/>
                  </a:lnTo>
                  <a:lnTo>
                    <a:pt x="13" y="478"/>
                  </a:lnTo>
                  <a:lnTo>
                    <a:pt x="13" y="476"/>
                  </a:lnTo>
                  <a:lnTo>
                    <a:pt x="15" y="473"/>
                  </a:lnTo>
                  <a:lnTo>
                    <a:pt x="15" y="471"/>
                  </a:lnTo>
                  <a:lnTo>
                    <a:pt x="15" y="471"/>
                  </a:lnTo>
                  <a:lnTo>
                    <a:pt x="16" y="469"/>
                  </a:lnTo>
                  <a:lnTo>
                    <a:pt x="19" y="469"/>
                  </a:lnTo>
                  <a:lnTo>
                    <a:pt x="20" y="466"/>
                  </a:lnTo>
                  <a:lnTo>
                    <a:pt x="20" y="464"/>
                  </a:lnTo>
                  <a:lnTo>
                    <a:pt x="16" y="460"/>
                  </a:lnTo>
                  <a:lnTo>
                    <a:pt x="14" y="459"/>
                  </a:lnTo>
                  <a:lnTo>
                    <a:pt x="9" y="460"/>
                  </a:lnTo>
                  <a:lnTo>
                    <a:pt x="7" y="459"/>
                  </a:lnTo>
                  <a:lnTo>
                    <a:pt x="6" y="454"/>
                  </a:lnTo>
                  <a:lnTo>
                    <a:pt x="1" y="456"/>
                  </a:lnTo>
                  <a:lnTo>
                    <a:pt x="0" y="455"/>
                  </a:lnTo>
                  <a:lnTo>
                    <a:pt x="1" y="454"/>
                  </a:lnTo>
                  <a:lnTo>
                    <a:pt x="7" y="449"/>
                  </a:lnTo>
                  <a:lnTo>
                    <a:pt x="9" y="448"/>
                  </a:lnTo>
                  <a:lnTo>
                    <a:pt x="11" y="445"/>
                  </a:lnTo>
                  <a:lnTo>
                    <a:pt x="12" y="442"/>
                  </a:lnTo>
                  <a:lnTo>
                    <a:pt x="17" y="441"/>
                  </a:lnTo>
                  <a:lnTo>
                    <a:pt x="19" y="443"/>
                  </a:lnTo>
                  <a:lnTo>
                    <a:pt x="20" y="446"/>
                  </a:lnTo>
                  <a:lnTo>
                    <a:pt x="15" y="448"/>
                  </a:lnTo>
                  <a:lnTo>
                    <a:pt x="14" y="450"/>
                  </a:lnTo>
                  <a:lnTo>
                    <a:pt x="14" y="454"/>
                  </a:lnTo>
                  <a:lnTo>
                    <a:pt x="15" y="455"/>
                  </a:lnTo>
                  <a:lnTo>
                    <a:pt x="16" y="454"/>
                  </a:lnTo>
                  <a:lnTo>
                    <a:pt x="18" y="450"/>
                  </a:lnTo>
                  <a:lnTo>
                    <a:pt x="19" y="450"/>
                  </a:lnTo>
                  <a:lnTo>
                    <a:pt x="20" y="451"/>
                  </a:lnTo>
                  <a:lnTo>
                    <a:pt x="20" y="453"/>
                  </a:lnTo>
                  <a:lnTo>
                    <a:pt x="20" y="457"/>
                  </a:lnTo>
                  <a:lnTo>
                    <a:pt x="26" y="449"/>
                  </a:lnTo>
                  <a:lnTo>
                    <a:pt x="26" y="443"/>
                  </a:lnTo>
                  <a:lnTo>
                    <a:pt x="27" y="438"/>
                  </a:lnTo>
                  <a:lnTo>
                    <a:pt x="28" y="435"/>
                  </a:lnTo>
                  <a:lnTo>
                    <a:pt x="29" y="434"/>
                  </a:lnTo>
                  <a:lnTo>
                    <a:pt x="32" y="432"/>
                  </a:lnTo>
                  <a:lnTo>
                    <a:pt x="31" y="432"/>
                  </a:lnTo>
                  <a:lnTo>
                    <a:pt x="29" y="430"/>
                  </a:lnTo>
                  <a:lnTo>
                    <a:pt x="28" y="429"/>
                  </a:lnTo>
                  <a:lnTo>
                    <a:pt x="29" y="427"/>
                  </a:lnTo>
                  <a:lnTo>
                    <a:pt x="30" y="426"/>
                  </a:lnTo>
                  <a:lnTo>
                    <a:pt x="34" y="424"/>
                  </a:lnTo>
                  <a:lnTo>
                    <a:pt x="37" y="421"/>
                  </a:lnTo>
                  <a:lnTo>
                    <a:pt x="39" y="417"/>
                  </a:lnTo>
                  <a:lnTo>
                    <a:pt x="38" y="415"/>
                  </a:lnTo>
                  <a:lnTo>
                    <a:pt x="36" y="414"/>
                  </a:lnTo>
                  <a:lnTo>
                    <a:pt x="32" y="411"/>
                  </a:lnTo>
                  <a:lnTo>
                    <a:pt x="32" y="408"/>
                  </a:lnTo>
                  <a:lnTo>
                    <a:pt x="33" y="406"/>
                  </a:lnTo>
                  <a:lnTo>
                    <a:pt x="33" y="402"/>
                  </a:lnTo>
                  <a:lnTo>
                    <a:pt x="33" y="395"/>
                  </a:lnTo>
                  <a:lnTo>
                    <a:pt x="35" y="393"/>
                  </a:lnTo>
                  <a:lnTo>
                    <a:pt x="39" y="390"/>
                  </a:lnTo>
                  <a:lnTo>
                    <a:pt x="36" y="385"/>
                  </a:lnTo>
                  <a:lnTo>
                    <a:pt x="36" y="379"/>
                  </a:lnTo>
                  <a:lnTo>
                    <a:pt x="37" y="378"/>
                  </a:lnTo>
                  <a:lnTo>
                    <a:pt x="40" y="377"/>
                  </a:lnTo>
                  <a:lnTo>
                    <a:pt x="41" y="374"/>
                  </a:lnTo>
                  <a:lnTo>
                    <a:pt x="40" y="372"/>
                  </a:lnTo>
                  <a:lnTo>
                    <a:pt x="38" y="371"/>
                  </a:lnTo>
                  <a:lnTo>
                    <a:pt x="36" y="370"/>
                  </a:lnTo>
                  <a:lnTo>
                    <a:pt x="38" y="367"/>
                  </a:lnTo>
                  <a:lnTo>
                    <a:pt x="38" y="365"/>
                  </a:lnTo>
                  <a:lnTo>
                    <a:pt x="36" y="363"/>
                  </a:lnTo>
                  <a:lnTo>
                    <a:pt x="35" y="363"/>
                  </a:lnTo>
                  <a:lnTo>
                    <a:pt x="33" y="364"/>
                  </a:lnTo>
                  <a:lnTo>
                    <a:pt x="31" y="367"/>
                  </a:lnTo>
                  <a:lnTo>
                    <a:pt x="27" y="368"/>
                  </a:lnTo>
                  <a:lnTo>
                    <a:pt x="27" y="368"/>
                  </a:lnTo>
                  <a:lnTo>
                    <a:pt x="25" y="366"/>
                  </a:lnTo>
                  <a:lnTo>
                    <a:pt x="24" y="362"/>
                  </a:lnTo>
                  <a:lnTo>
                    <a:pt x="22" y="357"/>
                  </a:lnTo>
                  <a:lnTo>
                    <a:pt x="21" y="351"/>
                  </a:lnTo>
                  <a:lnTo>
                    <a:pt x="22" y="344"/>
                  </a:lnTo>
                  <a:lnTo>
                    <a:pt x="23" y="341"/>
                  </a:lnTo>
                  <a:lnTo>
                    <a:pt x="27" y="335"/>
                  </a:lnTo>
                  <a:lnTo>
                    <a:pt x="30" y="330"/>
                  </a:lnTo>
                  <a:lnTo>
                    <a:pt x="30" y="327"/>
                  </a:lnTo>
                  <a:lnTo>
                    <a:pt x="27" y="313"/>
                  </a:lnTo>
                  <a:lnTo>
                    <a:pt x="27" y="309"/>
                  </a:lnTo>
                  <a:lnTo>
                    <a:pt x="28" y="305"/>
                  </a:lnTo>
                  <a:lnTo>
                    <a:pt x="27" y="301"/>
                  </a:lnTo>
                  <a:lnTo>
                    <a:pt x="24" y="295"/>
                  </a:lnTo>
                  <a:lnTo>
                    <a:pt x="24" y="293"/>
                  </a:lnTo>
                  <a:lnTo>
                    <a:pt x="25" y="291"/>
                  </a:lnTo>
                  <a:lnTo>
                    <a:pt x="28" y="292"/>
                  </a:lnTo>
                  <a:lnTo>
                    <a:pt x="29" y="291"/>
                  </a:lnTo>
                  <a:lnTo>
                    <a:pt x="30" y="290"/>
                  </a:lnTo>
                  <a:lnTo>
                    <a:pt x="31" y="289"/>
                  </a:lnTo>
                  <a:lnTo>
                    <a:pt x="33" y="280"/>
                  </a:lnTo>
                  <a:lnTo>
                    <a:pt x="35" y="276"/>
                  </a:lnTo>
                  <a:lnTo>
                    <a:pt x="37" y="270"/>
                  </a:lnTo>
                  <a:lnTo>
                    <a:pt x="38" y="265"/>
                  </a:lnTo>
                  <a:lnTo>
                    <a:pt x="42" y="259"/>
                  </a:lnTo>
                  <a:lnTo>
                    <a:pt x="44" y="254"/>
                  </a:lnTo>
                  <a:lnTo>
                    <a:pt x="45" y="249"/>
                  </a:lnTo>
                  <a:lnTo>
                    <a:pt x="47" y="243"/>
                  </a:lnTo>
                  <a:lnTo>
                    <a:pt x="48" y="238"/>
                  </a:lnTo>
                  <a:lnTo>
                    <a:pt x="50" y="237"/>
                  </a:lnTo>
                  <a:lnTo>
                    <a:pt x="51" y="234"/>
                  </a:lnTo>
                  <a:lnTo>
                    <a:pt x="51" y="232"/>
                  </a:lnTo>
                  <a:lnTo>
                    <a:pt x="49" y="226"/>
                  </a:lnTo>
                  <a:lnTo>
                    <a:pt x="50" y="225"/>
                  </a:lnTo>
                  <a:lnTo>
                    <a:pt x="53" y="222"/>
                  </a:lnTo>
                  <a:lnTo>
                    <a:pt x="54" y="219"/>
                  </a:lnTo>
                  <a:lnTo>
                    <a:pt x="54" y="217"/>
                  </a:lnTo>
                  <a:lnTo>
                    <a:pt x="53" y="216"/>
                  </a:lnTo>
                  <a:lnTo>
                    <a:pt x="52" y="210"/>
                  </a:lnTo>
                  <a:lnTo>
                    <a:pt x="51" y="196"/>
                  </a:lnTo>
                  <a:lnTo>
                    <a:pt x="50" y="190"/>
                  </a:lnTo>
                  <a:lnTo>
                    <a:pt x="50" y="186"/>
                  </a:lnTo>
                  <a:lnTo>
                    <a:pt x="53" y="182"/>
                  </a:lnTo>
                  <a:lnTo>
                    <a:pt x="55" y="178"/>
                  </a:lnTo>
                  <a:lnTo>
                    <a:pt x="56" y="175"/>
                  </a:lnTo>
                  <a:lnTo>
                    <a:pt x="56" y="170"/>
                  </a:lnTo>
                  <a:lnTo>
                    <a:pt x="54" y="166"/>
                  </a:lnTo>
                  <a:lnTo>
                    <a:pt x="54" y="163"/>
                  </a:lnTo>
                  <a:lnTo>
                    <a:pt x="55" y="157"/>
                  </a:lnTo>
                  <a:lnTo>
                    <a:pt x="57" y="151"/>
                  </a:lnTo>
                  <a:lnTo>
                    <a:pt x="57" y="147"/>
                  </a:lnTo>
                  <a:lnTo>
                    <a:pt x="60" y="143"/>
                  </a:lnTo>
                  <a:lnTo>
                    <a:pt x="61" y="137"/>
                  </a:lnTo>
                  <a:lnTo>
                    <a:pt x="62" y="130"/>
                  </a:lnTo>
                  <a:lnTo>
                    <a:pt x="63" y="125"/>
                  </a:lnTo>
                  <a:lnTo>
                    <a:pt x="64" y="121"/>
                  </a:lnTo>
                  <a:lnTo>
                    <a:pt x="63" y="114"/>
                  </a:lnTo>
                  <a:lnTo>
                    <a:pt x="66" y="110"/>
                  </a:lnTo>
                  <a:lnTo>
                    <a:pt x="67" y="107"/>
                  </a:lnTo>
                  <a:lnTo>
                    <a:pt x="66" y="101"/>
                  </a:lnTo>
                  <a:lnTo>
                    <a:pt x="65" y="96"/>
                  </a:lnTo>
                  <a:lnTo>
                    <a:pt x="66" y="94"/>
                  </a:lnTo>
                  <a:lnTo>
                    <a:pt x="66" y="88"/>
                  </a:lnTo>
                  <a:lnTo>
                    <a:pt x="68" y="84"/>
                  </a:lnTo>
                  <a:lnTo>
                    <a:pt x="67" y="82"/>
                  </a:lnTo>
                  <a:lnTo>
                    <a:pt x="65" y="82"/>
                  </a:lnTo>
                  <a:lnTo>
                    <a:pt x="65" y="79"/>
                  </a:lnTo>
                  <a:lnTo>
                    <a:pt x="65" y="77"/>
                  </a:lnTo>
                  <a:lnTo>
                    <a:pt x="66" y="76"/>
                  </a:lnTo>
                  <a:lnTo>
                    <a:pt x="68" y="75"/>
                  </a:lnTo>
                  <a:lnTo>
                    <a:pt x="69" y="72"/>
                  </a:lnTo>
                  <a:lnTo>
                    <a:pt x="69" y="67"/>
                  </a:lnTo>
                  <a:lnTo>
                    <a:pt x="70" y="63"/>
                  </a:lnTo>
                  <a:lnTo>
                    <a:pt x="71" y="57"/>
                  </a:lnTo>
                  <a:lnTo>
                    <a:pt x="71" y="42"/>
                  </a:lnTo>
                  <a:lnTo>
                    <a:pt x="70" y="29"/>
                  </a:lnTo>
                  <a:lnTo>
                    <a:pt x="69" y="19"/>
                  </a:lnTo>
                  <a:lnTo>
                    <a:pt x="68" y="13"/>
                  </a:lnTo>
                  <a:lnTo>
                    <a:pt x="68" y="11"/>
                  </a:lnTo>
                  <a:lnTo>
                    <a:pt x="72" y="9"/>
                  </a:lnTo>
                  <a:lnTo>
                    <a:pt x="74" y="7"/>
                  </a:lnTo>
                  <a:lnTo>
                    <a:pt x="75" y="2"/>
                  </a:lnTo>
                  <a:lnTo>
                    <a:pt x="76" y="1"/>
                  </a:lnTo>
                  <a:lnTo>
                    <a:pt x="80" y="0"/>
                  </a:lnTo>
                  <a:lnTo>
                    <a:pt x="81" y="1"/>
                  </a:lnTo>
                  <a:lnTo>
                    <a:pt x="84" y="6"/>
                  </a:lnTo>
                  <a:lnTo>
                    <a:pt x="86" y="10"/>
                  </a:lnTo>
                  <a:lnTo>
                    <a:pt x="87" y="17"/>
                  </a:lnTo>
                  <a:lnTo>
                    <a:pt x="88" y="20"/>
                  </a:lnTo>
                  <a:lnTo>
                    <a:pt x="93" y="25"/>
                  </a:lnTo>
                  <a:lnTo>
                    <a:pt x="93" y="27"/>
                  </a:lnTo>
                  <a:lnTo>
                    <a:pt x="90" y="36"/>
                  </a:lnTo>
                  <a:lnTo>
                    <a:pt x="90" y="39"/>
                  </a:lnTo>
                  <a:lnTo>
                    <a:pt x="92" y="43"/>
                  </a:lnTo>
                  <a:lnTo>
                    <a:pt x="96" y="50"/>
                  </a:lnTo>
                  <a:lnTo>
                    <a:pt x="97" y="54"/>
                  </a:lnTo>
                  <a:lnTo>
                    <a:pt x="99" y="60"/>
                  </a:lnTo>
                  <a:lnTo>
                    <a:pt x="101" y="73"/>
                  </a:lnTo>
                  <a:lnTo>
                    <a:pt x="103" y="75"/>
                  </a:lnTo>
                  <a:lnTo>
                    <a:pt x="109" y="74"/>
                  </a:lnTo>
                  <a:lnTo>
                    <a:pt x="110" y="75"/>
                  </a:lnTo>
                  <a:lnTo>
                    <a:pt x="111" y="76"/>
                  </a:lnTo>
                  <a:lnTo>
                    <a:pt x="112" y="76"/>
                  </a:lnTo>
                  <a:lnTo>
                    <a:pt x="111" y="81"/>
                  </a:lnTo>
                  <a:lnTo>
                    <a:pt x="108" y="90"/>
                  </a:lnTo>
                  <a:lnTo>
                    <a:pt x="106" y="92"/>
                  </a:lnTo>
                  <a:lnTo>
                    <a:pt x="98" y="95"/>
                  </a:lnTo>
                  <a:lnTo>
                    <a:pt x="93" y="97"/>
                  </a:lnTo>
                  <a:lnTo>
                    <a:pt x="92" y="100"/>
                  </a:lnTo>
                  <a:lnTo>
                    <a:pt x="93" y="105"/>
                  </a:lnTo>
                  <a:lnTo>
                    <a:pt x="91" y="109"/>
                  </a:lnTo>
                  <a:lnTo>
                    <a:pt x="91" y="113"/>
                  </a:lnTo>
                  <a:lnTo>
                    <a:pt x="92" y="116"/>
                  </a:lnTo>
                  <a:lnTo>
                    <a:pt x="93" y="119"/>
                  </a:lnTo>
                  <a:lnTo>
                    <a:pt x="94" y="121"/>
                  </a:lnTo>
                  <a:lnTo>
                    <a:pt x="92" y="123"/>
                  </a:lnTo>
                  <a:lnTo>
                    <a:pt x="91" y="126"/>
                  </a:lnTo>
                  <a:lnTo>
                    <a:pt x="92" y="129"/>
                  </a:lnTo>
                  <a:lnTo>
                    <a:pt x="95" y="132"/>
                  </a:lnTo>
                  <a:lnTo>
                    <a:pt x="95" y="133"/>
                  </a:lnTo>
                  <a:lnTo>
                    <a:pt x="94" y="136"/>
                  </a:lnTo>
                  <a:lnTo>
                    <a:pt x="92" y="136"/>
                  </a:lnTo>
                  <a:lnTo>
                    <a:pt x="87" y="136"/>
                  </a:lnTo>
                  <a:lnTo>
                    <a:pt x="86" y="142"/>
                  </a:lnTo>
                  <a:lnTo>
                    <a:pt x="83" y="147"/>
                  </a:lnTo>
                  <a:lnTo>
                    <a:pt x="79" y="152"/>
                  </a:lnTo>
                  <a:lnTo>
                    <a:pt x="78" y="155"/>
                  </a:lnTo>
                  <a:lnTo>
                    <a:pt x="73" y="167"/>
                  </a:lnTo>
                  <a:lnTo>
                    <a:pt x="74" y="177"/>
                  </a:lnTo>
                  <a:lnTo>
                    <a:pt x="74" y="182"/>
                  </a:lnTo>
                  <a:lnTo>
                    <a:pt x="74" y="184"/>
                  </a:lnTo>
                  <a:lnTo>
                    <a:pt x="71" y="186"/>
                  </a:lnTo>
                  <a:lnTo>
                    <a:pt x="69" y="188"/>
                  </a:lnTo>
                  <a:lnTo>
                    <a:pt x="66" y="196"/>
                  </a:lnTo>
                  <a:lnTo>
                    <a:pt x="66" y="202"/>
                  </a:lnTo>
                  <a:lnTo>
                    <a:pt x="67" y="207"/>
                  </a:lnTo>
                  <a:lnTo>
                    <a:pt x="70" y="215"/>
                  </a:lnTo>
                  <a:lnTo>
                    <a:pt x="74" y="235"/>
                  </a:lnTo>
                  <a:lnTo>
                    <a:pt x="75" y="240"/>
                  </a:lnTo>
                  <a:lnTo>
                    <a:pt x="74" y="243"/>
                  </a:lnTo>
                  <a:lnTo>
                    <a:pt x="68" y="256"/>
                  </a:lnTo>
                  <a:lnTo>
                    <a:pt x="66" y="260"/>
                  </a:lnTo>
                  <a:lnTo>
                    <a:pt x="66" y="263"/>
                  </a:lnTo>
                  <a:lnTo>
                    <a:pt x="68" y="271"/>
                  </a:lnTo>
                  <a:lnTo>
                    <a:pt x="67" y="273"/>
                  </a:lnTo>
                  <a:lnTo>
                    <a:pt x="59" y="281"/>
                  </a:lnTo>
                  <a:lnTo>
                    <a:pt x="58" y="283"/>
                  </a:lnTo>
                  <a:lnTo>
                    <a:pt x="57" y="291"/>
                  </a:lnTo>
                  <a:lnTo>
                    <a:pt x="57" y="300"/>
                  </a:lnTo>
                  <a:lnTo>
                    <a:pt x="59" y="308"/>
                  </a:lnTo>
                  <a:lnTo>
                    <a:pt x="61" y="315"/>
                  </a:lnTo>
                  <a:lnTo>
                    <a:pt x="60" y="316"/>
                  </a:lnTo>
                  <a:lnTo>
                    <a:pt x="54" y="320"/>
                  </a:lnTo>
                  <a:lnTo>
                    <a:pt x="54" y="322"/>
                  </a:lnTo>
                  <a:lnTo>
                    <a:pt x="53" y="324"/>
                  </a:lnTo>
                  <a:lnTo>
                    <a:pt x="50" y="343"/>
                  </a:lnTo>
                  <a:lnTo>
                    <a:pt x="48" y="347"/>
                  </a:lnTo>
                  <a:lnTo>
                    <a:pt x="48" y="349"/>
                  </a:lnTo>
                  <a:lnTo>
                    <a:pt x="48" y="364"/>
                  </a:lnTo>
                  <a:lnTo>
                    <a:pt x="50" y="371"/>
                  </a:lnTo>
                  <a:lnTo>
                    <a:pt x="50" y="374"/>
                  </a:lnTo>
                  <a:lnTo>
                    <a:pt x="47" y="377"/>
                  </a:lnTo>
                  <a:lnTo>
                    <a:pt x="45" y="378"/>
                  </a:lnTo>
                  <a:lnTo>
                    <a:pt x="45" y="380"/>
                  </a:lnTo>
                  <a:lnTo>
                    <a:pt x="45" y="390"/>
                  </a:lnTo>
                  <a:lnTo>
                    <a:pt x="46" y="391"/>
                  </a:lnTo>
                  <a:lnTo>
                    <a:pt x="50" y="392"/>
                  </a:lnTo>
                  <a:lnTo>
                    <a:pt x="50" y="397"/>
                  </a:lnTo>
                  <a:lnTo>
                    <a:pt x="49" y="409"/>
                  </a:lnTo>
                  <a:lnTo>
                    <a:pt x="50" y="414"/>
                  </a:lnTo>
                  <a:lnTo>
                    <a:pt x="52" y="415"/>
                  </a:lnTo>
                  <a:lnTo>
                    <a:pt x="56" y="416"/>
                  </a:lnTo>
                  <a:lnTo>
                    <a:pt x="58" y="418"/>
                  </a:lnTo>
                  <a:lnTo>
                    <a:pt x="58" y="419"/>
                  </a:lnTo>
                  <a:lnTo>
                    <a:pt x="57" y="421"/>
                  </a:lnTo>
                  <a:lnTo>
                    <a:pt x="55" y="422"/>
                  </a:lnTo>
                  <a:lnTo>
                    <a:pt x="51" y="422"/>
                  </a:lnTo>
                  <a:lnTo>
                    <a:pt x="46" y="423"/>
                  </a:lnTo>
                  <a:lnTo>
                    <a:pt x="47" y="425"/>
                  </a:lnTo>
                  <a:lnTo>
                    <a:pt x="51" y="427"/>
                  </a:lnTo>
                  <a:lnTo>
                    <a:pt x="54" y="430"/>
                  </a:lnTo>
                  <a:lnTo>
                    <a:pt x="54" y="432"/>
                  </a:lnTo>
                  <a:lnTo>
                    <a:pt x="50" y="439"/>
                  </a:lnTo>
                  <a:lnTo>
                    <a:pt x="49" y="448"/>
                  </a:lnTo>
                  <a:lnTo>
                    <a:pt x="50" y="457"/>
                  </a:lnTo>
                  <a:lnTo>
                    <a:pt x="49" y="465"/>
                  </a:lnTo>
                  <a:lnTo>
                    <a:pt x="48" y="469"/>
                  </a:lnTo>
                  <a:lnTo>
                    <a:pt x="46" y="471"/>
                  </a:lnTo>
                  <a:lnTo>
                    <a:pt x="43" y="472"/>
                  </a:lnTo>
                  <a:lnTo>
                    <a:pt x="41" y="474"/>
                  </a:lnTo>
                  <a:lnTo>
                    <a:pt x="39" y="481"/>
                  </a:lnTo>
                  <a:lnTo>
                    <a:pt x="42" y="487"/>
                  </a:lnTo>
                  <a:lnTo>
                    <a:pt x="42" y="489"/>
                  </a:lnTo>
                  <a:lnTo>
                    <a:pt x="40" y="499"/>
                  </a:lnTo>
                  <a:lnTo>
                    <a:pt x="38" y="502"/>
                  </a:lnTo>
                  <a:lnTo>
                    <a:pt x="28" y="511"/>
                  </a:lnTo>
                  <a:lnTo>
                    <a:pt x="27" y="513"/>
                  </a:lnTo>
                  <a:lnTo>
                    <a:pt x="26" y="517"/>
                  </a:lnTo>
                  <a:lnTo>
                    <a:pt x="28" y="529"/>
                  </a:lnTo>
                  <a:lnTo>
                    <a:pt x="31" y="540"/>
                  </a:lnTo>
                  <a:lnTo>
                    <a:pt x="32" y="540"/>
                  </a:lnTo>
                  <a:lnTo>
                    <a:pt x="38" y="538"/>
                  </a:lnTo>
                  <a:lnTo>
                    <a:pt x="42" y="537"/>
                  </a:lnTo>
                  <a:lnTo>
                    <a:pt x="43" y="539"/>
                  </a:lnTo>
                  <a:lnTo>
                    <a:pt x="44" y="560"/>
                  </a:lnTo>
                  <a:lnTo>
                    <a:pt x="49" y="565"/>
                  </a:lnTo>
                  <a:lnTo>
                    <a:pt x="53" y="566"/>
                  </a:lnTo>
                  <a:lnTo>
                    <a:pt x="61" y="565"/>
                  </a:lnTo>
                  <a:lnTo>
                    <a:pt x="78" y="567"/>
                  </a:lnTo>
                  <a:lnTo>
                    <a:pt x="83" y="569"/>
                  </a:lnTo>
                  <a:lnTo>
                    <a:pt x="91" y="572"/>
                  </a:lnTo>
                  <a:lnTo>
                    <a:pt x="92" y="573"/>
                  </a:lnTo>
                  <a:close/>
                  <a:moveTo>
                    <a:pt x="89" y="627"/>
                  </a:moveTo>
                  <a:lnTo>
                    <a:pt x="83" y="628"/>
                  </a:lnTo>
                  <a:lnTo>
                    <a:pt x="80" y="627"/>
                  </a:lnTo>
                  <a:lnTo>
                    <a:pt x="77" y="625"/>
                  </a:lnTo>
                  <a:lnTo>
                    <a:pt x="74" y="625"/>
                  </a:lnTo>
                  <a:lnTo>
                    <a:pt x="71" y="625"/>
                  </a:lnTo>
                  <a:lnTo>
                    <a:pt x="66" y="628"/>
                  </a:lnTo>
                  <a:lnTo>
                    <a:pt x="63" y="628"/>
                  </a:lnTo>
                  <a:lnTo>
                    <a:pt x="63" y="625"/>
                  </a:lnTo>
                  <a:lnTo>
                    <a:pt x="65" y="622"/>
                  </a:lnTo>
                  <a:lnTo>
                    <a:pt x="64" y="618"/>
                  </a:lnTo>
                  <a:lnTo>
                    <a:pt x="69" y="617"/>
                  </a:lnTo>
                  <a:lnTo>
                    <a:pt x="78" y="618"/>
                  </a:lnTo>
                  <a:lnTo>
                    <a:pt x="80" y="621"/>
                  </a:lnTo>
                  <a:lnTo>
                    <a:pt x="84" y="621"/>
                  </a:lnTo>
                  <a:lnTo>
                    <a:pt x="81" y="614"/>
                  </a:lnTo>
                  <a:lnTo>
                    <a:pt x="79" y="612"/>
                  </a:lnTo>
                  <a:lnTo>
                    <a:pt x="76" y="611"/>
                  </a:lnTo>
                  <a:lnTo>
                    <a:pt x="75" y="610"/>
                  </a:lnTo>
                  <a:lnTo>
                    <a:pt x="74" y="610"/>
                  </a:lnTo>
                  <a:lnTo>
                    <a:pt x="72" y="607"/>
                  </a:lnTo>
                  <a:lnTo>
                    <a:pt x="70" y="603"/>
                  </a:lnTo>
                  <a:lnTo>
                    <a:pt x="80" y="597"/>
                  </a:lnTo>
                  <a:lnTo>
                    <a:pt x="80" y="594"/>
                  </a:lnTo>
                  <a:lnTo>
                    <a:pt x="78" y="593"/>
                  </a:lnTo>
                  <a:lnTo>
                    <a:pt x="68" y="595"/>
                  </a:lnTo>
                  <a:lnTo>
                    <a:pt x="66" y="593"/>
                  </a:lnTo>
                  <a:lnTo>
                    <a:pt x="68" y="589"/>
                  </a:lnTo>
                  <a:lnTo>
                    <a:pt x="69" y="587"/>
                  </a:lnTo>
                  <a:lnTo>
                    <a:pt x="75" y="582"/>
                  </a:lnTo>
                  <a:lnTo>
                    <a:pt x="80" y="576"/>
                  </a:lnTo>
                  <a:lnTo>
                    <a:pt x="83" y="579"/>
                  </a:lnTo>
                  <a:lnTo>
                    <a:pt x="89" y="579"/>
                  </a:lnTo>
                  <a:lnTo>
                    <a:pt x="89" y="590"/>
                  </a:lnTo>
                  <a:lnTo>
                    <a:pt x="89" y="627"/>
                  </a:lnTo>
                  <a:close/>
                  <a:moveTo>
                    <a:pt x="32" y="586"/>
                  </a:moveTo>
                  <a:lnTo>
                    <a:pt x="29" y="584"/>
                  </a:lnTo>
                  <a:lnTo>
                    <a:pt x="30" y="576"/>
                  </a:lnTo>
                  <a:lnTo>
                    <a:pt x="25" y="577"/>
                  </a:lnTo>
                  <a:lnTo>
                    <a:pt x="24" y="573"/>
                  </a:lnTo>
                  <a:lnTo>
                    <a:pt x="26" y="570"/>
                  </a:lnTo>
                  <a:lnTo>
                    <a:pt x="30" y="571"/>
                  </a:lnTo>
                  <a:lnTo>
                    <a:pt x="33" y="569"/>
                  </a:lnTo>
                  <a:lnTo>
                    <a:pt x="35" y="570"/>
                  </a:lnTo>
                  <a:lnTo>
                    <a:pt x="35" y="577"/>
                  </a:lnTo>
                  <a:lnTo>
                    <a:pt x="33" y="581"/>
                  </a:lnTo>
                  <a:lnTo>
                    <a:pt x="32" y="586"/>
                  </a:lnTo>
                  <a:close/>
                  <a:moveTo>
                    <a:pt x="23" y="398"/>
                  </a:moveTo>
                  <a:lnTo>
                    <a:pt x="21" y="397"/>
                  </a:lnTo>
                  <a:lnTo>
                    <a:pt x="18" y="397"/>
                  </a:lnTo>
                  <a:lnTo>
                    <a:pt x="17" y="396"/>
                  </a:lnTo>
                  <a:lnTo>
                    <a:pt x="16" y="394"/>
                  </a:lnTo>
                  <a:lnTo>
                    <a:pt x="17" y="390"/>
                  </a:lnTo>
                  <a:lnTo>
                    <a:pt x="18" y="385"/>
                  </a:lnTo>
                  <a:lnTo>
                    <a:pt x="18" y="381"/>
                  </a:lnTo>
                  <a:lnTo>
                    <a:pt x="18" y="378"/>
                  </a:lnTo>
                  <a:lnTo>
                    <a:pt x="20" y="372"/>
                  </a:lnTo>
                  <a:lnTo>
                    <a:pt x="25" y="371"/>
                  </a:lnTo>
                  <a:lnTo>
                    <a:pt x="27" y="373"/>
                  </a:lnTo>
                  <a:lnTo>
                    <a:pt x="27" y="376"/>
                  </a:lnTo>
                  <a:lnTo>
                    <a:pt x="23" y="379"/>
                  </a:lnTo>
                  <a:lnTo>
                    <a:pt x="22" y="381"/>
                  </a:lnTo>
                  <a:lnTo>
                    <a:pt x="25" y="388"/>
                  </a:lnTo>
                  <a:lnTo>
                    <a:pt x="24" y="396"/>
                  </a:lnTo>
                  <a:lnTo>
                    <a:pt x="23" y="39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2" name="Freeform 104">
              <a:extLst>
                <a:ext uri="{FF2B5EF4-FFF2-40B4-BE49-F238E27FC236}">
                  <a16:creationId xmlns:a16="http://schemas.microsoft.com/office/drawing/2014/main" id="{ED8E6A9D-6434-E446-EB48-86F680A0F994}"/>
                </a:ext>
              </a:extLst>
            </p:cNvPr>
            <p:cNvSpPr>
              <a:spLocks/>
            </p:cNvSpPr>
            <p:nvPr/>
          </p:nvSpPr>
          <p:spPr bwMode="auto">
            <a:xfrm>
              <a:off x="5582821" y="5008563"/>
              <a:ext cx="266700" cy="185738"/>
            </a:xfrm>
            <a:custGeom>
              <a:avLst/>
              <a:gdLst/>
              <a:ahLst/>
              <a:cxnLst>
                <a:cxn ang="0">
                  <a:pos x="21" y="114"/>
                </a:cxn>
                <a:cxn ang="0">
                  <a:pos x="16" y="105"/>
                </a:cxn>
                <a:cxn ang="0">
                  <a:pos x="9" y="95"/>
                </a:cxn>
                <a:cxn ang="0">
                  <a:pos x="6" y="87"/>
                </a:cxn>
                <a:cxn ang="0">
                  <a:pos x="2" y="80"/>
                </a:cxn>
                <a:cxn ang="0">
                  <a:pos x="0" y="68"/>
                </a:cxn>
                <a:cxn ang="0">
                  <a:pos x="1" y="65"/>
                </a:cxn>
                <a:cxn ang="0">
                  <a:pos x="7" y="59"/>
                </a:cxn>
                <a:cxn ang="0">
                  <a:pos x="14" y="47"/>
                </a:cxn>
                <a:cxn ang="0">
                  <a:pos x="16" y="47"/>
                </a:cxn>
                <a:cxn ang="0">
                  <a:pos x="20" y="46"/>
                </a:cxn>
                <a:cxn ang="0">
                  <a:pos x="31" y="46"/>
                </a:cxn>
                <a:cxn ang="0">
                  <a:pos x="33" y="46"/>
                </a:cxn>
                <a:cxn ang="0">
                  <a:pos x="40" y="42"/>
                </a:cxn>
                <a:cxn ang="0">
                  <a:pos x="51" y="41"/>
                </a:cxn>
                <a:cxn ang="0">
                  <a:pos x="54" y="40"/>
                </a:cxn>
                <a:cxn ang="0">
                  <a:pos x="58" y="28"/>
                </a:cxn>
                <a:cxn ang="0">
                  <a:pos x="63" y="26"/>
                </a:cxn>
                <a:cxn ang="0">
                  <a:pos x="78" y="26"/>
                </a:cxn>
                <a:cxn ang="0">
                  <a:pos x="94" y="10"/>
                </a:cxn>
                <a:cxn ang="0">
                  <a:pos x="95" y="5"/>
                </a:cxn>
                <a:cxn ang="0">
                  <a:pos x="103" y="1"/>
                </a:cxn>
                <a:cxn ang="0">
                  <a:pos x="107" y="0"/>
                </a:cxn>
                <a:cxn ang="0">
                  <a:pos x="118" y="11"/>
                </a:cxn>
                <a:cxn ang="0">
                  <a:pos x="121" y="18"/>
                </a:cxn>
                <a:cxn ang="0">
                  <a:pos x="118" y="31"/>
                </a:cxn>
                <a:cxn ang="0">
                  <a:pos x="124" y="32"/>
                </a:cxn>
                <a:cxn ang="0">
                  <a:pos x="127" y="32"/>
                </a:cxn>
                <a:cxn ang="0">
                  <a:pos x="130" y="37"/>
                </a:cxn>
                <a:cxn ang="0">
                  <a:pos x="139" y="41"/>
                </a:cxn>
                <a:cxn ang="0">
                  <a:pos x="142" y="43"/>
                </a:cxn>
                <a:cxn ang="0">
                  <a:pos x="142" y="49"/>
                </a:cxn>
                <a:cxn ang="0">
                  <a:pos x="148" y="53"/>
                </a:cxn>
                <a:cxn ang="0">
                  <a:pos x="154" y="56"/>
                </a:cxn>
                <a:cxn ang="0">
                  <a:pos x="155" y="63"/>
                </a:cxn>
                <a:cxn ang="0">
                  <a:pos x="159" y="67"/>
                </a:cxn>
                <a:cxn ang="0">
                  <a:pos x="167" y="71"/>
                </a:cxn>
                <a:cxn ang="0">
                  <a:pos x="168" y="77"/>
                </a:cxn>
                <a:cxn ang="0">
                  <a:pos x="165" y="78"/>
                </a:cxn>
                <a:cxn ang="0">
                  <a:pos x="157" y="80"/>
                </a:cxn>
                <a:cxn ang="0">
                  <a:pos x="152" y="77"/>
                </a:cxn>
                <a:cxn ang="0">
                  <a:pos x="142" y="76"/>
                </a:cxn>
                <a:cxn ang="0">
                  <a:pos x="141" y="81"/>
                </a:cxn>
                <a:cxn ang="0">
                  <a:pos x="138" y="81"/>
                </a:cxn>
                <a:cxn ang="0">
                  <a:pos x="129" y="80"/>
                </a:cxn>
                <a:cxn ang="0">
                  <a:pos x="118" y="85"/>
                </a:cxn>
                <a:cxn ang="0">
                  <a:pos x="113" y="83"/>
                </a:cxn>
                <a:cxn ang="0">
                  <a:pos x="109" y="83"/>
                </a:cxn>
                <a:cxn ang="0">
                  <a:pos x="104" y="92"/>
                </a:cxn>
                <a:cxn ang="0">
                  <a:pos x="89" y="89"/>
                </a:cxn>
                <a:cxn ang="0">
                  <a:pos x="78" y="86"/>
                </a:cxn>
                <a:cxn ang="0">
                  <a:pos x="75" y="82"/>
                </a:cxn>
                <a:cxn ang="0">
                  <a:pos x="68" y="78"/>
                </a:cxn>
                <a:cxn ang="0">
                  <a:pos x="62" y="80"/>
                </a:cxn>
                <a:cxn ang="0">
                  <a:pos x="55" y="88"/>
                </a:cxn>
                <a:cxn ang="0">
                  <a:pos x="55" y="92"/>
                </a:cxn>
                <a:cxn ang="0">
                  <a:pos x="55" y="98"/>
                </a:cxn>
                <a:cxn ang="0">
                  <a:pos x="49" y="100"/>
                </a:cxn>
                <a:cxn ang="0">
                  <a:pos x="40" y="99"/>
                </a:cxn>
                <a:cxn ang="0">
                  <a:pos x="33" y="100"/>
                </a:cxn>
                <a:cxn ang="0">
                  <a:pos x="28" y="101"/>
                </a:cxn>
                <a:cxn ang="0">
                  <a:pos x="26" y="112"/>
                </a:cxn>
                <a:cxn ang="0">
                  <a:pos x="22" y="117"/>
                </a:cxn>
              </a:cxnLst>
              <a:rect l="0" t="0" r="r" b="b"/>
              <a:pathLst>
                <a:path w="168" h="117">
                  <a:moveTo>
                    <a:pt x="22" y="117"/>
                  </a:moveTo>
                  <a:lnTo>
                    <a:pt x="21" y="114"/>
                  </a:lnTo>
                  <a:lnTo>
                    <a:pt x="19" y="109"/>
                  </a:lnTo>
                  <a:lnTo>
                    <a:pt x="16" y="105"/>
                  </a:lnTo>
                  <a:lnTo>
                    <a:pt x="9" y="97"/>
                  </a:lnTo>
                  <a:lnTo>
                    <a:pt x="9" y="95"/>
                  </a:lnTo>
                  <a:lnTo>
                    <a:pt x="9" y="91"/>
                  </a:lnTo>
                  <a:lnTo>
                    <a:pt x="6" y="87"/>
                  </a:lnTo>
                  <a:lnTo>
                    <a:pt x="4" y="83"/>
                  </a:lnTo>
                  <a:lnTo>
                    <a:pt x="2" y="80"/>
                  </a:lnTo>
                  <a:lnTo>
                    <a:pt x="1" y="73"/>
                  </a:lnTo>
                  <a:lnTo>
                    <a:pt x="0" y="68"/>
                  </a:lnTo>
                  <a:lnTo>
                    <a:pt x="0" y="66"/>
                  </a:lnTo>
                  <a:lnTo>
                    <a:pt x="1" y="65"/>
                  </a:lnTo>
                  <a:lnTo>
                    <a:pt x="4" y="62"/>
                  </a:lnTo>
                  <a:lnTo>
                    <a:pt x="7" y="59"/>
                  </a:lnTo>
                  <a:lnTo>
                    <a:pt x="12" y="49"/>
                  </a:lnTo>
                  <a:lnTo>
                    <a:pt x="14" y="47"/>
                  </a:lnTo>
                  <a:lnTo>
                    <a:pt x="15" y="46"/>
                  </a:lnTo>
                  <a:lnTo>
                    <a:pt x="16" y="47"/>
                  </a:lnTo>
                  <a:lnTo>
                    <a:pt x="17" y="47"/>
                  </a:lnTo>
                  <a:lnTo>
                    <a:pt x="20" y="46"/>
                  </a:lnTo>
                  <a:lnTo>
                    <a:pt x="28" y="42"/>
                  </a:lnTo>
                  <a:lnTo>
                    <a:pt x="31" y="46"/>
                  </a:lnTo>
                  <a:lnTo>
                    <a:pt x="32" y="46"/>
                  </a:lnTo>
                  <a:lnTo>
                    <a:pt x="33" y="46"/>
                  </a:lnTo>
                  <a:lnTo>
                    <a:pt x="36" y="44"/>
                  </a:lnTo>
                  <a:lnTo>
                    <a:pt x="40" y="42"/>
                  </a:lnTo>
                  <a:lnTo>
                    <a:pt x="45" y="41"/>
                  </a:lnTo>
                  <a:lnTo>
                    <a:pt x="51" y="41"/>
                  </a:lnTo>
                  <a:lnTo>
                    <a:pt x="52" y="41"/>
                  </a:lnTo>
                  <a:lnTo>
                    <a:pt x="54" y="40"/>
                  </a:lnTo>
                  <a:lnTo>
                    <a:pt x="58" y="33"/>
                  </a:lnTo>
                  <a:lnTo>
                    <a:pt x="58" y="28"/>
                  </a:lnTo>
                  <a:lnTo>
                    <a:pt x="60" y="27"/>
                  </a:lnTo>
                  <a:lnTo>
                    <a:pt x="63" y="26"/>
                  </a:lnTo>
                  <a:lnTo>
                    <a:pt x="75" y="26"/>
                  </a:lnTo>
                  <a:lnTo>
                    <a:pt x="78" y="26"/>
                  </a:lnTo>
                  <a:lnTo>
                    <a:pt x="93" y="12"/>
                  </a:lnTo>
                  <a:lnTo>
                    <a:pt x="94" y="10"/>
                  </a:lnTo>
                  <a:lnTo>
                    <a:pt x="94" y="8"/>
                  </a:lnTo>
                  <a:lnTo>
                    <a:pt x="95" y="5"/>
                  </a:lnTo>
                  <a:lnTo>
                    <a:pt x="97" y="4"/>
                  </a:lnTo>
                  <a:lnTo>
                    <a:pt x="103" y="1"/>
                  </a:lnTo>
                  <a:lnTo>
                    <a:pt x="105" y="0"/>
                  </a:lnTo>
                  <a:lnTo>
                    <a:pt x="107" y="0"/>
                  </a:lnTo>
                  <a:lnTo>
                    <a:pt x="110" y="1"/>
                  </a:lnTo>
                  <a:lnTo>
                    <a:pt x="118" y="11"/>
                  </a:lnTo>
                  <a:lnTo>
                    <a:pt x="120" y="14"/>
                  </a:lnTo>
                  <a:lnTo>
                    <a:pt x="121" y="18"/>
                  </a:lnTo>
                  <a:lnTo>
                    <a:pt x="118" y="26"/>
                  </a:lnTo>
                  <a:lnTo>
                    <a:pt x="118" y="31"/>
                  </a:lnTo>
                  <a:lnTo>
                    <a:pt x="119" y="32"/>
                  </a:lnTo>
                  <a:lnTo>
                    <a:pt x="124" y="32"/>
                  </a:lnTo>
                  <a:lnTo>
                    <a:pt x="126" y="32"/>
                  </a:lnTo>
                  <a:lnTo>
                    <a:pt x="127" y="32"/>
                  </a:lnTo>
                  <a:lnTo>
                    <a:pt x="128" y="35"/>
                  </a:lnTo>
                  <a:lnTo>
                    <a:pt x="130" y="37"/>
                  </a:lnTo>
                  <a:lnTo>
                    <a:pt x="134" y="39"/>
                  </a:lnTo>
                  <a:lnTo>
                    <a:pt x="139" y="41"/>
                  </a:lnTo>
                  <a:lnTo>
                    <a:pt x="141" y="42"/>
                  </a:lnTo>
                  <a:lnTo>
                    <a:pt x="142" y="43"/>
                  </a:lnTo>
                  <a:lnTo>
                    <a:pt x="141" y="46"/>
                  </a:lnTo>
                  <a:lnTo>
                    <a:pt x="142" y="49"/>
                  </a:lnTo>
                  <a:lnTo>
                    <a:pt x="145" y="51"/>
                  </a:lnTo>
                  <a:lnTo>
                    <a:pt x="148" y="53"/>
                  </a:lnTo>
                  <a:lnTo>
                    <a:pt x="153" y="56"/>
                  </a:lnTo>
                  <a:lnTo>
                    <a:pt x="154" y="56"/>
                  </a:lnTo>
                  <a:lnTo>
                    <a:pt x="155" y="59"/>
                  </a:lnTo>
                  <a:lnTo>
                    <a:pt x="155" y="63"/>
                  </a:lnTo>
                  <a:lnTo>
                    <a:pt x="157" y="65"/>
                  </a:lnTo>
                  <a:lnTo>
                    <a:pt x="159" y="67"/>
                  </a:lnTo>
                  <a:lnTo>
                    <a:pt x="164" y="68"/>
                  </a:lnTo>
                  <a:lnTo>
                    <a:pt x="167" y="71"/>
                  </a:lnTo>
                  <a:lnTo>
                    <a:pt x="168" y="73"/>
                  </a:lnTo>
                  <a:lnTo>
                    <a:pt x="168" y="77"/>
                  </a:lnTo>
                  <a:lnTo>
                    <a:pt x="168" y="77"/>
                  </a:lnTo>
                  <a:lnTo>
                    <a:pt x="165" y="78"/>
                  </a:lnTo>
                  <a:lnTo>
                    <a:pt x="159" y="80"/>
                  </a:lnTo>
                  <a:lnTo>
                    <a:pt x="157" y="80"/>
                  </a:lnTo>
                  <a:lnTo>
                    <a:pt x="156" y="79"/>
                  </a:lnTo>
                  <a:lnTo>
                    <a:pt x="152" y="77"/>
                  </a:lnTo>
                  <a:lnTo>
                    <a:pt x="145" y="75"/>
                  </a:lnTo>
                  <a:lnTo>
                    <a:pt x="142" y="76"/>
                  </a:lnTo>
                  <a:lnTo>
                    <a:pt x="142" y="79"/>
                  </a:lnTo>
                  <a:lnTo>
                    <a:pt x="141" y="81"/>
                  </a:lnTo>
                  <a:lnTo>
                    <a:pt x="140" y="81"/>
                  </a:lnTo>
                  <a:lnTo>
                    <a:pt x="138" y="81"/>
                  </a:lnTo>
                  <a:lnTo>
                    <a:pt x="132" y="80"/>
                  </a:lnTo>
                  <a:lnTo>
                    <a:pt x="129" y="80"/>
                  </a:lnTo>
                  <a:lnTo>
                    <a:pt x="123" y="82"/>
                  </a:lnTo>
                  <a:lnTo>
                    <a:pt x="118" y="85"/>
                  </a:lnTo>
                  <a:lnTo>
                    <a:pt x="116" y="85"/>
                  </a:lnTo>
                  <a:lnTo>
                    <a:pt x="113" y="83"/>
                  </a:lnTo>
                  <a:lnTo>
                    <a:pt x="111" y="82"/>
                  </a:lnTo>
                  <a:lnTo>
                    <a:pt x="109" y="83"/>
                  </a:lnTo>
                  <a:lnTo>
                    <a:pt x="105" y="92"/>
                  </a:lnTo>
                  <a:lnTo>
                    <a:pt x="104" y="92"/>
                  </a:lnTo>
                  <a:lnTo>
                    <a:pt x="100" y="92"/>
                  </a:lnTo>
                  <a:lnTo>
                    <a:pt x="89" y="89"/>
                  </a:lnTo>
                  <a:lnTo>
                    <a:pt x="81" y="88"/>
                  </a:lnTo>
                  <a:lnTo>
                    <a:pt x="78" y="86"/>
                  </a:lnTo>
                  <a:lnTo>
                    <a:pt x="76" y="85"/>
                  </a:lnTo>
                  <a:lnTo>
                    <a:pt x="75" y="82"/>
                  </a:lnTo>
                  <a:lnTo>
                    <a:pt x="70" y="79"/>
                  </a:lnTo>
                  <a:lnTo>
                    <a:pt x="68" y="78"/>
                  </a:lnTo>
                  <a:lnTo>
                    <a:pt x="65" y="79"/>
                  </a:lnTo>
                  <a:lnTo>
                    <a:pt x="62" y="80"/>
                  </a:lnTo>
                  <a:lnTo>
                    <a:pt x="60" y="82"/>
                  </a:lnTo>
                  <a:lnTo>
                    <a:pt x="55" y="88"/>
                  </a:lnTo>
                  <a:lnTo>
                    <a:pt x="54" y="90"/>
                  </a:lnTo>
                  <a:lnTo>
                    <a:pt x="55" y="92"/>
                  </a:lnTo>
                  <a:lnTo>
                    <a:pt x="55" y="95"/>
                  </a:lnTo>
                  <a:lnTo>
                    <a:pt x="55" y="98"/>
                  </a:lnTo>
                  <a:lnTo>
                    <a:pt x="54" y="98"/>
                  </a:lnTo>
                  <a:lnTo>
                    <a:pt x="49" y="100"/>
                  </a:lnTo>
                  <a:lnTo>
                    <a:pt x="44" y="100"/>
                  </a:lnTo>
                  <a:lnTo>
                    <a:pt x="40" y="99"/>
                  </a:lnTo>
                  <a:lnTo>
                    <a:pt x="38" y="98"/>
                  </a:lnTo>
                  <a:lnTo>
                    <a:pt x="33" y="100"/>
                  </a:lnTo>
                  <a:lnTo>
                    <a:pt x="30" y="100"/>
                  </a:lnTo>
                  <a:lnTo>
                    <a:pt x="28" y="101"/>
                  </a:lnTo>
                  <a:lnTo>
                    <a:pt x="27" y="109"/>
                  </a:lnTo>
                  <a:lnTo>
                    <a:pt x="26" y="112"/>
                  </a:lnTo>
                  <a:lnTo>
                    <a:pt x="24" y="115"/>
                  </a:lnTo>
                  <a:lnTo>
                    <a:pt x="22" y="11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3" name="Freeform 105">
              <a:extLst>
                <a:ext uri="{FF2B5EF4-FFF2-40B4-BE49-F238E27FC236}">
                  <a16:creationId xmlns:a16="http://schemas.microsoft.com/office/drawing/2014/main" id="{C146DFBC-8889-8E0A-1BAF-4F9D05A278C9}"/>
                </a:ext>
              </a:extLst>
            </p:cNvPr>
            <p:cNvSpPr>
              <a:spLocks/>
            </p:cNvSpPr>
            <p:nvPr/>
          </p:nvSpPr>
          <p:spPr bwMode="auto">
            <a:xfrm>
              <a:off x="6009859" y="4506913"/>
              <a:ext cx="90488" cy="100013"/>
            </a:xfrm>
            <a:custGeom>
              <a:avLst/>
              <a:gdLst/>
              <a:ahLst/>
              <a:cxnLst>
                <a:cxn ang="0">
                  <a:pos x="1" y="61"/>
                </a:cxn>
                <a:cxn ang="0">
                  <a:pos x="1" y="59"/>
                </a:cxn>
                <a:cxn ang="0">
                  <a:pos x="1" y="58"/>
                </a:cxn>
                <a:cxn ang="0">
                  <a:pos x="0" y="57"/>
                </a:cxn>
                <a:cxn ang="0">
                  <a:pos x="1" y="56"/>
                </a:cxn>
                <a:cxn ang="0">
                  <a:pos x="2" y="50"/>
                </a:cxn>
                <a:cxn ang="0">
                  <a:pos x="2" y="44"/>
                </a:cxn>
                <a:cxn ang="0">
                  <a:pos x="5" y="37"/>
                </a:cxn>
                <a:cxn ang="0">
                  <a:pos x="7" y="31"/>
                </a:cxn>
                <a:cxn ang="0">
                  <a:pos x="7" y="28"/>
                </a:cxn>
                <a:cxn ang="0">
                  <a:pos x="8" y="26"/>
                </a:cxn>
                <a:cxn ang="0">
                  <a:pos x="8" y="21"/>
                </a:cxn>
                <a:cxn ang="0">
                  <a:pos x="8" y="15"/>
                </a:cxn>
                <a:cxn ang="0">
                  <a:pos x="9" y="14"/>
                </a:cxn>
                <a:cxn ang="0">
                  <a:pos x="9" y="12"/>
                </a:cxn>
                <a:cxn ang="0">
                  <a:pos x="8" y="9"/>
                </a:cxn>
                <a:cxn ang="0">
                  <a:pos x="9" y="8"/>
                </a:cxn>
                <a:cxn ang="0">
                  <a:pos x="9" y="8"/>
                </a:cxn>
                <a:cxn ang="0">
                  <a:pos x="20" y="15"/>
                </a:cxn>
                <a:cxn ang="0">
                  <a:pos x="23" y="16"/>
                </a:cxn>
                <a:cxn ang="0">
                  <a:pos x="24" y="16"/>
                </a:cxn>
                <a:cxn ang="0">
                  <a:pos x="31" y="11"/>
                </a:cxn>
                <a:cxn ang="0">
                  <a:pos x="48" y="1"/>
                </a:cxn>
                <a:cxn ang="0">
                  <a:pos x="49" y="0"/>
                </a:cxn>
                <a:cxn ang="0">
                  <a:pos x="54" y="12"/>
                </a:cxn>
                <a:cxn ang="0">
                  <a:pos x="56" y="17"/>
                </a:cxn>
                <a:cxn ang="0">
                  <a:pos x="57" y="17"/>
                </a:cxn>
                <a:cxn ang="0">
                  <a:pos x="54" y="20"/>
                </a:cxn>
                <a:cxn ang="0">
                  <a:pos x="52" y="21"/>
                </a:cxn>
                <a:cxn ang="0">
                  <a:pos x="47" y="23"/>
                </a:cxn>
                <a:cxn ang="0">
                  <a:pos x="32" y="27"/>
                </a:cxn>
                <a:cxn ang="0">
                  <a:pos x="28" y="29"/>
                </a:cxn>
                <a:cxn ang="0">
                  <a:pos x="35" y="38"/>
                </a:cxn>
                <a:cxn ang="0">
                  <a:pos x="38" y="44"/>
                </a:cxn>
                <a:cxn ang="0">
                  <a:pos x="34" y="49"/>
                </a:cxn>
                <a:cxn ang="0">
                  <a:pos x="31" y="51"/>
                </a:cxn>
                <a:cxn ang="0">
                  <a:pos x="30" y="52"/>
                </a:cxn>
                <a:cxn ang="0">
                  <a:pos x="23" y="54"/>
                </a:cxn>
                <a:cxn ang="0">
                  <a:pos x="20" y="58"/>
                </a:cxn>
                <a:cxn ang="0">
                  <a:pos x="14" y="63"/>
                </a:cxn>
                <a:cxn ang="0">
                  <a:pos x="2" y="62"/>
                </a:cxn>
                <a:cxn ang="0">
                  <a:pos x="1" y="61"/>
                </a:cxn>
              </a:cxnLst>
              <a:rect l="0" t="0" r="r" b="b"/>
              <a:pathLst>
                <a:path w="57" h="63">
                  <a:moveTo>
                    <a:pt x="1" y="61"/>
                  </a:moveTo>
                  <a:lnTo>
                    <a:pt x="1" y="59"/>
                  </a:lnTo>
                  <a:lnTo>
                    <a:pt x="1" y="58"/>
                  </a:lnTo>
                  <a:lnTo>
                    <a:pt x="0" y="57"/>
                  </a:lnTo>
                  <a:lnTo>
                    <a:pt x="1" y="56"/>
                  </a:lnTo>
                  <a:lnTo>
                    <a:pt x="2" y="50"/>
                  </a:lnTo>
                  <a:lnTo>
                    <a:pt x="2" y="44"/>
                  </a:lnTo>
                  <a:lnTo>
                    <a:pt x="5" y="37"/>
                  </a:lnTo>
                  <a:lnTo>
                    <a:pt x="7" y="31"/>
                  </a:lnTo>
                  <a:lnTo>
                    <a:pt x="7" y="28"/>
                  </a:lnTo>
                  <a:lnTo>
                    <a:pt x="8" y="26"/>
                  </a:lnTo>
                  <a:lnTo>
                    <a:pt x="8" y="21"/>
                  </a:lnTo>
                  <a:lnTo>
                    <a:pt x="8" y="15"/>
                  </a:lnTo>
                  <a:lnTo>
                    <a:pt x="9" y="14"/>
                  </a:lnTo>
                  <a:lnTo>
                    <a:pt x="9" y="12"/>
                  </a:lnTo>
                  <a:lnTo>
                    <a:pt x="8" y="9"/>
                  </a:lnTo>
                  <a:lnTo>
                    <a:pt x="9" y="8"/>
                  </a:lnTo>
                  <a:lnTo>
                    <a:pt x="9" y="8"/>
                  </a:lnTo>
                  <a:lnTo>
                    <a:pt x="20" y="15"/>
                  </a:lnTo>
                  <a:lnTo>
                    <a:pt x="23" y="16"/>
                  </a:lnTo>
                  <a:lnTo>
                    <a:pt x="24" y="16"/>
                  </a:lnTo>
                  <a:lnTo>
                    <a:pt x="31" y="11"/>
                  </a:lnTo>
                  <a:lnTo>
                    <a:pt x="48" y="1"/>
                  </a:lnTo>
                  <a:lnTo>
                    <a:pt x="49" y="0"/>
                  </a:lnTo>
                  <a:lnTo>
                    <a:pt x="54" y="12"/>
                  </a:lnTo>
                  <a:lnTo>
                    <a:pt x="56" y="17"/>
                  </a:lnTo>
                  <a:lnTo>
                    <a:pt x="57" y="17"/>
                  </a:lnTo>
                  <a:lnTo>
                    <a:pt x="54" y="20"/>
                  </a:lnTo>
                  <a:lnTo>
                    <a:pt x="52" y="21"/>
                  </a:lnTo>
                  <a:lnTo>
                    <a:pt x="47" y="23"/>
                  </a:lnTo>
                  <a:lnTo>
                    <a:pt x="32" y="27"/>
                  </a:lnTo>
                  <a:lnTo>
                    <a:pt x="28" y="29"/>
                  </a:lnTo>
                  <a:lnTo>
                    <a:pt x="35" y="38"/>
                  </a:lnTo>
                  <a:lnTo>
                    <a:pt x="38" y="44"/>
                  </a:lnTo>
                  <a:lnTo>
                    <a:pt x="34" y="49"/>
                  </a:lnTo>
                  <a:lnTo>
                    <a:pt x="31" y="51"/>
                  </a:lnTo>
                  <a:lnTo>
                    <a:pt x="30" y="52"/>
                  </a:lnTo>
                  <a:lnTo>
                    <a:pt x="23" y="54"/>
                  </a:lnTo>
                  <a:lnTo>
                    <a:pt x="20" y="58"/>
                  </a:lnTo>
                  <a:lnTo>
                    <a:pt x="14" y="63"/>
                  </a:lnTo>
                  <a:lnTo>
                    <a:pt x="2" y="62"/>
                  </a:lnTo>
                  <a:lnTo>
                    <a:pt x="1" y="6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4" name="Freeform 106">
              <a:extLst>
                <a:ext uri="{FF2B5EF4-FFF2-40B4-BE49-F238E27FC236}">
                  <a16:creationId xmlns:a16="http://schemas.microsoft.com/office/drawing/2014/main" id="{754E93E2-11B3-558B-8123-926EBED79A2E}"/>
                </a:ext>
              </a:extLst>
            </p:cNvPr>
            <p:cNvSpPr>
              <a:spLocks noEditPoints="1"/>
            </p:cNvSpPr>
            <p:nvPr/>
          </p:nvSpPr>
          <p:spPr bwMode="auto">
            <a:xfrm>
              <a:off x="3758784" y="5705475"/>
              <a:ext cx="412750" cy="906463"/>
            </a:xfrm>
            <a:custGeom>
              <a:avLst/>
              <a:gdLst/>
              <a:ahLst/>
              <a:cxnLst>
                <a:cxn ang="0">
                  <a:pos x="63" y="530"/>
                </a:cxn>
                <a:cxn ang="0">
                  <a:pos x="75" y="541"/>
                </a:cxn>
                <a:cxn ang="0">
                  <a:pos x="97" y="561"/>
                </a:cxn>
                <a:cxn ang="0">
                  <a:pos x="104" y="568"/>
                </a:cxn>
                <a:cxn ang="0">
                  <a:pos x="72" y="567"/>
                </a:cxn>
                <a:cxn ang="0">
                  <a:pos x="57" y="509"/>
                </a:cxn>
                <a:cxn ang="0">
                  <a:pos x="17" y="479"/>
                </a:cxn>
                <a:cxn ang="0">
                  <a:pos x="0" y="457"/>
                </a:cxn>
                <a:cxn ang="0">
                  <a:pos x="16" y="427"/>
                </a:cxn>
                <a:cxn ang="0">
                  <a:pos x="23" y="405"/>
                </a:cxn>
                <a:cxn ang="0">
                  <a:pos x="25" y="367"/>
                </a:cxn>
                <a:cxn ang="0">
                  <a:pos x="32" y="359"/>
                </a:cxn>
                <a:cxn ang="0">
                  <a:pos x="24" y="337"/>
                </a:cxn>
                <a:cxn ang="0">
                  <a:pos x="21" y="317"/>
                </a:cxn>
                <a:cxn ang="0">
                  <a:pos x="24" y="283"/>
                </a:cxn>
                <a:cxn ang="0">
                  <a:pos x="33" y="248"/>
                </a:cxn>
                <a:cxn ang="0">
                  <a:pos x="42" y="211"/>
                </a:cxn>
                <a:cxn ang="0">
                  <a:pos x="48" y="175"/>
                </a:cxn>
                <a:cxn ang="0">
                  <a:pos x="45" y="126"/>
                </a:cxn>
                <a:cxn ang="0">
                  <a:pos x="53" y="92"/>
                </a:cxn>
                <a:cxn ang="0">
                  <a:pos x="69" y="73"/>
                </a:cxn>
                <a:cxn ang="0">
                  <a:pos x="67" y="59"/>
                </a:cxn>
                <a:cxn ang="0">
                  <a:pos x="67" y="37"/>
                </a:cxn>
                <a:cxn ang="0">
                  <a:pos x="85" y="16"/>
                </a:cxn>
                <a:cxn ang="0">
                  <a:pos x="100" y="1"/>
                </a:cxn>
                <a:cxn ang="0">
                  <a:pos x="119" y="6"/>
                </a:cxn>
                <a:cxn ang="0">
                  <a:pos x="144" y="3"/>
                </a:cxn>
                <a:cxn ang="0">
                  <a:pos x="168" y="29"/>
                </a:cxn>
                <a:cxn ang="0">
                  <a:pos x="207" y="48"/>
                </a:cxn>
                <a:cxn ang="0">
                  <a:pos x="200" y="70"/>
                </a:cxn>
                <a:cxn ang="0">
                  <a:pos x="205" y="75"/>
                </a:cxn>
                <a:cxn ang="0">
                  <a:pos x="227" y="76"/>
                </a:cxn>
                <a:cxn ang="0">
                  <a:pos x="244" y="66"/>
                </a:cxn>
                <a:cxn ang="0">
                  <a:pos x="260" y="62"/>
                </a:cxn>
                <a:cxn ang="0">
                  <a:pos x="234" y="94"/>
                </a:cxn>
                <a:cxn ang="0">
                  <a:pos x="205" y="130"/>
                </a:cxn>
                <a:cxn ang="0">
                  <a:pos x="199" y="168"/>
                </a:cxn>
                <a:cxn ang="0">
                  <a:pos x="196" y="186"/>
                </a:cxn>
                <a:cxn ang="0">
                  <a:pos x="213" y="201"/>
                </a:cxn>
                <a:cxn ang="0">
                  <a:pos x="215" y="217"/>
                </a:cxn>
                <a:cxn ang="0">
                  <a:pos x="210" y="242"/>
                </a:cxn>
                <a:cxn ang="0">
                  <a:pos x="173" y="259"/>
                </a:cxn>
                <a:cxn ang="0">
                  <a:pos x="146" y="265"/>
                </a:cxn>
                <a:cxn ang="0">
                  <a:pos x="145" y="283"/>
                </a:cxn>
                <a:cxn ang="0">
                  <a:pos x="132" y="297"/>
                </a:cxn>
                <a:cxn ang="0">
                  <a:pos x="110" y="298"/>
                </a:cxn>
                <a:cxn ang="0">
                  <a:pos x="121" y="320"/>
                </a:cxn>
                <a:cxn ang="0">
                  <a:pos x="130" y="324"/>
                </a:cxn>
                <a:cxn ang="0">
                  <a:pos x="122" y="322"/>
                </a:cxn>
                <a:cxn ang="0">
                  <a:pos x="118" y="328"/>
                </a:cxn>
                <a:cxn ang="0">
                  <a:pos x="108" y="343"/>
                </a:cxn>
                <a:cxn ang="0">
                  <a:pos x="103" y="364"/>
                </a:cxn>
                <a:cxn ang="0">
                  <a:pos x="79" y="382"/>
                </a:cxn>
                <a:cxn ang="0">
                  <a:pos x="94" y="405"/>
                </a:cxn>
                <a:cxn ang="0">
                  <a:pos x="99" y="424"/>
                </a:cxn>
                <a:cxn ang="0">
                  <a:pos x="76" y="450"/>
                </a:cxn>
                <a:cxn ang="0">
                  <a:pos x="61" y="470"/>
                </a:cxn>
                <a:cxn ang="0">
                  <a:pos x="66" y="509"/>
                </a:cxn>
              </a:cxnLst>
              <a:rect l="0" t="0" r="r" b="b"/>
              <a:pathLst>
                <a:path w="260" h="571">
                  <a:moveTo>
                    <a:pt x="63" y="530"/>
                  </a:moveTo>
                  <a:lnTo>
                    <a:pt x="63" y="519"/>
                  </a:lnTo>
                  <a:lnTo>
                    <a:pt x="68" y="522"/>
                  </a:lnTo>
                  <a:lnTo>
                    <a:pt x="68" y="524"/>
                  </a:lnTo>
                  <a:lnTo>
                    <a:pt x="66" y="527"/>
                  </a:lnTo>
                  <a:lnTo>
                    <a:pt x="63" y="530"/>
                  </a:lnTo>
                  <a:close/>
                  <a:moveTo>
                    <a:pt x="63" y="530"/>
                  </a:moveTo>
                  <a:lnTo>
                    <a:pt x="64" y="532"/>
                  </a:lnTo>
                  <a:lnTo>
                    <a:pt x="65" y="533"/>
                  </a:lnTo>
                  <a:lnTo>
                    <a:pt x="69" y="532"/>
                  </a:lnTo>
                  <a:lnTo>
                    <a:pt x="71" y="533"/>
                  </a:lnTo>
                  <a:lnTo>
                    <a:pt x="75" y="541"/>
                  </a:lnTo>
                  <a:lnTo>
                    <a:pt x="80" y="547"/>
                  </a:lnTo>
                  <a:lnTo>
                    <a:pt x="85" y="555"/>
                  </a:lnTo>
                  <a:lnTo>
                    <a:pt x="89" y="557"/>
                  </a:lnTo>
                  <a:lnTo>
                    <a:pt x="93" y="561"/>
                  </a:lnTo>
                  <a:lnTo>
                    <a:pt x="94" y="561"/>
                  </a:lnTo>
                  <a:lnTo>
                    <a:pt x="97" y="561"/>
                  </a:lnTo>
                  <a:lnTo>
                    <a:pt x="100" y="563"/>
                  </a:lnTo>
                  <a:lnTo>
                    <a:pt x="107" y="564"/>
                  </a:lnTo>
                  <a:lnTo>
                    <a:pt x="108" y="563"/>
                  </a:lnTo>
                  <a:lnTo>
                    <a:pt x="108" y="565"/>
                  </a:lnTo>
                  <a:lnTo>
                    <a:pt x="107" y="568"/>
                  </a:lnTo>
                  <a:lnTo>
                    <a:pt x="104" y="568"/>
                  </a:lnTo>
                  <a:lnTo>
                    <a:pt x="97" y="569"/>
                  </a:lnTo>
                  <a:lnTo>
                    <a:pt x="93" y="571"/>
                  </a:lnTo>
                  <a:lnTo>
                    <a:pt x="90" y="571"/>
                  </a:lnTo>
                  <a:lnTo>
                    <a:pt x="84" y="568"/>
                  </a:lnTo>
                  <a:lnTo>
                    <a:pt x="79" y="567"/>
                  </a:lnTo>
                  <a:lnTo>
                    <a:pt x="72" y="567"/>
                  </a:lnTo>
                  <a:lnTo>
                    <a:pt x="67" y="566"/>
                  </a:lnTo>
                  <a:lnTo>
                    <a:pt x="63" y="567"/>
                  </a:lnTo>
                  <a:lnTo>
                    <a:pt x="63" y="530"/>
                  </a:lnTo>
                  <a:close/>
                  <a:moveTo>
                    <a:pt x="66" y="513"/>
                  </a:moveTo>
                  <a:lnTo>
                    <a:pt x="65" y="512"/>
                  </a:lnTo>
                  <a:lnTo>
                    <a:pt x="57" y="509"/>
                  </a:lnTo>
                  <a:lnTo>
                    <a:pt x="52" y="507"/>
                  </a:lnTo>
                  <a:lnTo>
                    <a:pt x="35" y="505"/>
                  </a:lnTo>
                  <a:lnTo>
                    <a:pt x="27" y="506"/>
                  </a:lnTo>
                  <a:lnTo>
                    <a:pt x="23" y="505"/>
                  </a:lnTo>
                  <a:lnTo>
                    <a:pt x="18" y="500"/>
                  </a:lnTo>
                  <a:lnTo>
                    <a:pt x="17" y="479"/>
                  </a:lnTo>
                  <a:lnTo>
                    <a:pt x="16" y="477"/>
                  </a:lnTo>
                  <a:lnTo>
                    <a:pt x="12" y="478"/>
                  </a:lnTo>
                  <a:lnTo>
                    <a:pt x="6" y="480"/>
                  </a:lnTo>
                  <a:lnTo>
                    <a:pt x="5" y="480"/>
                  </a:lnTo>
                  <a:lnTo>
                    <a:pt x="2" y="469"/>
                  </a:lnTo>
                  <a:lnTo>
                    <a:pt x="0" y="457"/>
                  </a:lnTo>
                  <a:lnTo>
                    <a:pt x="1" y="453"/>
                  </a:lnTo>
                  <a:lnTo>
                    <a:pt x="2" y="451"/>
                  </a:lnTo>
                  <a:lnTo>
                    <a:pt x="12" y="442"/>
                  </a:lnTo>
                  <a:lnTo>
                    <a:pt x="14" y="439"/>
                  </a:lnTo>
                  <a:lnTo>
                    <a:pt x="16" y="429"/>
                  </a:lnTo>
                  <a:lnTo>
                    <a:pt x="16" y="427"/>
                  </a:lnTo>
                  <a:lnTo>
                    <a:pt x="13" y="421"/>
                  </a:lnTo>
                  <a:lnTo>
                    <a:pt x="15" y="414"/>
                  </a:lnTo>
                  <a:lnTo>
                    <a:pt x="17" y="412"/>
                  </a:lnTo>
                  <a:lnTo>
                    <a:pt x="20" y="411"/>
                  </a:lnTo>
                  <a:lnTo>
                    <a:pt x="22" y="409"/>
                  </a:lnTo>
                  <a:lnTo>
                    <a:pt x="23" y="405"/>
                  </a:lnTo>
                  <a:lnTo>
                    <a:pt x="24" y="397"/>
                  </a:lnTo>
                  <a:lnTo>
                    <a:pt x="23" y="388"/>
                  </a:lnTo>
                  <a:lnTo>
                    <a:pt x="24" y="379"/>
                  </a:lnTo>
                  <a:lnTo>
                    <a:pt x="28" y="372"/>
                  </a:lnTo>
                  <a:lnTo>
                    <a:pt x="28" y="370"/>
                  </a:lnTo>
                  <a:lnTo>
                    <a:pt x="25" y="367"/>
                  </a:lnTo>
                  <a:lnTo>
                    <a:pt x="21" y="365"/>
                  </a:lnTo>
                  <a:lnTo>
                    <a:pt x="20" y="363"/>
                  </a:lnTo>
                  <a:lnTo>
                    <a:pt x="25" y="362"/>
                  </a:lnTo>
                  <a:lnTo>
                    <a:pt x="29" y="362"/>
                  </a:lnTo>
                  <a:lnTo>
                    <a:pt x="31" y="361"/>
                  </a:lnTo>
                  <a:lnTo>
                    <a:pt x="32" y="359"/>
                  </a:lnTo>
                  <a:lnTo>
                    <a:pt x="32" y="358"/>
                  </a:lnTo>
                  <a:lnTo>
                    <a:pt x="30" y="356"/>
                  </a:lnTo>
                  <a:lnTo>
                    <a:pt x="26" y="355"/>
                  </a:lnTo>
                  <a:lnTo>
                    <a:pt x="24" y="354"/>
                  </a:lnTo>
                  <a:lnTo>
                    <a:pt x="23" y="349"/>
                  </a:lnTo>
                  <a:lnTo>
                    <a:pt x="24" y="337"/>
                  </a:lnTo>
                  <a:lnTo>
                    <a:pt x="24" y="332"/>
                  </a:lnTo>
                  <a:lnTo>
                    <a:pt x="20" y="331"/>
                  </a:lnTo>
                  <a:lnTo>
                    <a:pt x="19" y="330"/>
                  </a:lnTo>
                  <a:lnTo>
                    <a:pt x="19" y="320"/>
                  </a:lnTo>
                  <a:lnTo>
                    <a:pt x="19" y="318"/>
                  </a:lnTo>
                  <a:lnTo>
                    <a:pt x="21" y="317"/>
                  </a:lnTo>
                  <a:lnTo>
                    <a:pt x="24" y="314"/>
                  </a:lnTo>
                  <a:lnTo>
                    <a:pt x="24" y="311"/>
                  </a:lnTo>
                  <a:lnTo>
                    <a:pt x="22" y="304"/>
                  </a:lnTo>
                  <a:lnTo>
                    <a:pt x="22" y="289"/>
                  </a:lnTo>
                  <a:lnTo>
                    <a:pt x="22" y="287"/>
                  </a:lnTo>
                  <a:lnTo>
                    <a:pt x="24" y="283"/>
                  </a:lnTo>
                  <a:lnTo>
                    <a:pt x="27" y="264"/>
                  </a:lnTo>
                  <a:lnTo>
                    <a:pt x="28" y="262"/>
                  </a:lnTo>
                  <a:lnTo>
                    <a:pt x="28" y="260"/>
                  </a:lnTo>
                  <a:lnTo>
                    <a:pt x="34" y="256"/>
                  </a:lnTo>
                  <a:lnTo>
                    <a:pt x="35" y="255"/>
                  </a:lnTo>
                  <a:lnTo>
                    <a:pt x="33" y="248"/>
                  </a:lnTo>
                  <a:lnTo>
                    <a:pt x="31" y="240"/>
                  </a:lnTo>
                  <a:lnTo>
                    <a:pt x="31" y="231"/>
                  </a:lnTo>
                  <a:lnTo>
                    <a:pt x="32" y="223"/>
                  </a:lnTo>
                  <a:lnTo>
                    <a:pt x="33" y="221"/>
                  </a:lnTo>
                  <a:lnTo>
                    <a:pt x="41" y="213"/>
                  </a:lnTo>
                  <a:lnTo>
                    <a:pt x="42" y="211"/>
                  </a:lnTo>
                  <a:lnTo>
                    <a:pt x="40" y="203"/>
                  </a:lnTo>
                  <a:lnTo>
                    <a:pt x="40" y="200"/>
                  </a:lnTo>
                  <a:lnTo>
                    <a:pt x="42" y="196"/>
                  </a:lnTo>
                  <a:lnTo>
                    <a:pt x="48" y="183"/>
                  </a:lnTo>
                  <a:lnTo>
                    <a:pt x="49" y="180"/>
                  </a:lnTo>
                  <a:lnTo>
                    <a:pt x="48" y="175"/>
                  </a:lnTo>
                  <a:lnTo>
                    <a:pt x="44" y="155"/>
                  </a:lnTo>
                  <a:lnTo>
                    <a:pt x="41" y="147"/>
                  </a:lnTo>
                  <a:lnTo>
                    <a:pt x="40" y="142"/>
                  </a:lnTo>
                  <a:lnTo>
                    <a:pt x="40" y="136"/>
                  </a:lnTo>
                  <a:lnTo>
                    <a:pt x="43" y="128"/>
                  </a:lnTo>
                  <a:lnTo>
                    <a:pt x="45" y="126"/>
                  </a:lnTo>
                  <a:lnTo>
                    <a:pt x="48" y="124"/>
                  </a:lnTo>
                  <a:lnTo>
                    <a:pt x="48" y="122"/>
                  </a:lnTo>
                  <a:lnTo>
                    <a:pt x="48" y="117"/>
                  </a:lnTo>
                  <a:lnTo>
                    <a:pt x="47" y="107"/>
                  </a:lnTo>
                  <a:lnTo>
                    <a:pt x="52" y="95"/>
                  </a:lnTo>
                  <a:lnTo>
                    <a:pt x="53" y="92"/>
                  </a:lnTo>
                  <a:lnTo>
                    <a:pt x="57" y="87"/>
                  </a:lnTo>
                  <a:lnTo>
                    <a:pt x="60" y="82"/>
                  </a:lnTo>
                  <a:lnTo>
                    <a:pt x="61" y="76"/>
                  </a:lnTo>
                  <a:lnTo>
                    <a:pt x="66" y="76"/>
                  </a:lnTo>
                  <a:lnTo>
                    <a:pt x="68" y="76"/>
                  </a:lnTo>
                  <a:lnTo>
                    <a:pt x="69" y="73"/>
                  </a:lnTo>
                  <a:lnTo>
                    <a:pt x="69" y="72"/>
                  </a:lnTo>
                  <a:lnTo>
                    <a:pt x="66" y="69"/>
                  </a:lnTo>
                  <a:lnTo>
                    <a:pt x="65" y="66"/>
                  </a:lnTo>
                  <a:lnTo>
                    <a:pt x="66" y="63"/>
                  </a:lnTo>
                  <a:lnTo>
                    <a:pt x="68" y="61"/>
                  </a:lnTo>
                  <a:lnTo>
                    <a:pt x="67" y="59"/>
                  </a:lnTo>
                  <a:lnTo>
                    <a:pt x="66" y="56"/>
                  </a:lnTo>
                  <a:lnTo>
                    <a:pt x="65" y="53"/>
                  </a:lnTo>
                  <a:lnTo>
                    <a:pt x="65" y="49"/>
                  </a:lnTo>
                  <a:lnTo>
                    <a:pt x="67" y="45"/>
                  </a:lnTo>
                  <a:lnTo>
                    <a:pt x="66" y="40"/>
                  </a:lnTo>
                  <a:lnTo>
                    <a:pt x="67" y="37"/>
                  </a:lnTo>
                  <a:lnTo>
                    <a:pt x="72" y="35"/>
                  </a:lnTo>
                  <a:lnTo>
                    <a:pt x="80" y="32"/>
                  </a:lnTo>
                  <a:lnTo>
                    <a:pt x="82" y="30"/>
                  </a:lnTo>
                  <a:lnTo>
                    <a:pt x="85" y="21"/>
                  </a:lnTo>
                  <a:lnTo>
                    <a:pt x="86" y="16"/>
                  </a:lnTo>
                  <a:lnTo>
                    <a:pt x="85" y="16"/>
                  </a:lnTo>
                  <a:lnTo>
                    <a:pt x="84" y="15"/>
                  </a:lnTo>
                  <a:lnTo>
                    <a:pt x="83" y="15"/>
                  </a:lnTo>
                  <a:lnTo>
                    <a:pt x="95" y="1"/>
                  </a:lnTo>
                  <a:lnTo>
                    <a:pt x="97" y="0"/>
                  </a:lnTo>
                  <a:lnTo>
                    <a:pt x="99" y="1"/>
                  </a:lnTo>
                  <a:lnTo>
                    <a:pt x="100" y="1"/>
                  </a:lnTo>
                  <a:lnTo>
                    <a:pt x="103" y="3"/>
                  </a:lnTo>
                  <a:lnTo>
                    <a:pt x="108" y="3"/>
                  </a:lnTo>
                  <a:lnTo>
                    <a:pt x="112" y="2"/>
                  </a:lnTo>
                  <a:lnTo>
                    <a:pt x="115" y="3"/>
                  </a:lnTo>
                  <a:lnTo>
                    <a:pt x="117" y="4"/>
                  </a:lnTo>
                  <a:lnTo>
                    <a:pt x="119" y="6"/>
                  </a:lnTo>
                  <a:lnTo>
                    <a:pt x="121" y="13"/>
                  </a:lnTo>
                  <a:lnTo>
                    <a:pt x="127" y="1"/>
                  </a:lnTo>
                  <a:lnTo>
                    <a:pt x="132" y="1"/>
                  </a:lnTo>
                  <a:lnTo>
                    <a:pt x="139" y="2"/>
                  </a:lnTo>
                  <a:lnTo>
                    <a:pt x="143" y="3"/>
                  </a:lnTo>
                  <a:lnTo>
                    <a:pt x="144" y="3"/>
                  </a:lnTo>
                  <a:lnTo>
                    <a:pt x="145" y="5"/>
                  </a:lnTo>
                  <a:lnTo>
                    <a:pt x="150" y="11"/>
                  </a:lnTo>
                  <a:lnTo>
                    <a:pt x="157" y="20"/>
                  </a:lnTo>
                  <a:lnTo>
                    <a:pt x="161" y="23"/>
                  </a:lnTo>
                  <a:lnTo>
                    <a:pt x="166" y="27"/>
                  </a:lnTo>
                  <a:lnTo>
                    <a:pt x="168" y="29"/>
                  </a:lnTo>
                  <a:lnTo>
                    <a:pt x="175" y="30"/>
                  </a:lnTo>
                  <a:lnTo>
                    <a:pt x="179" y="32"/>
                  </a:lnTo>
                  <a:lnTo>
                    <a:pt x="189" y="39"/>
                  </a:lnTo>
                  <a:lnTo>
                    <a:pt x="198" y="44"/>
                  </a:lnTo>
                  <a:lnTo>
                    <a:pt x="201" y="45"/>
                  </a:lnTo>
                  <a:lnTo>
                    <a:pt x="207" y="48"/>
                  </a:lnTo>
                  <a:lnTo>
                    <a:pt x="207" y="50"/>
                  </a:lnTo>
                  <a:lnTo>
                    <a:pt x="203" y="58"/>
                  </a:lnTo>
                  <a:lnTo>
                    <a:pt x="199" y="63"/>
                  </a:lnTo>
                  <a:lnTo>
                    <a:pt x="199" y="65"/>
                  </a:lnTo>
                  <a:lnTo>
                    <a:pt x="200" y="69"/>
                  </a:lnTo>
                  <a:lnTo>
                    <a:pt x="200" y="70"/>
                  </a:lnTo>
                  <a:lnTo>
                    <a:pt x="197" y="73"/>
                  </a:lnTo>
                  <a:lnTo>
                    <a:pt x="194" y="76"/>
                  </a:lnTo>
                  <a:lnTo>
                    <a:pt x="194" y="77"/>
                  </a:lnTo>
                  <a:lnTo>
                    <a:pt x="195" y="77"/>
                  </a:lnTo>
                  <a:lnTo>
                    <a:pt x="202" y="75"/>
                  </a:lnTo>
                  <a:lnTo>
                    <a:pt x="205" y="75"/>
                  </a:lnTo>
                  <a:lnTo>
                    <a:pt x="211" y="78"/>
                  </a:lnTo>
                  <a:lnTo>
                    <a:pt x="215" y="78"/>
                  </a:lnTo>
                  <a:lnTo>
                    <a:pt x="219" y="78"/>
                  </a:lnTo>
                  <a:lnTo>
                    <a:pt x="223" y="77"/>
                  </a:lnTo>
                  <a:lnTo>
                    <a:pt x="226" y="76"/>
                  </a:lnTo>
                  <a:lnTo>
                    <a:pt x="227" y="76"/>
                  </a:lnTo>
                  <a:lnTo>
                    <a:pt x="229" y="76"/>
                  </a:lnTo>
                  <a:lnTo>
                    <a:pt x="233" y="79"/>
                  </a:lnTo>
                  <a:lnTo>
                    <a:pt x="235" y="76"/>
                  </a:lnTo>
                  <a:lnTo>
                    <a:pt x="237" y="74"/>
                  </a:lnTo>
                  <a:lnTo>
                    <a:pt x="243" y="69"/>
                  </a:lnTo>
                  <a:lnTo>
                    <a:pt x="244" y="66"/>
                  </a:lnTo>
                  <a:lnTo>
                    <a:pt x="248" y="55"/>
                  </a:lnTo>
                  <a:lnTo>
                    <a:pt x="248" y="54"/>
                  </a:lnTo>
                  <a:lnTo>
                    <a:pt x="253" y="53"/>
                  </a:lnTo>
                  <a:lnTo>
                    <a:pt x="256" y="53"/>
                  </a:lnTo>
                  <a:lnTo>
                    <a:pt x="257" y="54"/>
                  </a:lnTo>
                  <a:lnTo>
                    <a:pt x="260" y="62"/>
                  </a:lnTo>
                  <a:lnTo>
                    <a:pt x="260" y="72"/>
                  </a:lnTo>
                  <a:lnTo>
                    <a:pt x="259" y="75"/>
                  </a:lnTo>
                  <a:lnTo>
                    <a:pt x="256" y="78"/>
                  </a:lnTo>
                  <a:lnTo>
                    <a:pt x="246" y="82"/>
                  </a:lnTo>
                  <a:lnTo>
                    <a:pt x="243" y="84"/>
                  </a:lnTo>
                  <a:lnTo>
                    <a:pt x="234" y="94"/>
                  </a:lnTo>
                  <a:lnTo>
                    <a:pt x="225" y="103"/>
                  </a:lnTo>
                  <a:lnTo>
                    <a:pt x="215" y="115"/>
                  </a:lnTo>
                  <a:lnTo>
                    <a:pt x="210" y="121"/>
                  </a:lnTo>
                  <a:lnTo>
                    <a:pt x="208" y="123"/>
                  </a:lnTo>
                  <a:lnTo>
                    <a:pt x="206" y="127"/>
                  </a:lnTo>
                  <a:lnTo>
                    <a:pt x="205" y="130"/>
                  </a:lnTo>
                  <a:lnTo>
                    <a:pt x="202" y="146"/>
                  </a:lnTo>
                  <a:lnTo>
                    <a:pt x="201" y="150"/>
                  </a:lnTo>
                  <a:lnTo>
                    <a:pt x="202" y="156"/>
                  </a:lnTo>
                  <a:lnTo>
                    <a:pt x="203" y="162"/>
                  </a:lnTo>
                  <a:lnTo>
                    <a:pt x="202" y="165"/>
                  </a:lnTo>
                  <a:lnTo>
                    <a:pt x="199" y="168"/>
                  </a:lnTo>
                  <a:lnTo>
                    <a:pt x="198" y="172"/>
                  </a:lnTo>
                  <a:lnTo>
                    <a:pt x="198" y="175"/>
                  </a:lnTo>
                  <a:lnTo>
                    <a:pt x="199" y="180"/>
                  </a:lnTo>
                  <a:lnTo>
                    <a:pt x="199" y="182"/>
                  </a:lnTo>
                  <a:lnTo>
                    <a:pt x="198" y="184"/>
                  </a:lnTo>
                  <a:lnTo>
                    <a:pt x="196" y="186"/>
                  </a:lnTo>
                  <a:lnTo>
                    <a:pt x="196" y="188"/>
                  </a:lnTo>
                  <a:lnTo>
                    <a:pt x="202" y="194"/>
                  </a:lnTo>
                  <a:lnTo>
                    <a:pt x="205" y="196"/>
                  </a:lnTo>
                  <a:lnTo>
                    <a:pt x="210" y="198"/>
                  </a:lnTo>
                  <a:lnTo>
                    <a:pt x="211" y="199"/>
                  </a:lnTo>
                  <a:lnTo>
                    <a:pt x="213" y="201"/>
                  </a:lnTo>
                  <a:lnTo>
                    <a:pt x="213" y="204"/>
                  </a:lnTo>
                  <a:lnTo>
                    <a:pt x="211" y="208"/>
                  </a:lnTo>
                  <a:lnTo>
                    <a:pt x="211" y="210"/>
                  </a:lnTo>
                  <a:lnTo>
                    <a:pt x="211" y="213"/>
                  </a:lnTo>
                  <a:lnTo>
                    <a:pt x="212" y="215"/>
                  </a:lnTo>
                  <a:lnTo>
                    <a:pt x="215" y="217"/>
                  </a:lnTo>
                  <a:lnTo>
                    <a:pt x="218" y="219"/>
                  </a:lnTo>
                  <a:lnTo>
                    <a:pt x="219" y="219"/>
                  </a:lnTo>
                  <a:lnTo>
                    <a:pt x="220" y="226"/>
                  </a:lnTo>
                  <a:lnTo>
                    <a:pt x="218" y="229"/>
                  </a:lnTo>
                  <a:lnTo>
                    <a:pt x="214" y="236"/>
                  </a:lnTo>
                  <a:lnTo>
                    <a:pt x="210" y="242"/>
                  </a:lnTo>
                  <a:lnTo>
                    <a:pt x="208" y="247"/>
                  </a:lnTo>
                  <a:lnTo>
                    <a:pt x="205" y="250"/>
                  </a:lnTo>
                  <a:lnTo>
                    <a:pt x="201" y="252"/>
                  </a:lnTo>
                  <a:lnTo>
                    <a:pt x="195" y="255"/>
                  </a:lnTo>
                  <a:lnTo>
                    <a:pt x="183" y="258"/>
                  </a:lnTo>
                  <a:lnTo>
                    <a:pt x="173" y="259"/>
                  </a:lnTo>
                  <a:lnTo>
                    <a:pt x="165" y="260"/>
                  </a:lnTo>
                  <a:lnTo>
                    <a:pt x="159" y="260"/>
                  </a:lnTo>
                  <a:lnTo>
                    <a:pt x="152" y="259"/>
                  </a:lnTo>
                  <a:lnTo>
                    <a:pt x="147" y="258"/>
                  </a:lnTo>
                  <a:lnTo>
                    <a:pt x="146" y="259"/>
                  </a:lnTo>
                  <a:lnTo>
                    <a:pt x="146" y="265"/>
                  </a:lnTo>
                  <a:lnTo>
                    <a:pt x="148" y="268"/>
                  </a:lnTo>
                  <a:lnTo>
                    <a:pt x="150" y="269"/>
                  </a:lnTo>
                  <a:lnTo>
                    <a:pt x="149" y="271"/>
                  </a:lnTo>
                  <a:lnTo>
                    <a:pt x="147" y="276"/>
                  </a:lnTo>
                  <a:lnTo>
                    <a:pt x="145" y="280"/>
                  </a:lnTo>
                  <a:lnTo>
                    <a:pt x="145" y="283"/>
                  </a:lnTo>
                  <a:lnTo>
                    <a:pt x="147" y="288"/>
                  </a:lnTo>
                  <a:lnTo>
                    <a:pt x="147" y="291"/>
                  </a:lnTo>
                  <a:lnTo>
                    <a:pt x="146" y="292"/>
                  </a:lnTo>
                  <a:lnTo>
                    <a:pt x="145" y="293"/>
                  </a:lnTo>
                  <a:lnTo>
                    <a:pt x="138" y="296"/>
                  </a:lnTo>
                  <a:lnTo>
                    <a:pt x="132" y="297"/>
                  </a:lnTo>
                  <a:lnTo>
                    <a:pt x="127" y="297"/>
                  </a:lnTo>
                  <a:lnTo>
                    <a:pt x="121" y="294"/>
                  </a:lnTo>
                  <a:lnTo>
                    <a:pt x="112" y="291"/>
                  </a:lnTo>
                  <a:lnTo>
                    <a:pt x="111" y="291"/>
                  </a:lnTo>
                  <a:lnTo>
                    <a:pt x="109" y="294"/>
                  </a:lnTo>
                  <a:lnTo>
                    <a:pt x="110" y="298"/>
                  </a:lnTo>
                  <a:lnTo>
                    <a:pt x="112" y="304"/>
                  </a:lnTo>
                  <a:lnTo>
                    <a:pt x="112" y="307"/>
                  </a:lnTo>
                  <a:lnTo>
                    <a:pt x="111" y="312"/>
                  </a:lnTo>
                  <a:lnTo>
                    <a:pt x="112" y="315"/>
                  </a:lnTo>
                  <a:lnTo>
                    <a:pt x="116" y="319"/>
                  </a:lnTo>
                  <a:lnTo>
                    <a:pt x="121" y="320"/>
                  </a:lnTo>
                  <a:lnTo>
                    <a:pt x="123" y="318"/>
                  </a:lnTo>
                  <a:lnTo>
                    <a:pt x="121" y="315"/>
                  </a:lnTo>
                  <a:lnTo>
                    <a:pt x="126" y="313"/>
                  </a:lnTo>
                  <a:lnTo>
                    <a:pt x="128" y="313"/>
                  </a:lnTo>
                  <a:lnTo>
                    <a:pt x="130" y="321"/>
                  </a:lnTo>
                  <a:lnTo>
                    <a:pt x="130" y="324"/>
                  </a:lnTo>
                  <a:lnTo>
                    <a:pt x="129" y="325"/>
                  </a:lnTo>
                  <a:lnTo>
                    <a:pt x="127" y="326"/>
                  </a:lnTo>
                  <a:lnTo>
                    <a:pt x="124" y="327"/>
                  </a:lnTo>
                  <a:lnTo>
                    <a:pt x="123" y="325"/>
                  </a:lnTo>
                  <a:lnTo>
                    <a:pt x="123" y="323"/>
                  </a:lnTo>
                  <a:lnTo>
                    <a:pt x="122" y="322"/>
                  </a:lnTo>
                  <a:lnTo>
                    <a:pt x="115" y="323"/>
                  </a:lnTo>
                  <a:lnTo>
                    <a:pt x="112" y="324"/>
                  </a:lnTo>
                  <a:lnTo>
                    <a:pt x="111" y="325"/>
                  </a:lnTo>
                  <a:lnTo>
                    <a:pt x="111" y="327"/>
                  </a:lnTo>
                  <a:lnTo>
                    <a:pt x="115" y="328"/>
                  </a:lnTo>
                  <a:lnTo>
                    <a:pt x="118" y="328"/>
                  </a:lnTo>
                  <a:lnTo>
                    <a:pt x="120" y="329"/>
                  </a:lnTo>
                  <a:lnTo>
                    <a:pt x="121" y="330"/>
                  </a:lnTo>
                  <a:lnTo>
                    <a:pt x="115" y="333"/>
                  </a:lnTo>
                  <a:lnTo>
                    <a:pt x="111" y="335"/>
                  </a:lnTo>
                  <a:lnTo>
                    <a:pt x="108" y="340"/>
                  </a:lnTo>
                  <a:lnTo>
                    <a:pt x="108" y="343"/>
                  </a:lnTo>
                  <a:lnTo>
                    <a:pt x="108" y="350"/>
                  </a:lnTo>
                  <a:lnTo>
                    <a:pt x="108" y="352"/>
                  </a:lnTo>
                  <a:lnTo>
                    <a:pt x="103" y="358"/>
                  </a:lnTo>
                  <a:lnTo>
                    <a:pt x="103" y="360"/>
                  </a:lnTo>
                  <a:lnTo>
                    <a:pt x="106" y="363"/>
                  </a:lnTo>
                  <a:lnTo>
                    <a:pt x="103" y="364"/>
                  </a:lnTo>
                  <a:lnTo>
                    <a:pt x="96" y="365"/>
                  </a:lnTo>
                  <a:lnTo>
                    <a:pt x="93" y="366"/>
                  </a:lnTo>
                  <a:lnTo>
                    <a:pt x="90" y="368"/>
                  </a:lnTo>
                  <a:lnTo>
                    <a:pt x="86" y="371"/>
                  </a:lnTo>
                  <a:lnTo>
                    <a:pt x="82" y="376"/>
                  </a:lnTo>
                  <a:lnTo>
                    <a:pt x="79" y="382"/>
                  </a:lnTo>
                  <a:lnTo>
                    <a:pt x="79" y="386"/>
                  </a:lnTo>
                  <a:lnTo>
                    <a:pt x="79" y="389"/>
                  </a:lnTo>
                  <a:lnTo>
                    <a:pt x="81" y="394"/>
                  </a:lnTo>
                  <a:lnTo>
                    <a:pt x="84" y="398"/>
                  </a:lnTo>
                  <a:lnTo>
                    <a:pt x="90" y="403"/>
                  </a:lnTo>
                  <a:lnTo>
                    <a:pt x="94" y="405"/>
                  </a:lnTo>
                  <a:lnTo>
                    <a:pt x="99" y="407"/>
                  </a:lnTo>
                  <a:lnTo>
                    <a:pt x="102" y="408"/>
                  </a:lnTo>
                  <a:lnTo>
                    <a:pt x="102" y="410"/>
                  </a:lnTo>
                  <a:lnTo>
                    <a:pt x="101" y="417"/>
                  </a:lnTo>
                  <a:lnTo>
                    <a:pt x="100" y="420"/>
                  </a:lnTo>
                  <a:lnTo>
                    <a:pt x="99" y="424"/>
                  </a:lnTo>
                  <a:lnTo>
                    <a:pt x="97" y="425"/>
                  </a:lnTo>
                  <a:lnTo>
                    <a:pt x="91" y="430"/>
                  </a:lnTo>
                  <a:lnTo>
                    <a:pt x="82" y="437"/>
                  </a:lnTo>
                  <a:lnTo>
                    <a:pt x="78" y="443"/>
                  </a:lnTo>
                  <a:lnTo>
                    <a:pt x="77" y="446"/>
                  </a:lnTo>
                  <a:lnTo>
                    <a:pt x="76" y="450"/>
                  </a:lnTo>
                  <a:lnTo>
                    <a:pt x="77" y="454"/>
                  </a:lnTo>
                  <a:lnTo>
                    <a:pt x="76" y="459"/>
                  </a:lnTo>
                  <a:lnTo>
                    <a:pt x="75" y="462"/>
                  </a:lnTo>
                  <a:lnTo>
                    <a:pt x="69" y="466"/>
                  </a:lnTo>
                  <a:lnTo>
                    <a:pt x="63" y="468"/>
                  </a:lnTo>
                  <a:lnTo>
                    <a:pt x="61" y="470"/>
                  </a:lnTo>
                  <a:lnTo>
                    <a:pt x="59" y="474"/>
                  </a:lnTo>
                  <a:lnTo>
                    <a:pt x="57" y="481"/>
                  </a:lnTo>
                  <a:lnTo>
                    <a:pt x="57" y="486"/>
                  </a:lnTo>
                  <a:lnTo>
                    <a:pt x="58" y="493"/>
                  </a:lnTo>
                  <a:lnTo>
                    <a:pt x="61" y="502"/>
                  </a:lnTo>
                  <a:lnTo>
                    <a:pt x="66" y="509"/>
                  </a:lnTo>
                  <a:lnTo>
                    <a:pt x="67" y="512"/>
                  </a:lnTo>
                  <a:lnTo>
                    <a:pt x="66" y="51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5" name="Freeform 107">
              <a:extLst>
                <a:ext uri="{FF2B5EF4-FFF2-40B4-BE49-F238E27FC236}">
                  <a16:creationId xmlns:a16="http://schemas.microsoft.com/office/drawing/2014/main" id="{F3EA8C94-933F-77BF-5EC3-96B10F2B8656}"/>
                </a:ext>
              </a:extLst>
            </p:cNvPr>
            <p:cNvSpPr>
              <a:spLocks/>
            </p:cNvSpPr>
            <p:nvPr/>
          </p:nvSpPr>
          <p:spPr bwMode="auto">
            <a:xfrm>
              <a:off x="6186071" y="4295775"/>
              <a:ext cx="66675" cy="66675"/>
            </a:xfrm>
            <a:custGeom>
              <a:avLst/>
              <a:gdLst/>
              <a:ahLst/>
              <a:cxnLst>
                <a:cxn ang="0">
                  <a:pos x="39" y="42"/>
                </a:cxn>
                <a:cxn ang="0">
                  <a:pos x="34" y="37"/>
                </a:cxn>
                <a:cxn ang="0">
                  <a:pos x="32" y="34"/>
                </a:cxn>
                <a:cxn ang="0">
                  <a:pos x="32" y="31"/>
                </a:cxn>
                <a:cxn ang="0">
                  <a:pos x="29" y="30"/>
                </a:cxn>
                <a:cxn ang="0">
                  <a:pos x="26" y="30"/>
                </a:cxn>
                <a:cxn ang="0">
                  <a:pos x="23" y="28"/>
                </a:cxn>
                <a:cxn ang="0">
                  <a:pos x="20" y="27"/>
                </a:cxn>
                <a:cxn ang="0">
                  <a:pos x="16" y="27"/>
                </a:cxn>
                <a:cxn ang="0">
                  <a:pos x="4" y="22"/>
                </a:cxn>
                <a:cxn ang="0">
                  <a:pos x="2" y="18"/>
                </a:cxn>
                <a:cxn ang="0">
                  <a:pos x="5" y="10"/>
                </a:cxn>
                <a:cxn ang="0">
                  <a:pos x="2" y="3"/>
                </a:cxn>
                <a:cxn ang="0">
                  <a:pos x="6" y="3"/>
                </a:cxn>
                <a:cxn ang="0">
                  <a:pos x="11" y="1"/>
                </a:cxn>
                <a:cxn ang="0">
                  <a:pos x="18" y="1"/>
                </a:cxn>
                <a:cxn ang="0">
                  <a:pos x="22" y="0"/>
                </a:cxn>
                <a:cxn ang="0">
                  <a:pos x="24" y="3"/>
                </a:cxn>
                <a:cxn ang="0">
                  <a:pos x="23" y="4"/>
                </a:cxn>
                <a:cxn ang="0">
                  <a:pos x="27" y="5"/>
                </a:cxn>
                <a:cxn ang="0">
                  <a:pos x="29" y="9"/>
                </a:cxn>
                <a:cxn ang="0">
                  <a:pos x="26" y="12"/>
                </a:cxn>
                <a:cxn ang="0">
                  <a:pos x="31" y="17"/>
                </a:cxn>
                <a:cxn ang="0">
                  <a:pos x="34" y="18"/>
                </a:cxn>
                <a:cxn ang="0">
                  <a:pos x="33" y="22"/>
                </a:cxn>
                <a:cxn ang="0">
                  <a:pos x="29" y="22"/>
                </a:cxn>
                <a:cxn ang="0">
                  <a:pos x="31" y="24"/>
                </a:cxn>
                <a:cxn ang="0">
                  <a:pos x="34" y="27"/>
                </a:cxn>
                <a:cxn ang="0">
                  <a:pos x="37" y="29"/>
                </a:cxn>
                <a:cxn ang="0">
                  <a:pos x="41" y="30"/>
                </a:cxn>
                <a:cxn ang="0">
                  <a:pos x="39" y="32"/>
                </a:cxn>
                <a:cxn ang="0">
                  <a:pos x="42" y="35"/>
                </a:cxn>
                <a:cxn ang="0">
                  <a:pos x="40" y="36"/>
                </a:cxn>
                <a:cxn ang="0">
                  <a:pos x="41" y="39"/>
                </a:cxn>
                <a:cxn ang="0">
                  <a:pos x="41" y="40"/>
                </a:cxn>
              </a:cxnLst>
              <a:rect l="0" t="0" r="r" b="b"/>
              <a:pathLst>
                <a:path w="42" h="42">
                  <a:moveTo>
                    <a:pt x="41" y="40"/>
                  </a:moveTo>
                  <a:lnTo>
                    <a:pt x="39" y="42"/>
                  </a:lnTo>
                  <a:lnTo>
                    <a:pt x="37" y="42"/>
                  </a:lnTo>
                  <a:lnTo>
                    <a:pt x="34" y="37"/>
                  </a:lnTo>
                  <a:lnTo>
                    <a:pt x="35" y="35"/>
                  </a:lnTo>
                  <a:lnTo>
                    <a:pt x="32" y="34"/>
                  </a:lnTo>
                  <a:lnTo>
                    <a:pt x="32" y="33"/>
                  </a:lnTo>
                  <a:lnTo>
                    <a:pt x="32" y="31"/>
                  </a:lnTo>
                  <a:lnTo>
                    <a:pt x="32" y="30"/>
                  </a:lnTo>
                  <a:lnTo>
                    <a:pt x="29" y="30"/>
                  </a:lnTo>
                  <a:lnTo>
                    <a:pt x="27" y="31"/>
                  </a:lnTo>
                  <a:lnTo>
                    <a:pt x="26" y="30"/>
                  </a:lnTo>
                  <a:lnTo>
                    <a:pt x="24" y="29"/>
                  </a:lnTo>
                  <a:lnTo>
                    <a:pt x="23" y="28"/>
                  </a:lnTo>
                  <a:lnTo>
                    <a:pt x="22" y="26"/>
                  </a:lnTo>
                  <a:lnTo>
                    <a:pt x="20" y="27"/>
                  </a:lnTo>
                  <a:lnTo>
                    <a:pt x="20" y="27"/>
                  </a:lnTo>
                  <a:lnTo>
                    <a:pt x="16" y="27"/>
                  </a:lnTo>
                  <a:lnTo>
                    <a:pt x="13" y="23"/>
                  </a:lnTo>
                  <a:lnTo>
                    <a:pt x="4" y="22"/>
                  </a:lnTo>
                  <a:lnTo>
                    <a:pt x="3" y="21"/>
                  </a:lnTo>
                  <a:lnTo>
                    <a:pt x="2" y="18"/>
                  </a:lnTo>
                  <a:lnTo>
                    <a:pt x="5" y="11"/>
                  </a:lnTo>
                  <a:lnTo>
                    <a:pt x="5" y="10"/>
                  </a:lnTo>
                  <a:lnTo>
                    <a:pt x="0" y="4"/>
                  </a:lnTo>
                  <a:lnTo>
                    <a:pt x="2" y="3"/>
                  </a:lnTo>
                  <a:lnTo>
                    <a:pt x="4" y="3"/>
                  </a:lnTo>
                  <a:lnTo>
                    <a:pt x="6" y="3"/>
                  </a:lnTo>
                  <a:lnTo>
                    <a:pt x="8" y="3"/>
                  </a:lnTo>
                  <a:lnTo>
                    <a:pt x="11" y="1"/>
                  </a:lnTo>
                  <a:lnTo>
                    <a:pt x="14" y="2"/>
                  </a:lnTo>
                  <a:lnTo>
                    <a:pt x="18" y="1"/>
                  </a:lnTo>
                  <a:lnTo>
                    <a:pt x="20" y="1"/>
                  </a:lnTo>
                  <a:lnTo>
                    <a:pt x="22" y="0"/>
                  </a:lnTo>
                  <a:lnTo>
                    <a:pt x="22" y="2"/>
                  </a:lnTo>
                  <a:lnTo>
                    <a:pt x="24" y="3"/>
                  </a:lnTo>
                  <a:lnTo>
                    <a:pt x="23" y="3"/>
                  </a:lnTo>
                  <a:lnTo>
                    <a:pt x="23" y="4"/>
                  </a:lnTo>
                  <a:lnTo>
                    <a:pt x="25" y="5"/>
                  </a:lnTo>
                  <a:lnTo>
                    <a:pt x="27" y="5"/>
                  </a:lnTo>
                  <a:lnTo>
                    <a:pt x="28" y="7"/>
                  </a:lnTo>
                  <a:lnTo>
                    <a:pt x="29" y="9"/>
                  </a:lnTo>
                  <a:lnTo>
                    <a:pt x="27" y="10"/>
                  </a:lnTo>
                  <a:lnTo>
                    <a:pt x="26" y="12"/>
                  </a:lnTo>
                  <a:lnTo>
                    <a:pt x="28" y="15"/>
                  </a:lnTo>
                  <a:lnTo>
                    <a:pt x="31" y="17"/>
                  </a:lnTo>
                  <a:lnTo>
                    <a:pt x="32" y="18"/>
                  </a:lnTo>
                  <a:lnTo>
                    <a:pt x="34" y="18"/>
                  </a:lnTo>
                  <a:lnTo>
                    <a:pt x="34" y="20"/>
                  </a:lnTo>
                  <a:lnTo>
                    <a:pt x="33" y="22"/>
                  </a:lnTo>
                  <a:lnTo>
                    <a:pt x="31" y="22"/>
                  </a:lnTo>
                  <a:lnTo>
                    <a:pt x="29" y="22"/>
                  </a:lnTo>
                  <a:lnTo>
                    <a:pt x="30" y="23"/>
                  </a:lnTo>
                  <a:lnTo>
                    <a:pt x="31" y="24"/>
                  </a:lnTo>
                  <a:lnTo>
                    <a:pt x="33" y="27"/>
                  </a:lnTo>
                  <a:lnTo>
                    <a:pt x="34" y="27"/>
                  </a:lnTo>
                  <a:lnTo>
                    <a:pt x="36" y="28"/>
                  </a:lnTo>
                  <a:lnTo>
                    <a:pt x="37" y="29"/>
                  </a:lnTo>
                  <a:lnTo>
                    <a:pt x="40" y="30"/>
                  </a:lnTo>
                  <a:lnTo>
                    <a:pt x="41" y="30"/>
                  </a:lnTo>
                  <a:lnTo>
                    <a:pt x="41" y="31"/>
                  </a:lnTo>
                  <a:lnTo>
                    <a:pt x="39" y="32"/>
                  </a:lnTo>
                  <a:lnTo>
                    <a:pt x="41" y="34"/>
                  </a:lnTo>
                  <a:lnTo>
                    <a:pt x="42" y="35"/>
                  </a:lnTo>
                  <a:lnTo>
                    <a:pt x="41" y="36"/>
                  </a:lnTo>
                  <a:lnTo>
                    <a:pt x="40" y="36"/>
                  </a:lnTo>
                  <a:lnTo>
                    <a:pt x="41" y="37"/>
                  </a:lnTo>
                  <a:lnTo>
                    <a:pt x="41" y="39"/>
                  </a:lnTo>
                  <a:lnTo>
                    <a:pt x="41" y="39"/>
                  </a:lnTo>
                  <a:lnTo>
                    <a:pt x="41" y="4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6" name="Freeform 108">
              <a:extLst>
                <a:ext uri="{FF2B5EF4-FFF2-40B4-BE49-F238E27FC236}">
                  <a16:creationId xmlns:a16="http://schemas.microsoft.com/office/drawing/2014/main" id="{FDD35996-D090-954A-C01A-65F4ADE94A20}"/>
                </a:ext>
              </a:extLst>
            </p:cNvPr>
            <p:cNvSpPr>
              <a:spLocks/>
            </p:cNvSpPr>
            <p:nvPr/>
          </p:nvSpPr>
          <p:spPr bwMode="auto">
            <a:xfrm>
              <a:off x="5516146" y="5164138"/>
              <a:ext cx="152400" cy="177800"/>
            </a:xfrm>
            <a:custGeom>
              <a:avLst/>
              <a:gdLst/>
              <a:ahLst/>
              <a:cxnLst>
                <a:cxn ang="0">
                  <a:pos x="20" y="106"/>
                </a:cxn>
                <a:cxn ang="0">
                  <a:pos x="14" y="110"/>
                </a:cxn>
                <a:cxn ang="0">
                  <a:pos x="10" y="111"/>
                </a:cxn>
                <a:cxn ang="0">
                  <a:pos x="0" y="98"/>
                </a:cxn>
                <a:cxn ang="0">
                  <a:pos x="3" y="95"/>
                </a:cxn>
                <a:cxn ang="0">
                  <a:pos x="10" y="93"/>
                </a:cxn>
                <a:cxn ang="0">
                  <a:pos x="8" y="90"/>
                </a:cxn>
                <a:cxn ang="0">
                  <a:pos x="5" y="84"/>
                </a:cxn>
                <a:cxn ang="0">
                  <a:pos x="6" y="81"/>
                </a:cxn>
                <a:cxn ang="0">
                  <a:pos x="15" y="78"/>
                </a:cxn>
                <a:cxn ang="0">
                  <a:pos x="16" y="72"/>
                </a:cxn>
                <a:cxn ang="0">
                  <a:pos x="19" y="71"/>
                </a:cxn>
                <a:cxn ang="0">
                  <a:pos x="22" y="75"/>
                </a:cxn>
                <a:cxn ang="0">
                  <a:pos x="27" y="79"/>
                </a:cxn>
                <a:cxn ang="0">
                  <a:pos x="30" y="78"/>
                </a:cxn>
                <a:cxn ang="0">
                  <a:pos x="33" y="77"/>
                </a:cxn>
                <a:cxn ang="0">
                  <a:pos x="35" y="80"/>
                </a:cxn>
                <a:cxn ang="0">
                  <a:pos x="39" y="80"/>
                </a:cxn>
                <a:cxn ang="0">
                  <a:pos x="41" y="70"/>
                </a:cxn>
                <a:cxn ang="0">
                  <a:pos x="43" y="56"/>
                </a:cxn>
                <a:cxn ang="0">
                  <a:pos x="42" y="54"/>
                </a:cxn>
                <a:cxn ang="0">
                  <a:pos x="36" y="52"/>
                </a:cxn>
                <a:cxn ang="0">
                  <a:pos x="34" y="48"/>
                </a:cxn>
                <a:cxn ang="0">
                  <a:pos x="34" y="45"/>
                </a:cxn>
                <a:cxn ang="0">
                  <a:pos x="38" y="41"/>
                </a:cxn>
                <a:cxn ang="0">
                  <a:pos x="42" y="36"/>
                </a:cxn>
                <a:cxn ang="0">
                  <a:pos x="37" y="29"/>
                </a:cxn>
                <a:cxn ang="0">
                  <a:pos x="28" y="32"/>
                </a:cxn>
                <a:cxn ang="0">
                  <a:pos x="25" y="30"/>
                </a:cxn>
                <a:cxn ang="0">
                  <a:pos x="25" y="22"/>
                </a:cxn>
                <a:cxn ang="0">
                  <a:pos x="30" y="20"/>
                </a:cxn>
                <a:cxn ang="0">
                  <a:pos x="41" y="20"/>
                </a:cxn>
                <a:cxn ang="0">
                  <a:pos x="45" y="20"/>
                </a:cxn>
                <a:cxn ang="0">
                  <a:pos x="52" y="22"/>
                </a:cxn>
                <a:cxn ang="0">
                  <a:pos x="62" y="26"/>
                </a:cxn>
                <a:cxn ang="0">
                  <a:pos x="63" y="20"/>
                </a:cxn>
                <a:cxn ang="0">
                  <a:pos x="66" y="17"/>
                </a:cxn>
                <a:cxn ang="0">
                  <a:pos x="69" y="11"/>
                </a:cxn>
                <a:cxn ang="0">
                  <a:pos x="72" y="2"/>
                </a:cxn>
                <a:cxn ang="0">
                  <a:pos x="80" y="0"/>
                </a:cxn>
                <a:cxn ang="0">
                  <a:pos x="86" y="2"/>
                </a:cxn>
                <a:cxn ang="0">
                  <a:pos x="96" y="0"/>
                </a:cxn>
                <a:cxn ang="0">
                  <a:pos x="96" y="3"/>
                </a:cxn>
                <a:cxn ang="0">
                  <a:pos x="91" y="15"/>
                </a:cxn>
                <a:cxn ang="0">
                  <a:pos x="88" y="23"/>
                </a:cxn>
                <a:cxn ang="0">
                  <a:pos x="86" y="39"/>
                </a:cxn>
                <a:cxn ang="0">
                  <a:pos x="84" y="50"/>
                </a:cxn>
                <a:cxn ang="0">
                  <a:pos x="82" y="58"/>
                </a:cxn>
                <a:cxn ang="0">
                  <a:pos x="76" y="62"/>
                </a:cxn>
                <a:cxn ang="0">
                  <a:pos x="69" y="68"/>
                </a:cxn>
                <a:cxn ang="0">
                  <a:pos x="64" y="77"/>
                </a:cxn>
                <a:cxn ang="0">
                  <a:pos x="63" y="86"/>
                </a:cxn>
                <a:cxn ang="0">
                  <a:pos x="63" y="95"/>
                </a:cxn>
                <a:cxn ang="0">
                  <a:pos x="55" y="102"/>
                </a:cxn>
                <a:cxn ang="0">
                  <a:pos x="46" y="109"/>
                </a:cxn>
                <a:cxn ang="0">
                  <a:pos x="42" y="109"/>
                </a:cxn>
                <a:cxn ang="0">
                  <a:pos x="41" y="103"/>
                </a:cxn>
                <a:cxn ang="0">
                  <a:pos x="30" y="110"/>
                </a:cxn>
                <a:cxn ang="0">
                  <a:pos x="27" y="111"/>
                </a:cxn>
              </a:cxnLst>
              <a:rect l="0" t="0" r="r" b="b"/>
              <a:pathLst>
                <a:path w="96" h="112">
                  <a:moveTo>
                    <a:pt x="24" y="109"/>
                  </a:moveTo>
                  <a:lnTo>
                    <a:pt x="20" y="106"/>
                  </a:lnTo>
                  <a:lnTo>
                    <a:pt x="18" y="107"/>
                  </a:lnTo>
                  <a:lnTo>
                    <a:pt x="14" y="110"/>
                  </a:lnTo>
                  <a:lnTo>
                    <a:pt x="11" y="112"/>
                  </a:lnTo>
                  <a:lnTo>
                    <a:pt x="10" y="111"/>
                  </a:lnTo>
                  <a:lnTo>
                    <a:pt x="8" y="106"/>
                  </a:lnTo>
                  <a:lnTo>
                    <a:pt x="0" y="98"/>
                  </a:lnTo>
                  <a:lnTo>
                    <a:pt x="1" y="96"/>
                  </a:lnTo>
                  <a:lnTo>
                    <a:pt x="3" y="95"/>
                  </a:lnTo>
                  <a:lnTo>
                    <a:pt x="8" y="97"/>
                  </a:lnTo>
                  <a:lnTo>
                    <a:pt x="10" y="93"/>
                  </a:lnTo>
                  <a:lnTo>
                    <a:pt x="9" y="91"/>
                  </a:lnTo>
                  <a:lnTo>
                    <a:pt x="8" y="90"/>
                  </a:lnTo>
                  <a:lnTo>
                    <a:pt x="6" y="87"/>
                  </a:lnTo>
                  <a:lnTo>
                    <a:pt x="5" y="84"/>
                  </a:lnTo>
                  <a:lnTo>
                    <a:pt x="5" y="81"/>
                  </a:lnTo>
                  <a:lnTo>
                    <a:pt x="6" y="81"/>
                  </a:lnTo>
                  <a:lnTo>
                    <a:pt x="11" y="80"/>
                  </a:lnTo>
                  <a:lnTo>
                    <a:pt x="15" y="78"/>
                  </a:lnTo>
                  <a:lnTo>
                    <a:pt x="16" y="77"/>
                  </a:lnTo>
                  <a:lnTo>
                    <a:pt x="16" y="72"/>
                  </a:lnTo>
                  <a:lnTo>
                    <a:pt x="18" y="71"/>
                  </a:lnTo>
                  <a:lnTo>
                    <a:pt x="19" y="71"/>
                  </a:lnTo>
                  <a:lnTo>
                    <a:pt x="20" y="72"/>
                  </a:lnTo>
                  <a:lnTo>
                    <a:pt x="22" y="75"/>
                  </a:lnTo>
                  <a:lnTo>
                    <a:pt x="25" y="78"/>
                  </a:lnTo>
                  <a:lnTo>
                    <a:pt x="27" y="79"/>
                  </a:lnTo>
                  <a:lnTo>
                    <a:pt x="28" y="79"/>
                  </a:lnTo>
                  <a:lnTo>
                    <a:pt x="30" y="78"/>
                  </a:lnTo>
                  <a:lnTo>
                    <a:pt x="32" y="75"/>
                  </a:lnTo>
                  <a:lnTo>
                    <a:pt x="33" y="77"/>
                  </a:lnTo>
                  <a:lnTo>
                    <a:pt x="34" y="80"/>
                  </a:lnTo>
                  <a:lnTo>
                    <a:pt x="35" y="80"/>
                  </a:lnTo>
                  <a:lnTo>
                    <a:pt x="37" y="81"/>
                  </a:lnTo>
                  <a:lnTo>
                    <a:pt x="39" y="80"/>
                  </a:lnTo>
                  <a:lnTo>
                    <a:pt x="40" y="76"/>
                  </a:lnTo>
                  <a:lnTo>
                    <a:pt x="41" y="70"/>
                  </a:lnTo>
                  <a:lnTo>
                    <a:pt x="42" y="63"/>
                  </a:lnTo>
                  <a:lnTo>
                    <a:pt x="43" y="56"/>
                  </a:lnTo>
                  <a:lnTo>
                    <a:pt x="43" y="54"/>
                  </a:lnTo>
                  <a:lnTo>
                    <a:pt x="42" y="54"/>
                  </a:lnTo>
                  <a:lnTo>
                    <a:pt x="39" y="53"/>
                  </a:lnTo>
                  <a:lnTo>
                    <a:pt x="36" y="52"/>
                  </a:lnTo>
                  <a:lnTo>
                    <a:pt x="35" y="50"/>
                  </a:lnTo>
                  <a:lnTo>
                    <a:pt x="34" y="48"/>
                  </a:lnTo>
                  <a:lnTo>
                    <a:pt x="34" y="47"/>
                  </a:lnTo>
                  <a:lnTo>
                    <a:pt x="34" y="45"/>
                  </a:lnTo>
                  <a:lnTo>
                    <a:pt x="35" y="44"/>
                  </a:lnTo>
                  <a:lnTo>
                    <a:pt x="38" y="41"/>
                  </a:lnTo>
                  <a:lnTo>
                    <a:pt x="41" y="39"/>
                  </a:lnTo>
                  <a:lnTo>
                    <a:pt x="42" y="36"/>
                  </a:lnTo>
                  <a:lnTo>
                    <a:pt x="40" y="31"/>
                  </a:lnTo>
                  <a:lnTo>
                    <a:pt x="37" y="29"/>
                  </a:lnTo>
                  <a:lnTo>
                    <a:pt x="34" y="29"/>
                  </a:lnTo>
                  <a:lnTo>
                    <a:pt x="28" y="32"/>
                  </a:lnTo>
                  <a:lnTo>
                    <a:pt x="26" y="32"/>
                  </a:lnTo>
                  <a:lnTo>
                    <a:pt x="25" y="30"/>
                  </a:lnTo>
                  <a:lnTo>
                    <a:pt x="24" y="26"/>
                  </a:lnTo>
                  <a:lnTo>
                    <a:pt x="25" y="22"/>
                  </a:lnTo>
                  <a:lnTo>
                    <a:pt x="27" y="19"/>
                  </a:lnTo>
                  <a:lnTo>
                    <a:pt x="30" y="20"/>
                  </a:lnTo>
                  <a:lnTo>
                    <a:pt x="36" y="20"/>
                  </a:lnTo>
                  <a:lnTo>
                    <a:pt x="41" y="20"/>
                  </a:lnTo>
                  <a:lnTo>
                    <a:pt x="42" y="20"/>
                  </a:lnTo>
                  <a:lnTo>
                    <a:pt x="45" y="20"/>
                  </a:lnTo>
                  <a:lnTo>
                    <a:pt x="48" y="21"/>
                  </a:lnTo>
                  <a:lnTo>
                    <a:pt x="52" y="22"/>
                  </a:lnTo>
                  <a:lnTo>
                    <a:pt x="57" y="24"/>
                  </a:lnTo>
                  <a:lnTo>
                    <a:pt x="62" y="26"/>
                  </a:lnTo>
                  <a:lnTo>
                    <a:pt x="64" y="25"/>
                  </a:lnTo>
                  <a:lnTo>
                    <a:pt x="63" y="20"/>
                  </a:lnTo>
                  <a:lnTo>
                    <a:pt x="64" y="19"/>
                  </a:lnTo>
                  <a:lnTo>
                    <a:pt x="66" y="17"/>
                  </a:lnTo>
                  <a:lnTo>
                    <a:pt x="68" y="14"/>
                  </a:lnTo>
                  <a:lnTo>
                    <a:pt x="69" y="11"/>
                  </a:lnTo>
                  <a:lnTo>
                    <a:pt x="70" y="3"/>
                  </a:lnTo>
                  <a:lnTo>
                    <a:pt x="72" y="2"/>
                  </a:lnTo>
                  <a:lnTo>
                    <a:pt x="75" y="2"/>
                  </a:lnTo>
                  <a:lnTo>
                    <a:pt x="80" y="0"/>
                  </a:lnTo>
                  <a:lnTo>
                    <a:pt x="82" y="1"/>
                  </a:lnTo>
                  <a:lnTo>
                    <a:pt x="86" y="2"/>
                  </a:lnTo>
                  <a:lnTo>
                    <a:pt x="91" y="2"/>
                  </a:lnTo>
                  <a:lnTo>
                    <a:pt x="96" y="0"/>
                  </a:lnTo>
                  <a:lnTo>
                    <a:pt x="96" y="2"/>
                  </a:lnTo>
                  <a:lnTo>
                    <a:pt x="96" y="3"/>
                  </a:lnTo>
                  <a:lnTo>
                    <a:pt x="94" y="10"/>
                  </a:lnTo>
                  <a:lnTo>
                    <a:pt x="91" y="15"/>
                  </a:lnTo>
                  <a:lnTo>
                    <a:pt x="88" y="20"/>
                  </a:lnTo>
                  <a:lnTo>
                    <a:pt x="88" y="23"/>
                  </a:lnTo>
                  <a:lnTo>
                    <a:pt x="87" y="27"/>
                  </a:lnTo>
                  <a:lnTo>
                    <a:pt x="86" y="39"/>
                  </a:lnTo>
                  <a:lnTo>
                    <a:pt x="84" y="47"/>
                  </a:lnTo>
                  <a:lnTo>
                    <a:pt x="84" y="50"/>
                  </a:lnTo>
                  <a:lnTo>
                    <a:pt x="83" y="55"/>
                  </a:lnTo>
                  <a:lnTo>
                    <a:pt x="82" y="58"/>
                  </a:lnTo>
                  <a:lnTo>
                    <a:pt x="79" y="60"/>
                  </a:lnTo>
                  <a:lnTo>
                    <a:pt x="76" y="62"/>
                  </a:lnTo>
                  <a:lnTo>
                    <a:pt x="71" y="65"/>
                  </a:lnTo>
                  <a:lnTo>
                    <a:pt x="69" y="68"/>
                  </a:lnTo>
                  <a:lnTo>
                    <a:pt x="66" y="73"/>
                  </a:lnTo>
                  <a:lnTo>
                    <a:pt x="64" y="77"/>
                  </a:lnTo>
                  <a:lnTo>
                    <a:pt x="63" y="84"/>
                  </a:lnTo>
                  <a:lnTo>
                    <a:pt x="63" y="86"/>
                  </a:lnTo>
                  <a:lnTo>
                    <a:pt x="63" y="90"/>
                  </a:lnTo>
                  <a:lnTo>
                    <a:pt x="63" y="95"/>
                  </a:lnTo>
                  <a:lnTo>
                    <a:pt x="57" y="100"/>
                  </a:lnTo>
                  <a:lnTo>
                    <a:pt x="55" y="102"/>
                  </a:lnTo>
                  <a:lnTo>
                    <a:pt x="49" y="106"/>
                  </a:lnTo>
                  <a:lnTo>
                    <a:pt x="46" y="109"/>
                  </a:lnTo>
                  <a:lnTo>
                    <a:pt x="43" y="111"/>
                  </a:lnTo>
                  <a:lnTo>
                    <a:pt x="42" y="109"/>
                  </a:lnTo>
                  <a:lnTo>
                    <a:pt x="42" y="105"/>
                  </a:lnTo>
                  <a:lnTo>
                    <a:pt x="41" y="103"/>
                  </a:lnTo>
                  <a:lnTo>
                    <a:pt x="32" y="106"/>
                  </a:lnTo>
                  <a:lnTo>
                    <a:pt x="30" y="110"/>
                  </a:lnTo>
                  <a:lnTo>
                    <a:pt x="28" y="111"/>
                  </a:lnTo>
                  <a:lnTo>
                    <a:pt x="27" y="111"/>
                  </a:lnTo>
                  <a:lnTo>
                    <a:pt x="24" y="10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7" name="Freeform 109">
              <a:extLst>
                <a:ext uri="{FF2B5EF4-FFF2-40B4-BE49-F238E27FC236}">
                  <a16:creationId xmlns:a16="http://schemas.microsoft.com/office/drawing/2014/main" id="{673CE627-3FB5-3318-9503-8F6176EF569E}"/>
                </a:ext>
              </a:extLst>
            </p:cNvPr>
            <p:cNvSpPr>
              <a:spLocks noEditPoints="1"/>
            </p:cNvSpPr>
            <p:nvPr/>
          </p:nvSpPr>
          <p:spPr bwMode="auto">
            <a:xfrm>
              <a:off x="6211471" y="4279900"/>
              <a:ext cx="119063" cy="96838"/>
            </a:xfrm>
            <a:custGeom>
              <a:avLst/>
              <a:gdLst/>
              <a:ahLst/>
              <a:cxnLst>
                <a:cxn ang="0">
                  <a:pos x="48" y="59"/>
                </a:cxn>
                <a:cxn ang="0">
                  <a:pos x="43" y="52"/>
                </a:cxn>
                <a:cxn ang="0">
                  <a:pos x="44" y="47"/>
                </a:cxn>
                <a:cxn ang="0">
                  <a:pos x="48" y="43"/>
                </a:cxn>
                <a:cxn ang="0">
                  <a:pos x="43" y="39"/>
                </a:cxn>
                <a:cxn ang="0">
                  <a:pos x="32" y="43"/>
                </a:cxn>
                <a:cxn ang="0">
                  <a:pos x="25" y="50"/>
                </a:cxn>
                <a:cxn ang="0">
                  <a:pos x="25" y="47"/>
                </a:cxn>
                <a:cxn ang="0">
                  <a:pos x="26" y="45"/>
                </a:cxn>
                <a:cxn ang="0">
                  <a:pos x="25" y="41"/>
                </a:cxn>
                <a:cxn ang="0">
                  <a:pos x="21" y="39"/>
                </a:cxn>
                <a:cxn ang="0">
                  <a:pos x="17" y="37"/>
                </a:cxn>
                <a:cxn ang="0">
                  <a:pos x="13" y="32"/>
                </a:cxn>
                <a:cxn ang="0">
                  <a:pos x="18" y="30"/>
                </a:cxn>
                <a:cxn ang="0">
                  <a:pos x="15" y="27"/>
                </a:cxn>
                <a:cxn ang="0">
                  <a:pos x="11" y="20"/>
                </a:cxn>
                <a:cxn ang="0">
                  <a:pos x="11" y="15"/>
                </a:cxn>
                <a:cxn ang="0">
                  <a:pos x="7" y="13"/>
                </a:cxn>
                <a:cxn ang="0">
                  <a:pos x="6" y="10"/>
                </a:cxn>
                <a:cxn ang="0">
                  <a:pos x="12" y="8"/>
                </a:cxn>
                <a:cxn ang="0">
                  <a:pos x="19" y="13"/>
                </a:cxn>
                <a:cxn ang="0">
                  <a:pos x="23" y="13"/>
                </a:cxn>
                <a:cxn ang="0">
                  <a:pos x="27" y="13"/>
                </a:cxn>
                <a:cxn ang="0">
                  <a:pos x="23" y="8"/>
                </a:cxn>
                <a:cxn ang="0">
                  <a:pos x="22" y="2"/>
                </a:cxn>
                <a:cxn ang="0">
                  <a:pos x="25" y="0"/>
                </a:cxn>
                <a:cxn ang="0">
                  <a:pos x="28" y="1"/>
                </a:cxn>
                <a:cxn ang="0">
                  <a:pos x="32" y="5"/>
                </a:cxn>
                <a:cxn ang="0">
                  <a:pos x="34" y="10"/>
                </a:cxn>
                <a:cxn ang="0">
                  <a:pos x="43" y="11"/>
                </a:cxn>
                <a:cxn ang="0">
                  <a:pos x="47" y="7"/>
                </a:cxn>
                <a:cxn ang="0">
                  <a:pos x="55" y="3"/>
                </a:cxn>
                <a:cxn ang="0">
                  <a:pos x="59" y="10"/>
                </a:cxn>
                <a:cxn ang="0">
                  <a:pos x="62" y="18"/>
                </a:cxn>
                <a:cxn ang="0">
                  <a:pos x="67" y="23"/>
                </a:cxn>
                <a:cxn ang="0">
                  <a:pos x="73" y="24"/>
                </a:cxn>
                <a:cxn ang="0">
                  <a:pos x="75" y="28"/>
                </a:cxn>
                <a:cxn ang="0">
                  <a:pos x="70" y="26"/>
                </a:cxn>
                <a:cxn ang="0">
                  <a:pos x="65" y="28"/>
                </a:cxn>
                <a:cxn ang="0">
                  <a:pos x="63" y="35"/>
                </a:cxn>
                <a:cxn ang="0">
                  <a:pos x="61" y="41"/>
                </a:cxn>
                <a:cxn ang="0">
                  <a:pos x="61" y="44"/>
                </a:cxn>
                <a:cxn ang="0">
                  <a:pos x="60" y="49"/>
                </a:cxn>
                <a:cxn ang="0">
                  <a:pos x="58" y="46"/>
                </a:cxn>
                <a:cxn ang="0">
                  <a:pos x="57" y="50"/>
                </a:cxn>
                <a:cxn ang="0">
                  <a:pos x="56" y="54"/>
                </a:cxn>
                <a:cxn ang="0">
                  <a:pos x="4" y="37"/>
                </a:cxn>
                <a:cxn ang="0">
                  <a:pos x="7" y="38"/>
                </a:cxn>
                <a:cxn ang="0">
                  <a:pos x="11" y="41"/>
                </a:cxn>
                <a:cxn ang="0">
                  <a:pos x="16" y="41"/>
                </a:cxn>
                <a:cxn ang="0">
                  <a:pos x="19" y="45"/>
                </a:cxn>
                <a:cxn ang="0">
                  <a:pos x="21" y="52"/>
                </a:cxn>
                <a:cxn ang="0">
                  <a:pos x="13" y="52"/>
                </a:cxn>
                <a:cxn ang="0">
                  <a:pos x="7" y="46"/>
                </a:cxn>
                <a:cxn ang="0">
                  <a:pos x="1" y="38"/>
                </a:cxn>
              </a:cxnLst>
              <a:rect l="0" t="0" r="r" b="b"/>
              <a:pathLst>
                <a:path w="75" h="61">
                  <a:moveTo>
                    <a:pt x="54" y="61"/>
                  </a:moveTo>
                  <a:lnTo>
                    <a:pt x="49" y="59"/>
                  </a:lnTo>
                  <a:lnTo>
                    <a:pt x="48" y="59"/>
                  </a:lnTo>
                  <a:lnTo>
                    <a:pt x="46" y="55"/>
                  </a:lnTo>
                  <a:lnTo>
                    <a:pt x="44" y="55"/>
                  </a:lnTo>
                  <a:lnTo>
                    <a:pt x="43" y="52"/>
                  </a:lnTo>
                  <a:lnTo>
                    <a:pt x="46" y="50"/>
                  </a:lnTo>
                  <a:lnTo>
                    <a:pt x="47" y="48"/>
                  </a:lnTo>
                  <a:lnTo>
                    <a:pt x="44" y="47"/>
                  </a:lnTo>
                  <a:lnTo>
                    <a:pt x="44" y="46"/>
                  </a:lnTo>
                  <a:lnTo>
                    <a:pt x="48" y="44"/>
                  </a:lnTo>
                  <a:lnTo>
                    <a:pt x="48" y="43"/>
                  </a:lnTo>
                  <a:lnTo>
                    <a:pt x="48" y="43"/>
                  </a:lnTo>
                  <a:lnTo>
                    <a:pt x="45" y="41"/>
                  </a:lnTo>
                  <a:lnTo>
                    <a:pt x="43" y="39"/>
                  </a:lnTo>
                  <a:lnTo>
                    <a:pt x="41" y="37"/>
                  </a:lnTo>
                  <a:lnTo>
                    <a:pt x="39" y="39"/>
                  </a:lnTo>
                  <a:lnTo>
                    <a:pt x="32" y="43"/>
                  </a:lnTo>
                  <a:lnTo>
                    <a:pt x="30" y="46"/>
                  </a:lnTo>
                  <a:lnTo>
                    <a:pt x="26" y="48"/>
                  </a:lnTo>
                  <a:lnTo>
                    <a:pt x="25" y="50"/>
                  </a:lnTo>
                  <a:lnTo>
                    <a:pt x="25" y="49"/>
                  </a:lnTo>
                  <a:lnTo>
                    <a:pt x="25" y="49"/>
                  </a:lnTo>
                  <a:lnTo>
                    <a:pt x="25" y="47"/>
                  </a:lnTo>
                  <a:lnTo>
                    <a:pt x="24" y="46"/>
                  </a:lnTo>
                  <a:lnTo>
                    <a:pt x="25" y="46"/>
                  </a:lnTo>
                  <a:lnTo>
                    <a:pt x="26" y="45"/>
                  </a:lnTo>
                  <a:lnTo>
                    <a:pt x="25" y="44"/>
                  </a:lnTo>
                  <a:lnTo>
                    <a:pt x="23" y="42"/>
                  </a:lnTo>
                  <a:lnTo>
                    <a:pt x="25" y="41"/>
                  </a:lnTo>
                  <a:lnTo>
                    <a:pt x="25" y="40"/>
                  </a:lnTo>
                  <a:lnTo>
                    <a:pt x="24" y="40"/>
                  </a:lnTo>
                  <a:lnTo>
                    <a:pt x="21" y="39"/>
                  </a:lnTo>
                  <a:lnTo>
                    <a:pt x="20" y="38"/>
                  </a:lnTo>
                  <a:lnTo>
                    <a:pt x="18" y="37"/>
                  </a:lnTo>
                  <a:lnTo>
                    <a:pt x="17" y="37"/>
                  </a:lnTo>
                  <a:lnTo>
                    <a:pt x="15" y="34"/>
                  </a:lnTo>
                  <a:lnTo>
                    <a:pt x="14" y="33"/>
                  </a:lnTo>
                  <a:lnTo>
                    <a:pt x="13" y="32"/>
                  </a:lnTo>
                  <a:lnTo>
                    <a:pt x="15" y="32"/>
                  </a:lnTo>
                  <a:lnTo>
                    <a:pt x="17" y="32"/>
                  </a:lnTo>
                  <a:lnTo>
                    <a:pt x="18" y="30"/>
                  </a:lnTo>
                  <a:lnTo>
                    <a:pt x="18" y="28"/>
                  </a:lnTo>
                  <a:lnTo>
                    <a:pt x="16" y="28"/>
                  </a:lnTo>
                  <a:lnTo>
                    <a:pt x="15" y="27"/>
                  </a:lnTo>
                  <a:lnTo>
                    <a:pt x="12" y="25"/>
                  </a:lnTo>
                  <a:lnTo>
                    <a:pt x="10" y="22"/>
                  </a:lnTo>
                  <a:lnTo>
                    <a:pt x="11" y="20"/>
                  </a:lnTo>
                  <a:lnTo>
                    <a:pt x="13" y="19"/>
                  </a:lnTo>
                  <a:lnTo>
                    <a:pt x="12" y="17"/>
                  </a:lnTo>
                  <a:lnTo>
                    <a:pt x="11" y="15"/>
                  </a:lnTo>
                  <a:lnTo>
                    <a:pt x="9" y="15"/>
                  </a:lnTo>
                  <a:lnTo>
                    <a:pt x="7" y="14"/>
                  </a:lnTo>
                  <a:lnTo>
                    <a:pt x="7" y="13"/>
                  </a:lnTo>
                  <a:lnTo>
                    <a:pt x="8" y="13"/>
                  </a:lnTo>
                  <a:lnTo>
                    <a:pt x="6" y="12"/>
                  </a:lnTo>
                  <a:lnTo>
                    <a:pt x="6" y="10"/>
                  </a:lnTo>
                  <a:lnTo>
                    <a:pt x="8" y="8"/>
                  </a:lnTo>
                  <a:lnTo>
                    <a:pt x="10" y="8"/>
                  </a:lnTo>
                  <a:lnTo>
                    <a:pt x="12" y="8"/>
                  </a:lnTo>
                  <a:lnTo>
                    <a:pt x="14" y="9"/>
                  </a:lnTo>
                  <a:lnTo>
                    <a:pt x="15" y="11"/>
                  </a:lnTo>
                  <a:lnTo>
                    <a:pt x="19" y="13"/>
                  </a:lnTo>
                  <a:lnTo>
                    <a:pt x="21" y="12"/>
                  </a:lnTo>
                  <a:lnTo>
                    <a:pt x="22" y="12"/>
                  </a:lnTo>
                  <a:lnTo>
                    <a:pt x="23" y="13"/>
                  </a:lnTo>
                  <a:lnTo>
                    <a:pt x="24" y="14"/>
                  </a:lnTo>
                  <a:lnTo>
                    <a:pt x="26" y="14"/>
                  </a:lnTo>
                  <a:lnTo>
                    <a:pt x="27" y="13"/>
                  </a:lnTo>
                  <a:lnTo>
                    <a:pt x="28" y="11"/>
                  </a:lnTo>
                  <a:lnTo>
                    <a:pt x="27" y="9"/>
                  </a:lnTo>
                  <a:lnTo>
                    <a:pt x="23" y="8"/>
                  </a:lnTo>
                  <a:lnTo>
                    <a:pt x="22" y="5"/>
                  </a:lnTo>
                  <a:lnTo>
                    <a:pt x="21" y="3"/>
                  </a:lnTo>
                  <a:lnTo>
                    <a:pt x="22" y="2"/>
                  </a:lnTo>
                  <a:lnTo>
                    <a:pt x="22" y="1"/>
                  </a:lnTo>
                  <a:lnTo>
                    <a:pt x="24" y="0"/>
                  </a:lnTo>
                  <a:lnTo>
                    <a:pt x="25" y="0"/>
                  </a:lnTo>
                  <a:lnTo>
                    <a:pt x="26" y="1"/>
                  </a:lnTo>
                  <a:lnTo>
                    <a:pt x="27" y="1"/>
                  </a:lnTo>
                  <a:lnTo>
                    <a:pt x="28" y="1"/>
                  </a:lnTo>
                  <a:lnTo>
                    <a:pt x="29" y="2"/>
                  </a:lnTo>
                  <a:lnTo>
                    <a:pt x="31" y="4"/>
                  </a:lnTo>
                  <a:lnTo>
                    <a:pt x="32" y="5"/>
                  </a:lnTo>
                  <a:lnTo>
                    <a:pt x="33" y="5"/>
                  </a:lnTo>
                  <a:lnTo>
                    <a:pt x="34" y="8"/>
                  </a:lnTo>
                  <a:lnTo>
                    <a:pt x="34" y="10"/>
                  </a:lnTo>
                  <a:lnTo>
                    <a:pt x="38" y="11"/>
                  </a:lnTo>
                  <a:lnTo>
                    <a:pt x="41" y="12"/>
                  </a:lnTo>
                  <a:lnTo>
                    <a:pt x="43" y="11"/>
                  </a:lnTo>
                  <a:lnTo>
                    <a:pt x="44" y="10"/>
                  </a:lnTo>
                  <a:lnTo>
                    <a:pt x="46" y="7"/>
                  </a:lnTo>
                  <a:lnTo>
                    <a:pt x="47" y="7"/>
                  </a:lnTo>
                  <a:lnTo>
                    <a:pt x="50" y="4"/>
                  </a:lnTo>
                  <a:lnTo>
                    <a:pt x="52" y="1"/>
                  </a:lnTo>
                  <a:lnTo>
                    <a:pt x="55" y="3"/>
                  </a:lnTo>
                  <a:lnTo>
                    <a:pt x="56" y="6"/>
                  </a:lnTo>
                  <a:lnTo>
                    <a:pt x="58" y="8"/>
                  </a:lnTo>
                  <a:lnTo>
                    <a:pt x="59" y="10"/>
                  </a:lnTo>
                  <a:lnTo>
                    <a:pt x="60" y="14"/>
                  </a:lnTo>
                  <a:lnTo>
                    <a:pt x="61" y="16"/>
                  </a:lnTo>
                  <a:lnTo>
                    <a:pt x="62" y="18"/>
                  </a:lnTo>
                  <a:lnTo>
                    <a:pt x="64" y="19"/>
                  </a:lnTo>
                  <a:lnTo>
                    <a:pt x="64" y="21"/>
                  </a:lnTo>
                  <a:lnTo>
                    <a:pt x="67" y="23"/>
                  </a:lnTo>
                  <a:lnTo>
                    <a:pt x="69" y="22"/>
                  </a:lnTo>
                  <a:lnTo>
                    <a:pt x="72" y="23"/>
                  </a:lnTo>
                  <a:lnTo>
                    <a:pt x="73" y="24"/>
                  </a:lnTo>
                  <a:lnTo>
                    <a:pt x="75" y="25"/>
                  </a:lnTo>
                  <a:lnTo>
                    <a:pt x="75" y="27"/>
                  </a:lnTo>
                  <a:lnTo>
                    <a:pt x="75" y="28"/>
                  </a:lnTo>
                  <a:lnTo>
                    <a:pt x="73" y="27"/>
                  </a:lnTo>
                  <a:lnTo>
                    <a:pt x="71" y="26"/>
                  </a:lnTo>
                  <a:lnTo>
                    <a:pt x="70" y="26"/>
                  </a:lnTo>
                  <a:lnTo>
                    <a:pt x="68" y="27"/>
                  </a:lnTo>
                  <a:lnTo>
                    <a:pt x="67" y="28"/>
                  </a:lnTo>
                  <a:lnTo>
                    <a:pt x="65" y="28"/>
                  </a:lnTo>
                  <a:lnTo>
                    <a:pt x="64" y="29"/>
                  </a:lnTo>
                  <a:lnTo>
                    <a:pt x="63" y="31"/>
                  </a:lnTo>
                  <a:lnTo>
                    <a:pt x="63" y="35"/>
                  </a:lnTo>
                  <a:lnTo>
                    <a:pt x="63" y="37"/>
                  </a:lnTo>
                  <a:lnTo>
                    <a:pt x="62" y="38"/>
                  </a:lnTo>
                  <a:lnTo>
                    <a:pt x="61" y="41"/>
                  </a:lnTo>
                  <a:lnTo>
                    <a:pt x="63" y="43"/>
                  </a:lnTo>
                  <a:lnTo>
                    <a:pt x="63" y="44"/>
                  </a:lnTo>
                  <a:lnTo>
                    <a:pt x="61" y="44"/>
                  </a:lnTo>
                  <a:lnTo>
                    <a:pt x="61" y="45"/>
                  </a:lnTo>
                  <a:lnTo>
                    <a:pt x="60" y="47"/>
                  </a:lnTo>
                  <a:lnTo>
                    <a:pt x="60" y="49"/>
                  </a:lnTo>
                  <a:lnTo>
                    <a:pt x="59" y="49"/>
                  </a:lnTo>
                  <a:lnTo>
                    <a:pt x="58" y="47"/>
                  </a:lnTo>
                  <a:lnTo>
                    <a:pt x="58" y="46"/>
                  </a:lnTo>
                  <a:lnTo>
                    <a:pt x="57" y="47"/>
                  </a:lnTo>
                  <a:lnTo>
                    <a:pt x="56" y="49"/>
                  </a:lnTo>
                  <a:lnTo>
                    <a:pt x="57" y="50"/>
                  </a:lnTo>
                  <a:lnTo>
                    <a:pt x="56" y="52"/>
                  </a:lnTo>
                  <a:lnTo>
                    <a:pt x="55" y="52"/>
                  </a:lnTo>
                  <a:lnTo>
                    <a:pt x="56" y="54"/>
                  </a:lnTo>
                  <a:lnTo>
                    <a:pt x="54" y="61"/>
                  </a:lnTo>
                  <a:close/>
                  <a:moveTo>
                    <a:pt x="0" y="37"/>
                  </a:moveTo>
                  <a:lnTo>
                    <a:pt x="4" y="37"/>
                  </a:lnTo>
                  <a:lnTo>
                    <a:pt x="4" y="37"/>
                  </a:lnTo>
                  <a:lnTo>
                    <a:pt x="6" y="36"/>
                  </a:lnTo>
                  <a:lnTo>
                    <a:pt x="7" y="38"/>
                  </a:lnTo>
                  <a:lnTo>
                    <a:pt x="8" y="39"/>
                  </a:lnTo>
                  <a:lnTo>
                    <a:pt x="10" y="40"/>
                  </a:lnTo>
                  <a:lnTo>
                    <a:pt x="11" y="41"/>
                  </a:lnTo>
                  <a:lnTo>
                    <a:pt x="13" y="40"/>
                  </a:lnTo>
                  <a:lnTo>
                    <a:pt x="16" y="40"/>
                  </a:lnTo>
                  <a:lnTo>
                    <a:pt x="16" y="41"/>
                  </a:lnTo>
                  <a:lnTo>
                    <a:pt x="16" y="43"/>
                  </a:lnTo>
                  <a:lnTo>
                    <a:pt x="16" y="44"/>
                  </a:lnTo>
                  <a:lnTo>
                    <a:pt x="19" y="45"/>
                  </a:lnTo>
                  <a:lnTo>
                    <a:pt x="18" y="47"/>
                  </a:lnTo>
                  <a:lnTo>
                    <a:pt x="21" y="52"/>
                  </a:lnTo>
                  <a:lnTo>
                    <a:pt x="21" y="52"/>
                  </a:lnTo>
                  <a:lnTo>
                    <a:pt x="19" y="52"/>
                  </a:lnTo>
                  <a:lnTo>
                    <a:pt x="17" y="52"/>
                  </a:lnTo>
                  <a:lnTo>
                    <a:pt x="13" y="52"/>
                  </a:lnTo>
                  <a:lnTo>
                    <a:pt x="11" y="50"/>
                  </a:lnTo>
                  <a:lnTo>
                    <a:pt x="9" y="49"/>
                  </a:lnTo>
                  <a:lnTo>
                    <a:pt x="7" y="46"/>
                  </a:lnTo>
                  <a:lnTo>
                    <a:pt x="4" y="44"/>
                  </a:lnTo>
                  <a:lnTo>
                    <a:pt x="3" y="41"/>
                  </a:lnTo>
                  <a:lnTo>
                    <a:pt x="1" y="38"/>
                  </a:lnTo>
                  <a:lnTo>
                    <a:pt x="0" y="3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8" name="Freeform 110">
              <a:extLst>
                <a:ext uri="{FF2B5EF4-FFF2-40B4-BE49-F238E27FC236}">
                  <a16:creationId xmlns:a16="http://schemas.microsoft.com/office/drawing/2014/main" id="{A5902DC4-76DE-CF7C-7E73-7DC34A5479E8}"/>
                </a:ext>
              </a:extLst>
            </p:cNvPr>
            <p:cNvSpPr>
              <a:spLocks/>
            </p:cNvSpPr>
            <p:nvPr/>
          </p:nvSpPr>
          <p:spPr bwMode="auto">
            <a:xfrm>
              <a:off x="6249571" y="3849688"/>
              <a:ext cx="847725" cy="465138"/>
            </a:xfrm>
            <a:custGeom>
              <a:avLst/>
              <a:gdLst/>
              <a:ahLst/>
              <a:cxnLst>
                <a:cxn ang="0">
                  <a:pos x="425" y="255"/>
                </a:cxn>
                <a:cxn ang="0">
                  <a:pos x="385" y="252"/>
                </a:cxn>
                <a:cxn ang="0">
                  <a:pos x="355" y="251"/>
                </a:cxn>
                <a:cxn ang="0">
                  <a:pos x="328" y="255"/>
                </a:cxn>
                <a:cxn ang="0">
                  <a:pos x="313" y="267"/>
                </a:cxn>
                <a:cxn ang="0">
                  <a:pos x="289" y="288"/>
                </a:cxn>
                <a:cxn ang="0">
                  <a:pos x="279" y="283"/>
                </a:cxn>
                <a:cxn ang="0">
                  <a:pos x="257" y="259"/>
                </a:cxn>
                <a:cxn ang="0">
                  <a:pos x="204" y="242"/>
                </a:cxn>
                <a:cxn ang="0">
                  <a:pos x="117" y="280"/>
                </a:cxn>
                <a:cxn ang="0">
                  <a:pos x="82" y="269"/>
                </a:cxn>
                <a:cxn ang="0">
                  <a:pos x="81" y="259"/>
                </a:cxn>
                <a:cxn ang="0">
                  <a:pos x="71" y="253"/>
                </a:cxn>
                <a:cxn ang="0">
                  <a:pos x="62" y="240"/>
                </a:cxn>
                <a:cxn ang="0">
                  <a:pos x="51" y="222"/>
                </a:cxn>
                <a:cxn ang="0">
                  <a:pos x="64" y="222"/>
                </a:cxn>
                <a:cxn ang="0">
                  <a:pos x="65" y="208"/>
                </a:cxn>
                <a:cxn ang="0">
                  <a:pos x="88" y="209"/>
                </a:cxn>
                <a:cxn ang="0">
                  <a:pos x="87" y="192"/>
                </a:cxn>
                <a:cxn ang="0">
                  <a:pos x="85" y="179"/>
                </a:cxn>
                <a:cxn ang="0">
                  <a:pos x="67" y="176"/>
                </a:cxn>
                <a:cxn ang="0">
                  <a:pos x="39" y="186"/>
                </a:cxn>
                <a:cxn ang="0">
                  <a:pos x="34" y="183"/>
                </a:cxn>
                <a:cxn ang="0">
                  <a:pos x="12" y="160"/>
                </a:cxn>
                <a:cxn ang="0">
                  <a:pos x="8" y="135"/>
                </a:cxn>
                <a:cxn ang="0">
                  <a:pos x="19" y="111"/>
                </a:cxn>
                <a:cxn ang="0">
                  <a:pos x="33" y="104"/>
                </a:cxn>
                <a:cxn ang="0">
                  <a:pos x="58" y="83"/>
                </a:cxn>
                <a:cxn ang="0">
                  <a:pos x="80" y="87"/>
                </a:cxn>
                <a:cxn ang="0">
                  <a:pos x="105" y="105"/>
                </a:cxn>
                <a:cxn ang="0">
                  <a:pos x="121" y="106"/>
                </a:cxn>
                <a:cxn ang="0">
                  <a:pos x="148" y="99"/>
                </a:cxn>
                <a:cxn ang="0">
                  <a:pos x="177" y="103"/>
                </a:cxn>
                <a:cxn ang="0">
                  <a:pos x="196" y="89"/>
                </a:cxn>
                <a:cxn ang="0">
                  <a:pos x="178" y="77"/>
                </a:cxn>
                <a:cxn ang="0">
                  <a:pos x="195" y="54"/>
                </a:cxn>
                <a:cxn ang="0">
                  <a:pos x="193" y="42"/>
                </a:cxn>
                <a:cxn ang="0">
                  <a:pos x="220" y="27"/>
                </a:cxn>
                <a:cxn ang="0">
                  <a:pos x="257" y="18"/>
                </a:cxn>
                <a:cxn ang="0">
                  <a:pos x="293" y="1"/>
                </a:cxn>
                <a:cxn ang="0">
                  <a:pos x="321" y="12"/>
                </a:cxn>
                <a:cxn ang="0">
                  <a:pos x="325" y="29"/>
                </a:cxn>
                <a:cxn ang="0">
                  <a:pos x="342" y="33"/>
                </a:cxn>
                <a:cxn ang="0">
                  <a:pos x="355" y="35"/>
                </a:cxn>
                <a:cxn ang="0">
                  <a:pos x="368" y="41"/>
                </a:cxn>
                <a:cxn ang="0">
                  <a:pos x="394" y="29"/>
                </a:cxn>
                <a:cxn ang="0">
                  <a:pos x="439" y="102"/>
                </a:cxn>
                <a:cxn ang="0">
                  <a:pos x="459" y="101"/>
                </a:cxn>
                <a:cxn ang="0">
                  <a:pos x="494" y="108"/>
                </a:cxn>
                <a:cxn ang="0">
                  <a:pos x="526" y="123"/>
                </a:cxn>
                <a:cxn ang="0">
                  <a:pos x="526" y="138"/>
                </a:cxn>
                <a:cxn ang="0">
                  <a:pos x="511" y="162"/>
                </a:cxn>
                <a:cxn ang="0">
                  <a:pos x="486" y="174"/>
                </a:cxn>
                <a:cxn ang="0">
                  <a:pos x="474" y="208"/>
                </a:cxn>
                <a:cxn ang="0">
                  <a:pos x="440" y="212"/>
                </a:cxn>
                <a:cxn ang="0">
                  <a:pos x="445" y="237"/>
                </a:cxn>
              </a:cxnLst>
              <a:rect l="0" t="0" r="r" b="b"/>
              <a:pathLst>
                <a:path w="534" h="293">
                  <a:moveTo>
                    <a:pt x="441" y="264"/>
                  </a:moveTo>
                  <a:lnTo>
                    <a:pt x="438" y="261"/>
                  </a:lnTo>
                  <a:lnTo>
                    <a:pt x="435" y="261"/>
                  </a:lnTo>
                  <a:lnTo>
                    <a:pt x="432" y="261"/>
                  </a:lnTo>
                  <a:lnTo>
                    <a:pt x="430" y="259"/>
                  </a:lnTo>
                  <a:lnTo>
                    <a:pt x="429" y="257"/>
                  </a:lnTo>
                  <a:lnTo>
                    <a:pt x="428" y="255"/>
                  </a:lnTo>
                  <a:lnTo>
                    <a:pt x="425" y="255"/>
                  </a:lnTo>
                  <a:lnTo>
                    <a:pt x="419" y="253"/>
                  </a:lnTo>
                  <a:lnTo>
                    <a:pt x="415" y="254"/>
                  </a:lnTo>
                  <a:lnTo>
                    <a:pt x="407" y="254"/>
                  </a:lnTo>
                  <a:lnTo>
                    <a:pt x="403" y="253"/>
                  </a:lnTo>
                  <a:lnTo>
                    <a:pt x="399" y="251"/>
                  </a:lnTo>
                  <a:lnTo>
                    <a:pt x="394" y="252"/>
                  </a:lnTo>
                  <a:lnTo>
                    <a:pt x="390" y="252"/>
                  </a:lnTo>
                  <a:lnTo>
                    <a:pt x="385" y="252"/>
                  </a:lnTo>
                  <a:lnTo>
                    <a:pt x="382" y="255"/>
                  </a:lnTo>
                  <a:lnTo>
                    <a:pt x="379" y="254"/>
                  </a:lnTo>
                  <a:lnTo>
                    <a:pt x="374" y="252"/>
                  </a:lnTo>
                  <a:lnTo>
                    <a:pt x="369" y="250"/>
                  </a:lnTo>
                  <a:lnTo>
                    <a:pt x="365" y="248"/>
                  </a:lnTo>
                  <a:lnTo>
                    <a:pt x="361" y="248"/>
                  </a:lnTo>
                  <a:lnTo>
                    <a:pt x="357" y="248"/>
                  </a:lnTo>
                  <a:lnTo>
                    <a:pt x="355" y="251"/>
                  </a:lnTo>
                  <a:lnTo>
                    <a:pt x="353" y="257"/>
                  </a:lnTo>
                  <a:lnTo>
                    <a:pt x="353" y="261"/>
                  </a:lnTo>
                  <a:lnTo>
                    <a:pt x="351" y="260"/>
                  </a:lnTo>
                  <a:lnTo>
                    <a:pt x="346" y="259"/>
                  </a:lnTo>
                  <a:lnTo>
                    <a:pt x="343" y="257"/>
                  </a:lnTo>
                  <a:lnTo>
                    <a:pt x="337" y="255"/>
                  </a:lnTo>
                  <a:lnTo>
                    <a:pt x="332" y="254"/>
                  </a:lnTo>
                  <a:lnTo>
                    <a:pt x="328" y="255"/>
                  </a:lnTo>
                  <a:lnTo>
                    <a:pt x="324" y="256"/>
                  </a:lnTo>
                  <a:lnTo>
                    <a:pt x="322" y="259"/>
                  </a:lnTo>
                  <a:lnTo>
                    <a:pt x="320" y="262"/>
                  </a:lnTo>
                  <a:lnTo>
                    <a:pt x="320" y="264"/>
                  </a:lnTo>
                  <a:lnTo>
                    <a:pt x="318" y="265"/>
                  </a:lnTo>
                  <a:lnTo>
                    <a:pt x="316" y="268"/>
                  </a:lnTo>
                  <a:lnTo>
                    <a:pt x="314" y="267"/>
                  </a:lnTo>
                  <a:lnTo>
                    <a:pt x="313" y="267"/>
                  </a:lnTo>
                  <a:lnTo>
                    <a:pt x="311" y="270"/>
                  </a:lnTo>
                  <a:lnTo>
                    <a:pt x="308" y="273"/>
                  </a:lnTo>
                  <a:lnTo>
                    <a:pt x="303" y="275"/>
                  </a:lnTo>
                  <a:lnTo>
                    <a:pt x="298" y="278"/>
                  </a:lnTo>
                  <a:lnTo>
                    <a:pt x="296" y="279"/>
                  </a:lnTo>
                  <a:lnTo>
                    <a:pt x="295" y="283"/>
                  </a:lnTo>
                  <a:lnTo>
                    <a:pt x="292" y="284"/>
                  </a:lnTo>
                  <a:lnTo>
                    <a:pt x="289" y="288"/>
                  </a:lnTo>
                  <a:lnTo>
                    <a:pt x="290" y="291"/>
                  </a:lnTo>
                  <a:lnTo>
                    <a:pt x="289" y="293"/>
                  </a:lnTo>
                  <a:lnTo>
                    <a:pt x="286" y="293"/>
                  </a:lnTo>
                  <a:lnTo>
                    <a:pt x="283" y="290"/>
                  </a:lnTo>
                  <a:lnTo>
                    <a:pt x="283" y="288"/>
                  </a:lnTo>
                  <a:lnTo>
                    <a:pt x="283" y="285"/>
                  </a:lnTo>
                  <a:lnTo>
                    <a:pt x="280" y="283"/>
                  </a:lnTo>
                  <a:lnTo>
                    <a:pt x="279" y="283"/>
                  </a:lnTo>
                  <a:lnTo>
                    <a:pt x="273" y="284"/>
                  </a:lnTo>
                  <a:lnTo>
                    <a:pt x="268" y="284"/>
                  </a:lnTo>
                  <a:lnTo>
                    <a:pt x="265" y="283"/>
                  </a:lnTo>
                  <a:lnTo>
                    <a:pt x="264" y="275"/>
                  </a:lnTo>
                  <a:lnTo>
                    <a:pt x="262" y="269"/>
                  </a:lnTo>
                  <a:lnTo>
                    <a:pt x="256" y="269"/>
                  </a:lnTo>
                  <a:lnTo>
                    <a:pt x="256" y="263"/>
                  </a:lnTo>
                  <a:lnTo>
                    <a:pt x="257" y="259"/>
                  </a:lnTo>
                  <a:lnTo>
                    <a:pt x="257" y="251"/>
                  </a:lnTo>
                  <a:lnTo>
                    <a:pt x="253" y="254"/>
                  </a:lnTo>
                  <a:lnTo>
                    <a:pt x="250" y="245"/>
                  </a:lnTo>
                  <a:lnTo>
                    <a:pt x="246" y="243"/>
                  </a:lnTo>
                  <a:lnTo>
                    <a:pt x="242" y="238"/>
                  </a:lnTo>
                  <a:lnTo>
                    <a:pt x="235" y="241"/>
                  </a:lnTo>
                  <a:lnTo>
                    <a:pt x="219" y="240"/>
                  </a:lnTo>
                  <a:lnTo>
                    <a:pt x="204" y="242"/>
                  </a:lnTo>
                  <a:lnTo>
                    <a:pt x="192" y="229"/>
                  </a:lnTo>
                  <a:lnTo>
                    <a:pt x="159" y="204"/>
                  </a:lnTo>
                  <a:lnTo>
                    <a:pt x="125" y="215"/>
                  </a:lnTo>
                  <a:lnTo>
                    <a:pt x="125" y="281"/>
                  </a:lnTo>
                  <a:lnTo>
                    <a:pt x="124" y="281"/>
                  </a:lnTo>
                  <a:lnTo>
                    <a:pt x="122" y="281"/>
                  </a:lnTo>
                  <a:lnTo>
                    <a:pt x="119" y="282"/>
                  </a:lnTo>
                  <a:lnTo>
                    <a:pt x="117" y="280"/>
                  </a:lnTo>
                  <a:lnTo>
                    <a:pt x="112" y="274"/>
                  </a:lnTo>
                  <a:lnTo>
                    <a:pt x="111" y="270"/>
                  </a:lnTo>
                  <a:lnTo>
                    <a:pt x="108" y="267"/>
                  </a:lnTo>
                  <a:lnTo>
                    <a:pt x="103" y="264"/>
                  </a:lnTo>
                  <a:lnTo>
                    <a:pt x="100" y="262"/>
                  </a:lnTo>
                  <a:lnTo>
                    <a:pt x="95" y="263"/>
                  </a:lnTo>
                  <a:lnTo>
                    <a:pt x="87" y="265"/>
                  </a:lnTo>
                  <a:lnTo>
                    <a:pt x="82" y="269"/>
                  </a:lnTo>
                  <a:lnTo>
                    <a:pt x="79" y="273"/>
                  </a:lnTo>
                  <a:lnTo>
                    <a:pt x="79" y="270"/>
                  </a:lnTo>
                  <a:lnTo>
                    <a:pt x="79" y="269"/>
                  </a:lnTo>
                  <a:lnTo>
                    <a:pt x="78" y="267"/>
                  </a:lnTo>
                  <a:lnTo>
                    <a:pt x="79" y="266"/>
                  </a:lnTo>
                  <a:lnTo>
                    <a:pt x="80" y="264"/>
                  </a:lnTo>
                  <a:lnTo>
                    <a:pt x="81" y="261"/>
                  </a:lnTo>
                  <a:lnTo>
                    <a:pt x="81" y="259"/>
                  </a:lnTo>
                  <a:lnTo>
                    <a:pt x="82" y="257"/>
                  </a:lnTo>
                  <a:lnTo>
                    <a:pt x="81" y="255"/>
                  </a:lnTo>
                  <a:lnTo>
                    <a:pt x="79" y="254"/>
                  </a:lnTo>
                  <a:lnTo>
                    <a:pt x="76" y="255"/>
                  </a:lnTo>
                  <a:lnTo>
                    <a:pt x="75" y="253"/>
                  </a:lnTo>
                  <a:lnTo>
                    <a:pt x="73" y="254"/>
                  </a:lnTo>
                  <a:lnTo>
                    <a:pt x="72" y="254"/>
                  </a:lnTo>
                  <a:lnTo>
                    <a:pt x="71" y="253"/>
                  </a:lnTo>
                  <a:lnTo>
                    <a:pt x="70" y="250"/>
                  </a:lnTo>
                  <a:lnTo>
                    <a:pt x="68" y="248"/>
                  </a:lnTo>
                  <a:lnTo>
                    <a:pt x="66" y="248"/>
                  </a:lnTo>
                  <a:lnTo>
                    <a:pt x="64" y="248"/>
                  </a:lnTo>
                  <a:lnTo>
                    <a:pt x="64" y="246"/>
                  </a:lnTo>
                  <a:lnTo>
                    <a:pt x="64" y="244"/>
                  </a:lnTo>
                  <a:lnTo>
                    <a:pt x="63" y="241"/>
                  </a:lnTo>
                  <a:lnTo>
                    <a:pt x="62" y="240"/>
                  </a:lnTo>
                  <a:lnTo>
                    <a:pt x="60" y="238"/>
                  </a:lnTo>
                  <a:lnTo>
                    <a:pt x="58" y="232"/>
                  </a:lnTo>
                  <a:lnTo>
                    <a:pt x="58" y="229"/>
                  </a:lnTo>
                  <a:lnTo>
                    <a:pt x="54" y="228"/>
                  </a:lnTo>
                  <a:lnTo>
                    <a:pt x="50" y="228"/>
                  </a:lnTo>
                  <a:lnTo>
                    <a:pt x="49" y="227"/>
                  </a:lnTo>
                  <a:lnTo>
                    <a:pt x="49" y="223"/>
                  </a:lnTo>
                  <a:lnTo>
                    <a:pt x="51" y="222"/>
                  </a:lnTo>
                  <a:lnTo>
                    <a:pt x="52" y="221"/>
                  </a:lnTo>
                  <a:lnTo>
                    <a:pt x="55" y="221"/>
                  </a:lnTo>
                  <a:lnTo>
                    <a:pt x="57" y="222"/>
                  </a:lnTo>
                  <a:lnTo>
                    <a:pt x="60" y="223"/>
                  </a:lnTo>
                  <a:lnTo>
                    <a:pt x="63" y="224"/>
                  </a:lnTo>
                  <a:lnTo>
                    <a:pt x="64" y="224"/>
                  </a:lnTo>
                  <a:lnTo>
                    <a:pt x="66" y="223"/>
                  </a:lnTo>
                  <a:lnTo>
                    <a:pt x="64" y="222"/>
                  </a:lnTo>
                  <a:lnTo>
                    <a:pt x="63" y="221"/>
                  </a:lnTo>
                  <a:lnTo>
                    <a:pt x="61" y="219"/>
                  </a:lnTo>
                  <a:lnTo>
                    <a:pt x="60" y="217"/>
                  </a:lnTo>
                  <a:lnTo>
                    <a:pt x="61" y="214"/>
                  </a:lnTo>
                  <a:lnTo>
                    <a:pt x="63" y="214"/>
                  </a:lnTo>
                  <a:lnTo>
                    <a:pt x="63" y="212"/>
                  </a:lnTo>
                  <a:lnTo>
                    <a:pt x="64" y="209"/>
                  </a:lnTo>
                  <a:lnTo>
                    <a:pt x="65" y="208"/>
                  </a:lnTo>
                  <a:lnTo>
                    <a:pt x="66" y="208"/>
                  </a:lnTo>
                  <a:lnTo>
                    <a:pt x="68" y="207"/>
                  </a:lnTo>
                  <a:lnTo>
                    <a:pt x="69" y="207"/>
                  </a:lnTo>
                  <a:lnTo>
                    <a:pt x="71" y="208"/>
                  </a:lnTo>
                  <a:lnTo>
                    <a:pt x="73" y="208"/>
                  </a:lnTo>
                  <a:lnTo>
                    <a:pt x="79" y="207"/>
                  </a:lnTo>
                  <a:lnTo>
                    <a:pt x="85" y="209"/>
                  </a:lnTo>
                  <a:lnTo>
                    <a:pt x="88" y="209"/>
                  </a:lnTo>
                  <a:lnTo>
                    <a:pt x="87" y="208"/>
                  </a:lnTo>
                  <a:lnTo>
                    <a:pt x="85" y="206"/>
                  </a:lnTo>
                  <a:lnTo>
                    <a:pt x="82" y="205"/>
                  </a:lnTo>
                  <a:lnTo>
                    <a:pt x="82" y="203"/>
                  </a:lnTo>
                  <a:lnTo>
                    <a:pt x="83" y="201"/>
                  </a:lnTo>
                  <a:lnTo>
                    <a:pt x="85" y="199"/>
                  </a:lnTo>
                  <a:lnTo>
                    <a:pt x="86" y="197"/>
                  </a:lnTo>
                  <a:lnTo>
                    <a:pt x="87" y="192"/>
                  </a:lnTo>
                  <a:lnTo>
                    <a:pt x="88" y="190"/>
                  </a:lnTo>
                  <a:lnTo>
                    <a:pt x="87" y="188"/>
                  </a:lnTo>
                  <a:lnTo>
                    <a:pt x="86" y="187"/>
                  </a:lnTo>
                  <a:lnTo>
                    <a:pt x="87" y="185"/>
                  </a:lnTo>
                  <a:lnTo>
                    <a:pt x="88" y="183"/>
                  </a:lnTo>
                  <a:lnTo>
                    <a:pt x="87" y="182"/>
                  </a:lnTo>
                  <a:lnTo>
                    <a:pt x="87" y="180"/>
                  </a:lnTo>
                  <a:lnTo>
                    <a:pt x="85" y="179"/>
                  </a:lnTo>
                  <a:lnTo>
                    <a:pt x="82" y="178"/>
                  </a:lnTo>
                  <a:lnTo>
                    <a:pt x="79" y="177"/>
                  </a:lnTo>
                  <a:lnTo>
                    <a:pt x="78" y="179"/>
                  </a:lnTo>
                  <a:lnTo>
                    <a:pt x="76" y="180"/>
                  </a:lnTo>
                  <a:lnTo>
                    <a:pt x="73" y="180"/>
                  </a:lnTo>
                  <a:lnTo>
                    <a:pt x="70" y="179"/>
                  </a:lnTo>
                  <a:lnTo>
                    <a:pt x="69" y="177"/>
                  </a:lnTo>
                  <a:lnTo>
                    <a:pt x="67" y="176"/>
                  </a:lnTo>
                  <a:lnTo>
                    <a:pt x="63" y="176"/>
                  </a:lnTo>
                  <a:lnTo>
                    <a:pt x="60" y="176"/>
                  </a:lnTo>
                  <a:lnTo>
                    <a:pt x="56" y="179"/>
                  </a:lnTo>
                  <a:lnTo>
                    <a:pt x="54" y="179"/>
                  </a:lnTo>
                  <a:lnTo>
                    <a:pt x="49" y="183"/>
                  </a:lnTo>
                  <a:lnTo>
                    <a:pt x="45" y="186"/>
                  </a:lnTo>
                  <a:lnTo>
                    <a:pt x="42" y="186"/>
                  </a:lnTo>
                  <a:lnTo>
                    <a:pt x="39" y="186"/>
                  </a:lnTo>
                  <a:lnTo>
                    <a:pt x="37" y="188"/>
                  </a:lnTo>
                  <a:lnTo>
                    <a:pt x="36" y="189"/>
                  </a:lnTo>
                  <a:lnTo>
                    <a:pt x="33" y="188"/>
                  </a:lnTo>
                  <a:lnTo>
                    <a:pt x="28" y="185"/>
                  </a:lnTo>
                  <a:lnTo>
                    <a:pt x="27" y="182"/>
                  </a:lnTo>
                  <a:lnTo>
                    <a:pt x="29" y="181"/>
                  </a:lnTo>
                  <a:lnTo>
                    <a:pt x="31" y="182"/>
                  </a:lnTo>
                  <a:lnTo>
                    <a:pt x="34" y="183"/>
                  </a:lnTo>
                  <a:lnTo>
                    <a:pt x="34" y="182"/>
                  </a:lnTo>
                  <a:lnTo>
                    <a:pt x="29" y="172"/>
                  </a:lnTo>
                  <a:lnTo>
                    <a:pt x="27" y="168"/>
                  </a:lnTo>
                  <a:lnTo>
                    <a:pt x="24" y="166"/>
                  </a:lnTo>
                  <a:lnTo>
                    <a:pt x="21" y="162"/>
                  </a:lnTo>
                  <a:lnTo>
                    <a:pt x="18" y="162"/>
                  </a:lnTo>
                  <a:lnTo>
                    <a:pt x="16" y="162"/>
                  </a:lnTo>
                  <a:lnTo>
                    <a:pt x="12" y="160"/>
                  </a:lnTo>
                  <a:lnTo>
                    <a:pt x="12" y="163"/>
                  </a:lnTo>
                  <a:lnTo>
                    <a:pt x="9" y="159"/>
                  </a:lnTo>
                  <a:lnTo>
                    <a:pt x="9" y="156"/>
                  </a:lnTo>
                  <a:lnTo>
                    <a:pt x="9" y="153"/>
                  </a:lnTo>
                  <a:lnTo>
                    <a:pt x="0" y="150"/>
                  </a:lnTo>
                  <a:lnTo>
                    <a:pt x="4" y="139"/>
                  </a:lnTo>
                  <a:lnTo>
                    <a:pt x="7" y="137"/>
                  </a:lnTo>
                  <a:lnTo>
                    <a:pt x="8" y="135"/>
                  </a:lnTo>
                  <a:lnTo>
                    <a:pt x="7" y="132"/>
                  </a:lnTo>
                  <a:lnTo>
                    <a:pt x="5" y="131"/>
                  </a:lnTo>
                  <a:lnTo>
                    <a:pt x="6" y="119"/>
                  </a:lnTo>
                  <a:lnTo>
                    <a:pt x="11" y="118"/>
                  </a:lnTo>
                  <a:lnTo>
                    <a:pt x="13" y="113"/>
                  </a:lnTo>
                  <a:lnTo>
                    <a:pt x="13" y="110"/>
                  </a:lnTo>
                  <a:lnTo>
                    <a:pt x="16" y="110"/>
                  </a:lnTo>
                  <a:lnTo>
                    <a:pt x="19" y="111"/>
                  </a:lnTo>
                  <a:lnTo>
                    <a:pt x="22" y="117"/>
                  </a:lnTo>
                  <a:lnTo>
                    <a:pt x="25" y="120"/>
                  </a:lnTo>
                  <a:lnTo>
                    <a:pt x="28" y="120"/>
                  </a:lnTo>
                  <a:lnTo>
                    <a:pt x="31" y="118"/>
                  </a:lnTo>
                  <a:lnTo>
                    <a:pt x="31" y="114"/>
                  </a:lnTo>
                  <a:lnTo>
                    <a:pt x="30" y="110"/>
                  </a:lnTo>
                  <a:lnTo>
                    <a:pt x="30" y="106"/>
                  </a:lnTo>
                  <a:lnTo>
                    <a:pt x="33" y="104"/>
                  </a:lnTo>
                  <a:lnTo>
                    <a:pt x="38" y="101"/>
                  </a:lnTo>
                  <a:lnTo>
                    <a:pt x="39" y="98"/>
                  </a:lnTo>
                  <a:lnTo>
                    <a:pt x="41" y="95"/>
                  </a:lnTo>
                  <a:lnTo>
                    <a:pt x="44" y="94"/>
                  </a:lnTo>
                  <a:lnTo>
                    <a:pt x="47" y="93"/>
                  </a:lnTo>
                  <a:lnTo>
                    <a:pt x="52" y="90"/>
                  </a:lnTo>
                  <a:lnTo>
                    <a:pt x="55" y="86"/>
                  </a:lnTo>
                  <a:lnTo>
                    <a:pt x="58" y="83"/>
                  </a:lnTo>
                  <a:lnTo>
                    <a:pt x="62" y="84"/>
                  </a:lnTo>
                  <a:lnTo>
                    <a:pt x="64" y="84"/>
                  </a:lnTo>
                  <a:lnTo>
                    <a:pt x="66" y="87"/>
                  </a:lnTo>
                  <a:lnTo>
                    <a:pt x="70" y="85"/>
                  </a:lnTo>
                  <a:lnTo>
                    <a:pt x="72" y="84"/>
                  </a:lnTo>
                  <a:lnTo>
                    <a:pt x="75" y="82"/>
                  </a:lnTo>
                  <a:lnTo>
                    <a:pt x="78" y="83"/>
                  </a:lnTo>
                  <a:lnTo>
                    <a:pt x="80" y="87"/>
                  </a:lnTo>
                  <a:lnTo>
                    <a:pt x="85" y="88"/>
                  </a:lnTo>
                  <a:lnTo>
                    <a:pt x="88" y="87"/>
                  </a:lnTo>
                  <a:lnTo>
                    <a:pt x="94" y="89"/>
                  </a:lnTo>
                  <a:lnTo>
                    <a:pt x="94" y="92"/>
                  </a:lnTo>
                  <a:lnTo>
                    <a:pt x="98" y="94"/>
                  </a:lnTo>
                  <a:lnTo>
                    <a:pt x="102" y="97"/>
                  </a:lnTo>
                  <a:lnTo>
                    <a:pt x="105" y="99"/>
                  </a:lnTo>
                  <a:lnTo>
                    <a:pt x="105" y="105"/>
                  </a:lnTo>
                  <a:lnTo>
                    <a:pt x="107" y="106"/>
                  </a:lnTo>
                  <a:lnTo>
                    <a:pt x="108" y="104"/>
                  </a:lnTo>
                  <a:lnTo>
                    <a:pt x="107" y="99"/>
                  </a:lnTo>
                  <a:lnTo>
                    <a:pt x="107" y="97"/>
                  </a:lnTo>
                  <a:lnTo>
                    <a:pt x="111" y="98"/>
                  </a:lnTo>
                  <a:lnTo>
                    <a:pt x="114" y="103"/>
                  </a:lnTo>
                  <a:lnTo>
                    <a:pt x="118" y="104"/>
                  </a:lnTo>
                  <a:lnTo>
                    <a:pt x="121" y="106"/>
                  </a:lnTo>
                  <a:lnTo>
                    <a:pt x="125" y="105"/>
                  </a:lnTo>
                  <a:lnTo>
                    <a:pt x="126" y="102"/>
                  </a:lnTo>
                  <a:lnTo>
                    <a:pt x="129" y="99"/>
                  </a:lnTo>
                  <a:lnTo>
                    <a:pt x="132" y="95"/>
                  </a:lnTo>
                  <a:lnTo>
                    <a:pt x="136" y="96"/>
                  </a:lnTo>
                  <a:lnTo>
                    <a:pt x="140" y="96"/>
                  </a:lnTo>
                  <a:lnTo>
                    <a:pt x="144" y="100"/>
                  </a:lnTo>
                  <a:lnTo>
                    <a:pt x="148" y="99"/>
                  </a:lnTo>
                  <a:lnTo>
                    <a:pt x="149" y="96"/>
                  </a:lnTo>
                  <a:lnTo>
                    <a:pt x="155" y="95"/>
                  </a:lnTo>
                  <a:lnTo>
                    <a:pt x="159" y="96"/>
                  </a:lnTo>
                  <a:lnTo>
                    <a:pt x="161" y="101"/>
                  </a:lnTo>
                  <a:lnTo>
                    <a:pt x="166" y="104"/>
                  </a:lnTo>
                  <a:lnTo>
                    <a:pt x="171" y="105"/>
                  </a:lnTo>
                  <a:lnTo>
                    <a:pt x="173" y="107"/>
                  </a:lnTo>
                  <a:lnTo>
                    <a:pt x="177" y="103"/>
                  </a:lnTo>
                  <a:lnTo>
                    <a:pt x="178" y="101"/>
                  </a:lnTo>
                  <a:lnTo>
                    <a:pt x="180" y="101"/>
                  </a:lnTo>
                  <a:lnTo>
                    <a:pt x="181" y="104"/>
                  </a:lnTo>
                  <a:lnTo>
                    <a:pt x="187" y="104"/>
                  </a:lnTo>
                  <a:lnTo>
                    <a:pt x="196" y="100"/>
                  </a:lnTo>
                  <a:lnTo>
                    <a:pt x="197" y="97"/>
                  </a:lnTo>
                  <a:lnTo>
                    <a:pt x="198" y="91"/>
                  </a:lnTo>
                  <a:lnTo>
                    <a:pt x="196" y="89"/>
                  </a:lnTo>
                  <a:lnTo>
                    <a:pt x="190" y="87"/>
                  </a:lnTo>
                  <a:lnTo>
                    <a:pt x="188" y="84"/>
                  </a:lnTo>
                  <a:lnTo>
                    <a:pt x="184" y="83"/>
                  </a:lnTo>
                  <a:lnTo>
                    <a:pt x="182" y="82"/>
                  </a:lnTo>
                  <a:lnTo>
                    <a:pt x="183" y="80"/>
                  </a:lnTo>
                  <a:lnTo>
                    <a:pt x="180" y="79"/>
                  </a:lnTo>
                  <a:lnTo>
                    <a:pt x="179" y="79"/>
                  </a:lnTo>
                  <a:lnTo>
                    <a:pt x="178" y="77"/>
                  </a:lnTo>
                  <a:lnTo>
                    <a:pt x="181" y="76"/>
                  </a:lnTo>
                  <a:lnTo>
                    <a:pt x="185" y="72"/>
                  </a:lnTo>
                  <a:lnTo>
                    <a:pt x="189" y="71"/>
                  </a:lnTo>
                  <a:lnTo>
                    <a:pt x="190" y="68"/>
                  </a:lnTo>
                  <a:lnTo>
                    <a:pt x="188" y="63"/>
                  </a:lnTo>
                  <a:lnTo>
                    <a:pt x="187" y="61"/>
                  </a:lnTo>
                  <a:lnTo>
                    <a:pt x="191" y="56"/>
                  </a:lnTo>
                  <a:lnTo>
                    <a:pt x="195" y="54"/>
                  </a:lnTo>
                  <a:lnTo>
                    <a:pt x="201" y="56"/>
                  </a:lnTo>
                  <a:lnTo>
                    <a:pt x="204" y="55"/>
                  </a:lnTo>
                  <a:lnTo>
                    <a:pt x="205" y="53"/>
                  </a:lnTo>
                  <a:lnTo>
                    <a:pt x="199" y="50"/>
                  </a:lnTo>
                  <a:lnTo>
                    <a:pt x="193" y="48"/>
                  </a:lnTo>
                  <a:lnTo>
                    <a:pt x="193" y="45"/>
                  </a:lnTo>
                  <a:lnTo>
                    <a:pt x="195" y="44"/>
                  </a:lnTo>
                  <a:lnTo>
                    <a:pt x="193" y="42"/>
                  </a:lnTo>
                  <a:lnTo>
                    <a:pt x="193" y="38"/>
                  </a:lnTo>
                  <a:lnTo>
                    <a:pt x="194" y="33"/>
                  </a:lnTo>
                  <a:lnTo>
                    <a:pt x="196" y="32"/>
                  </a:lnTo>
                  <a:lnTo>
                    <a:pt x="202" y="33"/>
                  </a:lnTo>
                  <a:lnTo>
                    <a:pt x="205" y="33"/>
                  </a:lnTo>
                  <a:lnTo>
                    <a:pt x="210" y="33"/>
                  </a:lnTo>
                  <a:lnTo>
                    <a:pt x="212" y="32"/>
                  </a:lnTo>
                  <a:lnTo>
                    <a:pt x="220" y="27"/>
                  </a:lnTo>
                  <a:lnTo>
                    <a:pt x="226" y="27"/>
                  </a:lnTo>
                  <a:lnTo>
                    <a:pt x="230" y="26"/>
                  </a:lnTo>
                  <a:lnTo>
                    <a:pt x="240" y="25"/>
                  </a:lnTo>
                  <a:lnTo>
                    <a:pt x="243" y="24"/>
                  </a:lnTo>
                  <a:lnTo>
                    <a:pt x="245" y="25"/>
                  </a:lnTo>
                  <a:lnTo>
                    <a:pt x="246" y="22"/>
                  </a:lnTo>
                  <a:lnTo>
                    <a:pt x="250" y="18"/>
                  </a:lnTo>
                  <a:lnTo>
                    <a:pt x="257" y="18"/>
                  </a:lnTo>
                  <a:lnTo>
                    <a:pt x="269" y="14"/>
                  </a:lnTo>
                  <a:lnTo>
                    <a:pt x="280" y="13"/>
                  </a:lnTo>
                  <a:lnTo>
                    <a:pt x="283" y="12"/>
                  </a:lnTo>
                  <a:lnTo>
                    <a:pt x="285" y="9"/>
                  </a:lnTo>
                  <a:lnTo>
                    <a:pt x="285" y="6"/>
                  </a:lnTo>
                  <a:lnTo>
                    <a:pt x="289" y="5"/>
                  </a:lnTo>
                  <a:lnTo>
                    <a:pt x="292" y="3"/>
                  </a:lnTo>
                  <a:lnTo>
                    <a:pt x="293" y="1"/>
                  </a:lnTo>
                  <a:lnTo>
                    <a:pt x="297" y="0"/>
                  </a:lnTo>
                  <a:lnTo>
                    <a:pt x="302" y="2"/>
                  </a:lnTo>
                  <a:lnTo>
                    <a:pt x="306" y="3"/>
                  </a:lnTo>
                  <a:lnTo>
                    <a:pt x="310" y="6"/>
                  </a:lnTo>
                  <a:lnTo>
                    <a:pt x="313" y="5"/>
                  </a:lnTo>
                  <a:lnTo>
                    <a:pt x="319" y="5"/>
                  </a:lnTo>
                  <a:lnTo>
                    <a:pt x="321" y="9"/>
                  </a:lnTo>
                  <a:lnTo>
                    <a:pt x="321" y="12"/>
                  </a:lnTo>
                  <a:lnTo>
                    <a:pt x="322" y="14"/>
                  </a:lnTo>
                  <a:lnTo>
                    <a:pt x="325" y="17"/>
                  </a:lnTo>
                  <a:lnTo>
                    <a:pt x="324" y="20"/>
                  </a:lnTo>
                  <a:lnTo>
                    <a:pt x="323" y="23"/>
                  </a:lnTo>
                  <a:lnTo>
                    <a:pt x="324" y="26"/>
                  </a:lnTo>
                  <a:lnTo>
                    <a:pt x="322" y="26"/>
                  </a:lnTo>
                  <a:lnTo>
                    <a:pt x="323" y="29"/>
                  </a:lnTo>
                  <a:lnTo>
                    <a:pt x="325" y="29"/>
                  </a:lnTo>
                  <a:lnTo>
                    <a:pt x="327" y="28"/>
                  </a:lnTo>
                  <a:lnTo>
                    <a:pt x="330" y="29"/>
                  </a:lnTo>
                  <a:lnTo>
                    <a:pt x="332" y="27"/>
                  </a:lnTo>
                  <a:lnTo>
                    <a:pt x="334" y="28"/>
                  </a:lnTo>
                  <a:lnTo>
                    <a:pt x="336" y="26"/>
                  </a:lnTo>
                  <a:lnTo>
                    <a:pt x="338" y="27"/>
                  </a:lnTo>
                  <a:lnTo>
                    <a:pt x="340" y="31"/>
                  </a:lnTo>
                  <a:lnTo>
                    <a:pt x="342" y="33"/>
                  </a:lnTo>
                  <a:lnTo>
                    <a:pt x="343" y="32"/>
                  </a:lnTo>
                  <a:lnTo>
                    <a:pt x="344" y="30"/>
                  </a:lnTo>
                  <a:lnTo>
                    <a:pt x="346" y="30"/>
                  </a:lnTo>
                  <a:lnTo>
                    <a:pt x="349" y="33"/>
                  </a:lnTo>
                  <a:lnTo>
                    <a:pt x="352" y="35"/>
                  </a:lnTo>
                  <a:lnTo>
                    <a:pt x="354" y="32"/>
                  </a:lnTo>
                  <a:lnTo>
                    <a:pt x="357" y="32"/>
                  </a:lnTo>
                  <a:lnTo>
                    <a:pt x="355" y="35"/>
                  </a:lnTo>
                  <a:lnTo>
                    <a:pt x="353" y="37"/>
                  </a:lnTo>
                  <a:lnTo>
                    <a:pt x="351" y="42"/>
                  </a:lnTo>
                  <a:lnTo>
                    <a:pt x="353" y="44"/>
                  </a:lnTo>
                  <a:lnTo>
                    <a:pt x="355" y="42"/>
                  </a:lnTo>
                  <a:lnTo>
                    <a:pt x="360" y="42"/>
                  </a:lnTo>
                  <a:lnTo>
                    <a:pt x="363" y="42"/>
                  </a:lnTo>
                  <a:lnTo>
                    <a:pt x="366" y="44"/>
                  </a:lnTo>
                  <a:lnTo>
                    <a:pt x="368" y="41"/>
                  </a:lnTo>
                  <a:lnTo>
                    <a:pt x="372" y="36"/>
                  </a:lnTo>
                  <a:lnTo>
                    <a:pt x="379" y="34"/>
                  </a:lnTo>
                  <a:lnTo>
                    <a:pt x="384" y="29"/>
                  </a:lnTo>
                  <a:lnTo>
                    <a:pt x="389" y="27"/>
                  </a:lnTo>
                  <a:lnTo>
                    <a:pt x="392" y="24"/>
                  </a:lnTo>
                  <a:lnTo>
                    <a:pt x="397" y="24"/>
                  </a:lnTo>
                  <a:lnTo>
                    <a:pt x="397" y="28"/>
                  </a:lnTo>
                  <a:lnTo>
                    <a:pt x="394" y="29"/>
                  </a:lnTo>
                  <a:lnTo>
                    <a:pt x="393" y="33"/>
                  </a:lnTo>
                  <a:lnTo>
                    <a:pt x="399" y="39"/>
                  </a:lnTo>
                  <a:lnTo>
                    <a:pt x="404" y="42"/>
                  </a:lnTo>
                  <a:lnTo>
                    <a:pt x="412" y="49"/>
                  </a:lnTo>
                  <a:lnTo>
                    <a:pt x="418" y="59"/>
                  </a:lnTo>
                  <a:lnTo>
                    <a:pt x="428" y="80"/>
                  </a:lnTo>
                  <a:lnTo>
                    <a:pt x="433" y="88"/>
                  </a:lnTo>
                  <a:lnTo>
                    <a:pt x="439" y="102"/>
                  </a:lnTo>
                  <a:lnTo>
                    <a:pt x="442" y="99"/>
                  </a:lnTo>
                  <a:lnTo>
                    <a:pt x="444" y="97"/>
                  </a:lnTo>
                  <a:lnTo>
                    <a:pt x="447" y="92"/>
                  </a:lnTo>
                  <a:lnTo>
                    <a:pt x="452" y="92"/>
                  </a:lnTo>
                  <a:lnTo>
                    <a:pt x="454" y="95"/>
                  </a:lnTo>
                  <a:lnTo>
                    <a:pt x="454" y="99"/>
                  </a:lnTo>
                  <a:lnTo>
                    <a:pt x="457" y="99"/>
                  </a:lnTo>
                  <a:lnTo>
                    <a:pt x="459" y="101"/>
                  </a:lnTo>
                  <a:lnTo>
                    <a:pt x="460" y="102"/>
                  </a:lnTo>
                  <a:lnTo>
                    <a:pt x="463" y="102"/>
                  </a:lnTo>
                  <a:lnTo>
                    <a:pt x="469" y="102"/>
                  </a:lnTo>
                  <a:lnTo>
                    <a:pt x="475" y="101"/>
                  </a:lnTo>
                  <a:lnTo>
                    <a:pt x="479" y="99"/>
                  </a:lnTo>
                  <a:lnTo>
                    <a:pt x="485" y="98"/>
                  </a:lnTo>
                  <a:lnTo>
                    <a:pt x="489" y="102"/>
                  </a:lnTo>
                  <a:lnTo>
                    <a:pt x="494" y="108"/>
                  </a:lnTo>
                  <a:lnTo>
                    <a:pt x="496" y="113"/>
                  </a:lnTo>
                  <a:lnTo>
                    <a:pt x="501" y="115"/>
                  </a:lnTo>
                  <a:lnTo>
                    <a:pt x="505" y="120"/>
                  </a:lnTo>
                  <a:lnTo>
                    <a:pt x="508" y="126"/>
                  </a:lnTo>
                  <a:lnTo>
                    <a:pt x="514" y="127"/>
                  </a:lnTo>
                  <a:lnTo>
                    <a:pt x="520" y="128"/>
                  </a:lnTo>
                  <a:lnTo>
                    <a:pt x="522" y="124"/>
                  </a:lnTo>
                  <a:lnTo>
                    <a:pt x="526" y="123"/>
                  </a:lnTo>
                  <a:lnTo>
                    <a:pt x="526" y="126"/>
                  </a:lnTo>
                  <a:lnTo>
                    <a:pt x="528" y="129"/>
                  </a:lnTo>
                  <a:lnTo>
                    <a:pt x="530" y="133"/>
                  </a:lnTo>
                  <a:lnTo>
                    <a:pt x="534" y="133"/>
                  </a:lnTo>
                  <a:lnTo>
                    <a:pt x="534" y="134"/>
                  </a:lnTo>
                  <a:lnTo>
                    <a:pt x="531" y="135"/>
                  </a:lnTo>
                  <a:lnTo>
                    <a:pt x="528" y="136"/>
                  </a:lnTo>
                  <a:lnTo>
                    <a:pt x="526" y="138"/>
                  </a:lnTo>
                  <a:lnTo>
                    <a:pt x="526" y="141"/>
                  </a:lnTo>
                  <a:lnTo>
                    <a:pt x="526" y="145"/>
                  </a:lnTo>
                  <a:lnTo>
                    <a:pt x="524" y="147"/>
                  </a:lnTo>
                  <a:lnTo>
                    <a:pt x="522" y="147"/>
                  </a:lnTo>
                  <a:lnTo>
                    <a:pt x="515" y="148"/>
                  </a:lnTo>
                  <a:lnTo>
                    <a:pt x="513" y="151"/>
                  </a:lnTo>
                  <a:lnTo>
                    <a:pt x="510" y="156"/>
                  </a:lnTo>
                  <a:lnTo>
                    <a:pt x="511" y="162"/>
                  </a:lnTo>
                  <a:lnTo>
                    <a:pt x="512" y="168"/>
                  </a:lnTo>
                  <a:lnTo>
                    <a:pt x="511" y="172"/>
                  </a:lnTo>
                  <a:lnTo>
                    <a:pt x="509" y="175"/>
                  </a:lnTo>
                  <a:lnTo>
                    <a:pt x="506" y="176"/>
                  </a:lnTo>
                  <a:lnTo>
                    <a:pt x="502" y="177"/>
                  </a:lnTo>
                  <a:lnTo>
                    <a:pt x="494" y="176"/>
                  </a:lnTo>
                  <a:lnTo>
                    <a:pt x="490" y="175"/>
                  </a:lnTo>
                  <a:lnTo>
                    <a:pt x="486" y="174"/>
                  </a:lnTo>
                  <a:lnTo>
                    <a:pt x="480" y="171"/>
                  </a:lnTo>
                  <a:lnTo>
                    <a:pt x="477" y="176"/>
                  </a:lnTo>
                  <a:lnTo>
                    <a:pt x="474" y="186"/>
                  </a:lnTo>
                  <a:lnTo>
                    <a:pt x="472" y="192"/>
                  </a:lnTo>
                  <a:lnTo>
                    <a:pt x="470" y="198"/>
                  </a:lnTo>
                  <a:lnTo>
                    <a:pt x="469" y="201"/>
                  </a:lnTo>
                  <a:lnTo>
                    <a:pt x="473" y="206"/>
                  </a:lnTo>
                  <a:lnTo>
                    <a:pt x="474" y="208"/>
                  </a:lnTo>
                  <a:lnTo>
                    <a:pt x="472" y="210"/>
                  </a:lnTo>
                  <a:lnTo>
                    <a:pt x="471" y="211"/>
                  </a:lnTo>
                  <a:lnTo>
                    <a:pt x="469" y="212"/>
                  </a:lnTo>
                  <a:lnTo>
                    <a:pt x="462" y="210"/>
                  </a:lnTo>
                  <a:lnTo>
                    <a:pt x="459" y="208"/>
                  </a:lnTo>
                  <a:lnTo>
                    <a:pt x="457" y="209"/>
                  </a:lnTo>
                  <a:lnTo>
                    <a:pt x="451" y="210"/>
                  </a:lnTo>
                  <a:lnTo>
                    <a:pt x="440" y="212"/>
                  </a:lnTo>
                  <a:lnTo>
                    <a:pt x="438" y="214"/>
                  </a:lnTo>
                  <a:lnTo>
                    <a:pt x="437" y="216"/>
                  </a:lnTo>
                  <a:lnTo>
                    <a:pt x="436" y="218"/>
                  </a:lnTo>
                  <a:lnTo>
                    <a:pt x="438" y="220"/>
                  </a:lnTo>
                  <a:lnTo>
                    <a:pt x="440" y="219"/>
                  </a:lnTo>
                  <a:lnTo>
                    <a:pt x="443" y="221"/>
                  </a:lnTo>
                  <a:lnTo>
                    <a:pt x="443" y="232"/>
                  </a:lnTo>
                  <a:lnTo>
                    <a:pt x="445" y="237"/>
                  </a:lnTo>
                  <a:lnTo>
                    <a:pt x="447" y="240"/>
                  </a:lnTo>
                  <a:lnTo>
                    <a:pt x="447" y="244"/>
                  </a:lnTo>
                  <a:lnTo>
                    <a:pt x="446" y="247"/>
                  </a:lnTo>
                  <a:lnTo>
                    <a:pt x="442" y="251"/>
                  </a:lnTo>
                  <a:lnTo>
                    <a:pt x="440" y="255"/>
                  </a:lnTo>
                  <a:lnTo>
                    <a:pt x="440" y="258"/>
                  </a:lnTo>
                  <a:lnTo>
                    <a:pt x="441" y="26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39" name="Freeform 111">
              <a:extLst>
                <a:ext uri="{FF2B5EF4-FFF2-40B4-BE49-F238E27FC236}">
                  <a16:creationId xmlns:a16="http://schemas.microsoft.com/office/drawing/2014/main" id="{BF6DAA1A-1239-822D-46FA-7E57E875DE30}"/>
                </a:ext>
              </a:extLst>
            </p:cNvPr>
            <p:cNvSpPr>
              <a:spLocks/>
            </p:cNvSpPr>
            <p:nvPr/>
          </p:nvSpPr>
          <p:spPr bwMode="auto">
            <a:xfrm>
              <a:off x="6087646" y="4402138"/>
              <a:ext cx="203200" cy="207963"/>
            </a:xfrm>
            <a:custGeom>
              <a:avLst/>
              <a:gdLst/>
              <a:ahLst/>
              <a:cxnLst>
                <a:cxn ang="0">
                  <a:pos x="31" y="47"/>
                </a:cxn>
                <a:cxn ang="0">
                  <a:pos x="34" y="24"/>
                </a:cxn>
                <a:cxn ang="0">
                  <a:pos x="33" y="19"/>
                </a:cxn>
                <a:cxn ang="0">
                  <a:pos x="37" y="15"/>
                </a:cxn>
                <a:cxn ang="0">
                  <a:pos x="44" y="11"/>
                </a:cxn>
                <a:cxn ang="0">
                  <a:pos x="49" y="2"/>
                </a:cxn>
                <a:cxn ang="0">
                  <a:pos x="52" y="1"/>
                </a:cxn>
                <a:cxn ang="0">
                  <a:pos x="57" y="2"/>
                </a:cxn>
                <a:cxn ang="0">
                  <a:pos x="64" y="2"/>
                </a:cxn>
                <a:cxn ang="0">
                  <a:pos x="67" y="1"/>
                </a:cxn>
                <a:cxn ang="0">
                  <a:pos x="71" y="2"/>
                </a:cxn>
                <a:cxn ang="0">
                  <a:pos x="71" y="6"/>
                </a:cxn>
                <a:cxn ang="0">
                  <a:pos x="74" y="6"/>
                </a:cxn>
                <a:cxn ang="0">
                  <a:pos x="79" y="3"/>
                </a:cxn>
                <a:cxn ang="0">
                  <a:pos x="87" y="21"/>
                </a:cxn>
                <a:cxn ang="0">
                  <a:pos x="91" y="24"/>
                </a:cxn>
                <a:cxn ang="0">
                  <a:pos x="95" y="30"/>
                </a:cxn>
                <a:cxn ang="0">
                  <a:pos x="97" y="37"/>
                </a:cxn>
                <a:cxn ang="0">
                  <a:pos x="89" y="50"/>
                </a:cxn>
                <a:cxn ang="0">
                  <a:pos x="88" y="57"/>
                </a:cxn>
                <a:cxn ang="0">
                  <a:pos x="96" y="66"/>
                </a:cxn>
                <a:cxn ang="0">
                  <a:pos x="97" y="73"/>
                </a:cxn>
                <a:cxn ang="0">
                  <a:pos x="102" y="72"/>
                </a:cxn>
                <a:cxn ang="0">
                  <a:pos x="111" y="80"/>
                </a:cxn>
                <a:cxn ang="0">
                  <a:pos x="118" y="86"/>
                </a:cxn>
                <a:cxn ang="0">
                  <a:pos x="118" y="92"/>
                </a:cxn>
                <a:cxn ang="0">
                  <a:pos x="117" y="100"/>
                </a:cxn>
                <a:cxn ang="0">
                  <a:pos x="120" y="102"/>
                </a:cxn>
                <a:cxn ang="0">
                  <a:pos x="123" y="105"/>
                </a:cxn>
                <a:cxn ang="0">
                  <a:pos x="122" y="110"/>
                </a:cxn>
                <a:cxn ang="0">
                  <a:pos x="128" y="115"/>
                </a:cxn>
                <a:cxn ang="0">
                  <a:pos x="128" y="116"/>
                </a:cxn>
                <a:cxn ang="0">
                  <a:pos x="121" y="116"/>
                </a:cxn>
                <a:cxn ang="0">
                  <a:pos x="120" y="117"/>
                </a:cxn>
                <a:cxn ang="0">
                  <a:pos x="109" y="118"/>
                </a:cxn>
                <a:cxn ang="0">
                  <a:pos x="105" y="127"/>
                </a:cxn>
                <a:cxn ang="0">
                  <a:pos x="78" y="130"/>
                </a:cxn>
                <a:cxn ang="0">
                  <a:pos x="64" y="123"/>
                </a:cxn>
                <a:cxn ang="0">
                  <a:pos x="63" y="116"/>
                </a:cxn>
                <a:cxn ang="0">
                  <a:pos x="63" y="111"/>
                </a:cxn>
                <a:cxn ang="0">
                  <a:pos x="56" y="111"/>
                </a:cxn>
                <a:cxn ang="0">
                  <a:pos x="52" y="105"/>
                </a:cxn>
                <a:cxn ang="0">
                  <a:pos x="31" y="94"/>
                </a:cxn>
                <a:cxn ang="0">
                  <a:pos x="15" y="86"/>
                </a:cxn>
                <a:cxn ang="0">
                  <a:pos x="8" y="83"/>
                </a:cxn>
                <a:cxn ang="0">
                  <a:pos x="5" y="78"/>
                </a:cxn>
              </a:cxnLst>
              <a:rect l="0" t="0" r="r" b="b"/>
              <a:pathLst>
                <a:path w="128" h="131">
                  <a:moveTo>
                    <a:pt x="0" y="66"/>
                  </a:moveTo>
                  <a:lnTo>
                    <a:pt x="31" y="47"/>
                  </a:lnTo>
                  <a:lnTo>
                    <a:pt x="34" y="27"/>
                  </a:lnTo>
                  <a:lnTo>
                    <a:pt x="34" y="24"/>
                  </a:lnTo>
                  <a:lnTo>
                    <a:pt x="33" y="21"/>
                  </a:lnTo>
                  <a:lnTo>
                    <a:pt x="33" y="19"/>
                  </a:lnTo>
                  <a:lnTo>
                    <a:pt x="35" y="16"/>
                  </a:lnTo>
                  <a:lnTo>
                    <a:pt x="37" y="15"/>
                  </a:lnTo>
                  <a:lnTo>
                    <a:pt x="42" y="13"/>
                  </a:lnTo>
                  <a:lnTo>
                    <a:pt x="44" y="11"/>
                  </a:lnTo>
                  <a:lnTo>
                    <a:pt x="50" y="4"/>
                  </a:lnTo>
                  <a:lnTo>
                    <a:pt x="49" y="2"/>
                  </a:lnTo>
                  <a:lnTo>
                    <a:pt x="51" y="2"/>
                  </a:lnTo>
                  <a:lnTo>
                    <a:pt x="52" y="1"/>
                  </a:lnTo>
                  <a:lnTo>
                    <a:pt x="55" y="0"/>
                  </a:lnTo>
                  <a:lnTo>
                    <a:pt x="57" y="2"/>
                  </a:lnTo>
                  <a:lnTo>
                    <a:pt x="59" y="1"/>
                  </a:lnTo>
                  <a:lnTo>
                    <a:pt x="64" y="2"/>
                  </a:lnTo>
                  <a:lnTo>
                    <a:pt x="66" y="2"/>
                  </a:lnTo>
                  <a:lnTo>
                    <a:pt x="67" y="1"/>
                  </a:lnTo>
                  <a:lnTo>
                    <a:pt x="69" y="1"/>
                  </a:lnTo>
                  <a:lnTo>
                    <a:pt x="71" y="2"/>
                  </a:lnTo>
                  <a:lnTo>
                    <a:pt x="71" y="4"/>
                  </a:lnTo>
                  <a:lnTo>
                    <a:pt x="71" y="6"/>
                  </a:lnTo>
                  <a:lnTo>
                    <a:pt x="73" y="7"/>
                  </a:lnTo>
                  <a:lnTo>
                    <a:pt x="74" y="6"/>
                  </a:lnTo>
                  <a:lnTo>
                    <a:pt x="77" y="3"/>
                  </a:lnTo>
                  <a:lnTo>
                    <a:pt x="79" y="3"/>
                  </a:lnTo>
                  <a:lnTo>
                    <a:pt x="83" y="14"/>
                  </a:lnTo>
                  <a:lnTo>
                    <a:pt x="87" y="21"/>
                  </a:lnTo>
                  <a:lnTo>
                    <a:pt x="87" y="23"/>
                  </a:lnTo>
                  <a:lnTo>
                    <a:pt x="91" y="24"/>
                  </a:lnTo>
                  <a:lnTo>
                    <a:pt x="98" y="25"/>
                  </a:lnTo>
                  <a:lnTo>
                    <a:pt x="95" y="30"/>
                  </a:lnTo>
                  <a:lnTo>
                    <a:pt x="95" y="32"/>
                  </a:lnTo>
                  <a:lnTo>
                    <a:pt x="97" y="37"/>
                  </a:lnTo>
                  <a:lnTo>
                    <a:pt x="91" y="44"/>
                  </a:lnTo>
                  <a:lnTo>
                    <a:pt x="89" y="50"/>
                  </a:lnTo>
                  <a:lnTo>
                    <a:pt x="88" y="56"/>
                  </a:lnTo>
                  <a:lnTo>
                    <a:pt x="88" y="57"/>
                  </a:lnTo>
                  <a:lnTo>
                    <a:pt x="90" y="59"/>
                  </a:lnTo>
                  <a:lnTo>
                    <a:pt x="96" y="66"/>
                  </a:lnTo>
                  <a:lnTo>
                    <a:pt x="96" y="72"/>
                  </a:lnTo>
                  <a:lnTo>
                    <a:pt x="97" y="73"/>
                  </a:lnTo>
                  <a:lnTo>
                    <a:pt x="99" y="72"/>
                  </a:lnTo>
                  <a:lnTo>
                    <a:pt x="102" y="72"/>
                  </a:lnTo>
                  <a:lnTo>
                    <a:pt x="109" y="79"/>
                  </a:lnTo>
                  <a:lnTo>
                    <a:pt x="111" y="80"/>
                  </a:lnTo>
                  <a:lnTo>
                    <a:pt x="116" y="84"/>
                  </a:lnTo>
                  <a:lnTo>
                    <a:pt x="118" y="86"/>
                  </a:lnTo>
                  <a:lnTo>
                    <a:pt x="118" y="88"/>
                  </a:lnTo>
                  <a:lnTo>
                    <a:pt x="118" y="92"/>
                  </a:lnTo>
                  <a:lnTo>
                    <a:pt x="117" y="96"/>
                  </a:lnTo>
                  <a:lnTo>
                    <a:pt x="117" y="100"/>
                  </a:lnTo>
                  <a:lnTo>
                    <a:pt x="117" y="102"/>
                  </a:lnTo>
                  <a:lnTo>
                    <a:pt x="120" y="102"/>
                  </a:lnTo>
                  <a:lnTo>
                    <a:pt x="121" y="102"/>
                  </a:lnTo>
                  <a:lnTo>
                    <a:pt x="123" y="105"/>
                  </a:lnTo>
                  <a:lnTo>
                    <a:pt x="123" y="108"/>
                  </a:lnTo>
                  <a:lnTo>
                    <a:pt x="122" y="110"/>
                  </a:lnTo>
                  <a:lnTo>
                    <a:pt x="126" y="113"/>
                  </a:lnTo>
                  <a:lnTo>
                    <a:pt x="128" y="115"/>
                  </a:lnTo>
                  <a:lnTo>
                    <a:pt x="128" y="116"/>
                  </a:lnTo>
                  <a:lnTo>
                    <a:pt x="128" y="116"/>
                  </a:lnTo>
                  <a:lnTo>
                    <a:pt x="124" y="116"/>
                  </a:lnTo>
                  <a:lnTo>
                    <a:pt x="121" y="116"/>
                  </a:lnTo>
                  <a:lnTo>
                    <a:pt x="120" y="116"/>
                  </a:lnTo>
                  <a:lnTo>
                    <a:pt x="120" y="117"/>
                  </a:lnTo>
                  <a:lnTo>
                    <a:pt x="112" y="117"/>
                  </a:lnTo>
                  <a:lnTo>
                    <a:pt x="109" y="118"/>
                  </a:lnTo>
                  <a:lnTo>
                    <a:pt x="107" y="123"/>
                  </a:lnTo>
                  <a:lnTo>
                    <a:pt x="105" y="127"/>
                  </a:lnTo>
                  <a:lnTo>
                    <a:pt x="102" y="131"/>
                  </a:lnTo>
                  <a:lnTo>
                    <a:pt x="78" y="130"/>
                  </a:lnTo>
                  <a:lnTo>
                    <a:pt x="69" y="125"/>
                  </a:lnTo>
                  <a:lnTo>
                    <a:pt x="64" y="123"/>
                  </a:lnTo>
                  <a:lnTo>
                    <a:pt x="63" y="122"/>
                  </a:lnTo>
                  <a:lnTo>
                    <a:pt x="63" y="116"/>
                  </a:lnTo>
                  <a:lnTo>
                    <a:pt x="64" y="113"/>
                  </a:lnTo>
                  <a:lnTo>
                    <a:pt x="63" y="111"/>
                  </a:lnTo>
                  <a:lnTo>
                    <a:pt x="57" y="111"/>
                  </a:lnTo>
                  <a:lnTo>
                    <a:pt x="56" y="111"/>
                  </a:lnTo>
                  <a:lnTo>
                    <a:pt x="54" y="107"/>
                  </a:lnTo>
                  <a:lnTo>
                    <a:pt x="52" y="105"/>
                  </a:lnTo>
                  <a:lnTo>
                    <a:pt x="38" y="98"/>
                  </a:lnTo>
                  <a:lnTo>
                    <a:pt x="31" y="94"/>
                  </a:lnTo>
                  <a:lnTo>
                    <a:pt x="19" y="88"/>
                  </a:lnTo>
                  <a:lnTo>
                    <a:pt x="15" y="86"/>
                  </a:lnTo>
                  <a:lnTo>
                    <a:pt x="8" y="83"/>
                  </a:lnTo>
                  <a:lnTo>
                    <a:pt x="8" y="83"/>
                  </a:lnTo>
                  <a:lnTo>
                    <a:pt x="7" y="83"/>
                  </a:lnTo>
                  <a:lnTo>
                    <a:pt x="5" y="78"/>
                  </a:lnTo>
                  <a:lnTo>
                    <a:pt x="0" y="6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0" name="Freeform 112">
              <a:extLst>
                <a:ext uri="{FF2B5EF4-FFF2-40B4-BE49-F238E27FC236}">
                  <a16:creationId xmlns:a16="http://schemas.microsoft.com/office/drawing/2014/main" id="{D866886F-CD55-DD4C-9550-3E2F7CBC02F1}"/>
                </a:ext>
              </a:extLst>
            </p:cNvPr>
            <p:cNvSpPr>
              <a:spLocks/>
            </p:cNvSpPr>
            <p:nvPr/>
          </p:nvSpPr>
          <p:spPr bwMode="auto">
            <a:xfrm>
              <a:off x="5735221" y="4772025"/>
              <a:ext cx="350838" cy="393700"/>
            </a:xfrm>
            <a:custGeom>
              <a:avLst/>
              <a:gdLst/>
              <a:ahLst/>
              <a:cxnLst>
                <a:cxn ang="0">
                  <a:pos x="153" y="246"/>
                </a:cxn>
                <a:cxn ang="0">
                  <a:pos x="147" y="244"/>
                </a:cxn>
                <a:cxn ang="0">
                  <a:pos x="132" y="247"/>
                </a:cxn>
                <a:cxn ang="0">
                  <a:pos x="120" y="247"/>
                </a:cxn>
                <a:cxn ang="0">
                  <a:pos x="104" y="235"/>
                </a:cxn>
                <a:cxn ang="0">
                  <a:pos x="99" y="238"/>
                </a:cxn>
                <a:cxn ang="0">
                  <a:pos x="91" y="235"/>
                </a:cxn>
                <a:cxn ang="0">
                  <a:pos x="85" y="239"/>
                </a:cxn>
                <a:cxn ang="0">
                  <a:pos x="77" y="232"/>
                </a:cxn>
                <a:cxn ang="0">
                  <a:pos x="72" y="226"/>
                </a:cxn>
                <a:cxn ang="0">
                  <a:pos x="68" y="217"/>
                </a:cxn>
                <a:cxn ang="0">
                  <a:pos x="59" y="212"/>
                </a:cxn>
                <a:cxn ang="0">
                  <a:pos x="57" y="205"/>
                </a:cxn>
                <a:cxn ang="0">
                  <a:pos x="46" y="198"/>
                </a:cxn>
                <a:cxn ang="0">
                  <a:pos x="45" y="191"/>
                </a:cxn>
                <a:cxn ang="0">
                  <a:pos x="34" y="186"/>
                </a:cxn>
                <a:cxn ang="0">
                  <a:pos x="30" y="181"/>
                </a:cxn>
                <a:cxn ang="0">
                  <a:pos x="22" y="180"/>
                </a:cxn>
                <a:cxn ang="0">
                  <a:pos x="24" y="163"/>
                </a:cxn>
                <a:cxn ang="0">
                  <a:pos x="15" y="148"/>
                </a:cxn>
                <a:cxn ang="0">
                  <a:pos x="10" y="140"/>
                </a:cxn>
                <a:cxn ang="0">
                  <a:pos x="7" y="128"/>
                </a:cxn>
                <a:cxn ang="0">
                  <a:pos x="2" y="127"/>
                </a:cxn>
                <a:cxn ang="0">
                  <a:pos x="6" y="118"/>
                </a:cxn>
                <a:cxn ang="0">
                  <a:pos x="4" y="110"/>
                </a:cxn>
                <a:cxn ang="0">
                  <a:pos x="9" y="102"/>
                </a:cxn>
                <a:cxn ang="0">
                  <a:pos x="15" y="87"/>
                </a:cxn>
                <a:cxn ang="0">
                  <a:pos x="29" y="86"/>
                </a:cxn>
                <a:cxn ang="0">
                  <a:pos x="29" y="70"/>
                </a:cxn>
                <a:cxn ang="0">
                  <a:pos x="28" y="46"/>
                </a:cxn>
                <a:cxn ang="0">
                  <a:pos x="29" y="27"/>
                </a:cxn>
                <a:cxn ang="0">
                  <a:pos x="42" y="26"/>
                </a:cxn>
                <a:cxn ang="0">
                  <a:pos x="47" y="0"/>
                </a:cxn>
                <a:cxn ang="0">
                  <a:pos x="69" y="0"/>
                </a:cxn>
                <a:cxn ang="0">
                  <a:pos x="107" y="0"/>
                </a:cxn>
                <a:cxn ang="0">
                  <a:pos x="197" y="0"/>
                </a:cxn>
                <a:cxn ang="0">
                  <a:pos x="202" y="32"/>
                </a:cxn>
                <a:cxn ang="0">
                  <a:pos x="209" y="46"/>
                </a:cxn>
                <a:cxn ang="0">
                  <a:pos x="219" y="52"/>
                </a:cxn>
                <a:cxn ang="0">
                  <a:pos x="218" y="57"/>
                </a:cxn>
                <a:cxn ang="0">
                  <a:pos x="211" y="63"/>
                </a:cxn>
                <a:cxn ang="0">
                  <a:pos x="206" y="67"/>
                </a:cxn>
                <a:cxn ang="0">
                  <a:pos x="198" y="72"/>
                </a:cxn>
                <a:cxn ang="0">
                  <a:pos x="196" y="85"/>
                </a:cxn>
                <a:cxn ang="0">
                  <a:pos x="193" y="101"/>
                </a:cxn>
                <a:cxn ang="0">
                  <a:pos x="192" y="112"/>
                </a:cxn>
                <a:cxn ang="0">
                  <a:pos x="182" y="127"/>
                </a:cxn>
                <a:cxn ang="0">
                  <a:pos x="174" y="138"/>
                </a:cxn>
                <a:cxn ang="0">
                  <a:pos x="171" y="153"/>
                </a:cxn>
                <a:cxn ang="0">
                  <a:pos x="166" y="153"/>
                </a:cxn>
                <a:cxn ang="0">
                  <a:pos x="163" y="166"/>
                </a:cxn>
                <a:cxn ang="0">
                  <a:pos x="161" y="183"/>
                </a:cxn>
                <a:cxn ang="0">
                  <a:pos x="151" y="184"/>
                </a:cxn>
                <a:cxn ang="0">
                  <a:pos x="147" y="192"/>
                </a:cxn>
                <a:cxn ang="0">
                  <a:pos x="155" y="194"/>
                </a:cxn>
                <a:cxn ang="0">
                  <a:pos x="168" y="207"/>
                </a:cxn>
                <a:cxn ang="0">
                  <a:pos x="177" y="222"/>
                </a:cxn>
                <a:cxn ang="0">
                  <a:pos x="183" y="226"/>
                </a:cxn>
                <a:cxn ang="0">
                  <a:pos x="184" y="234"/>
                </a:cxn>
                <a:cxn ang="0">
                  <a:pos x="175" y="235"/>
                </a:cxn>
                <a:cxn ang="0">
                  <a:pos x="164" y="236"/>
                </a:cxn>
              </a:cxnLst>
              <a:rect l="0" t="0" r="r" b="b"/>
              <a:pathLst>
                <a:path w="221" h="248">
                  <a:moveTo>
                    <a:pt x="160" y="241"/>
                  </a:moveTo>
                  <a:lnTo>
                    <a:pt x="157" y="244"/>
                  </a:lnTo>
                  <a:lnTo>
                    <a:pt x="153" y="246"/>
                  </a:lnTo>
                  <a:lnTo>
                    <a:pt x="151" y="246"/>
                  </a:lnTo>
                  <a:lnTo>
                    <a:pt x="149" y="245"/>
                  </a:lnTo>
                  <a:lnTo>
                    <a:pt x="147" y="244"/>
                  </a:lnTo>
                  <a:lnTo>
                    <a:pt x="142" y="245"/>
                  </a:lnTo>
                  <a:lnTo>
                    <a:pt x="137" y="247"/>
                  </a:lnTo>
                  <a:lnTo>
                    <a:pt x="132" y="247"/>
                  </a:lnTo>
                  <a:lnTo>
                    <a:pt x="126" y="246"/>
                  </a:lnTo>
                  <a:lnTo>
                    <a:pt x="123" y="246"/>
                  </a:lnTo>
                  <a:lnTo>
                    <a:pt x="120" y="247"/>
                  </a:lnTo>
                  <a:lnTo>
                    <a:pt x="117" y="248"/>
                  </a:lnTo>
                  <a:lnTo>
                    <a:pt x="110" y="240"/>
                  </a:lnTo>
                  <a:lnTo>
                    <a:pt x="104" y="235"/>
                  </a:lnTo>
                  <a:lnTo>
                    <a:pt x="103" y="234"/>
                  </a:lnTo>
                  <a:lnTo>
                    <a:pt x="101" y="235"/>
                  </a:lnTo>
                  <a:lnTo>
                    <a:pt x="99" y="238"/>
                  </a:lnTo>
                  <a:lnTo>
                    <a:pt x="97" y="239"/>
                  </a:lnTo>
                  <a:lnTo>
                    <a:pt x="94" y="235"/>
                  </a:lnTo>
                  <a:lnTo>
                    <a:pt x="91" y="235"/>
                  </a:lnTo>
                  <a:lnTo>
                    <a:pt x="88" y="237"/>
                  </a:lnTo>
                  <a:lnTo>
                    <a:pt x="87" y="239"/>
                  </a:lnTo>
                  <a:lnTo>
                    <a:pt x="85" y="239"/>
                  </a:lnTo>
                  <a:lnTo>
                    <a:pt x="82" y="238"/>
                  </a:lnTo>
                  <a:lnTo>
                    <a:pt x="79" y="235"/>
                  </a:lnTo>
                  <a:lnTo>
                    <a:pt x="77" y="232"/>
                  </a:lnTo>
                  <a:lnTo>
                    <a:pt x="73" y="228"/>
                  </a:lnTo>
                  <a:lnTo>
                    <a:pt x="72" y="226"/>
                  </a:lnTo>
                  <a:lnTo>
                    <a:pt x="72" y="226"/>
                  </a:lnTo>
                  <a:lnTo>
                    <a:pt x="72" y="222"/>
                  </a:lnTo>
                  <a:lnTo>
                    <a:pt x="71" y="220"/>
                  </a:lnTo>
                  <a:lnTo>
                    <a:pt x="68" y="217"/>
                  </a:lnTo>
                  <a:lnTo>
                    <a:pt x="63" y="216"/>
                  </a:lnTo>
                  <a:lnTo>
                    <a:pt x="61" y="214"/>
                  </a:lnTo>
                  <a:lnTo>
                    <a:pt x="59" y="212"/>
                  </a:lnTo>
                  <a:lnTo>
                    <a:pt x="59" y="208"/>
                  </a:lnTo>
                  <a:lnTo>
                    <a:pt x="58" y="205"/>
                  </a:lnTo>
                  <a:lnTo>
                    <a:pt x="57" y="205"/>
                  </a:lnTo>
                  <a:lnTo>
                    <a:pt x="52" y="202"/>
                  </a:lnTo>
                  <a:lnTo>
                    <a:pt x="49" y="200"/>
                  </a:lnTo>
                  <a:lnTo>
                    <a:pt x="46" y="198"/>
                  </a:lnTo>
                  <a:lnTo>
                    <a:pt x="45" y="195"/>
                  </a:lnTo>
                  <a:lnTo>
                    <a:pt x="46" y="192"/>
                  </a:lnTo>
                  <a:lnTo>
                    <a:pt x="45" y="191"/>
                  </a:lnTo>
                  <a:lnTo>
                    <a:pt x="43" y="190"/>
                  </a:lnTo>
                  <a:lnTo>
                    <a:pt x="38" y="188"/>
                  </a:lnTo>
                  <a:lnTo>
                    <a:pt x="34" y="186"/>
                  </a:lnTo>
                  <a:lnTo>
                    <a:pt x="32" y="184"/>
                  </a:lnTo>
                  <a:lnTo>
                    <a:pt x="31" y="181"/>
                  </a:lnTo>
                  <a:lnTo>
                    <a:pt x="30" y="181"/>
                  </a:lnTo>
                  <a:lnTo>
                    <a:pt x="28" y="181"/>
                  </a:lnTo>
                  <a:lnTo>
                    <a:pt x="23" y="181"/>
                  </a:lnTo>
                  <a:lnTo>
                    <a:pt x="22" y="180"/>
                  </a:lnTo>
                  <a:lnTo>
                    <a:pt x="22" y="175"/>
                  </a:lnTo>
                  <a:lnTo>
                    <a:pt x="25" y="167"/>
                  </a:lnTo>
                  <a:lnTo>
                    <a:pt x="24" y="163"/>
                  </a:lnTo>
                  <a:lnTo>
                    <a:pt x="22" y="160"/>
                  </a:lnTo>
                  <a:lnTo>
                    <a:pt x="14" y="150"/>
                  </a:lnTo>
                  <a:lnTo>
                    <a:pt x="15" y="148"/>
                  </a:lnTo>
                  <a:lnTo>
                    <a:pt x="15" y="145"/>
                  </a:lnTo>
                  <a:lnTo>
                    <a:pt x="13" y="143"/>
                  </a:lnTo>
                  <a:lnTo>
                    <a:pt x="10" y="140"/>
                  </a:lnTo>
                  <a:lnTo>
                    <a:pt x="10" y="139"/>
                  </a:lnTo>
                  <a:lnTo>
                    <a:pt x="9" y="135"/>
                  </a:lnTo>
                  <a:lnTo>
                    <a:pt x="7" y="128"/>
                  </a:lnTo>
                  <a:lnTo>
                    <a:pt x="7" y="127"/>
                  </a:lnTo>
                  <a:lnTo>
                    <a:pt x="5" y="127"/>
                  </a:lnTo>
                  <a:lnTo>
                    <a:pt x="2" y="127"/>
                  </a:lnTo>
                  <a:lnTo>
                    <a:pt x="0" y="125"/>
                  </a:lnTo>
                  <a:lnTo>
                    <a:pt x="2" y="121"/>
                  </a:lnTo>
                  <a:lnTo>
                    <a:pt x="6" y="118"/>
                  </a:lnTo>
                  <a:lnTo>
                    <a:pt x="6" y="116"/>
                  </a:lnTo>
                  <a:lnTo>
                    <a:pt x="4" y="112"/>
                  </a:lnTo>
                  <a:lnTo>
                    <a:pt x="4" y="110"/>
                  </a:lnTo>
                  <a:lnTo>
                    <a:pt x="9" y="108"/>
                  </a:lnTo>
                  <a:lnTo>
                    <a:pt x="9" y="106"/>
                  </a:lnTo>
                  <a:lnTo>
                    <a:pt x="9" y="102"/>
                  </a:lnTo>
                  <a:lnTo>
                    <a:pt x="9" y="100"/>
                  </a:lnTo>
                  <a:lnTo>
                    <a:pt x="13" y="95"/>
                  </a:lnTo>
                  <a:lnTo>
                    <a:pt x="15" y="87"/>
                  </a:lnTo>
                  <a:lnTo>
                    <a:pt x="16" y="86"/>
                  </a:lnTo>
                  <a:lnTo>
                    <a:pt x="24" y="86"/>
                  </a:lnTo>
                  <a:lnTo>
                    <a:pt x="29" y="86"/>
                  </a:lnTo>
                  <a:lnTo>
                    <a:pt x="29" y="84"/>
                  </a:lnTo>
                  <a:lnTo>
                    <a:pt x="29" y="77"/>
                  </a:lnTo>
                  <a:lnTo>
                    <a:pt x="29" y="70"/>
                  </a:lnTo>
                  <a:lnTo>
                    <a:pt x="29" y="66"/>
                  </a:lnTo>
                  <a:lnTo>
                    <a:pt x="28" y="51"/>
                  </a:lnTo>
                  <a:lnTo>
                    <a:pt x="28" y="46"/>
                  </a:lnTo>
                  <a:lnTo>
                    <a:pt x="29" y="41"/>
                  </a:lnTo>
                  <a:lnTo>
                    <a:pt x="29" y="34"/>
                  </a:lnTo>
                  <a:lnTo>
                    <a:pt x="29" y="27"/>
                  </a:lnTo>
                  <a:lnTo>
                    <a:pt x="32" y="27"/>
                  </a:lnTo>
                  <a:lnTo>
                    <a:pt x="42" y="27"/>
                  </a:lnTo>
                  <a:lnTo>
                    <a:pt x="42" y="26"/>
                  </a:lnTo>
                  <a:lnTo>
                    <a:pt x="42" y="7"/>
                  </a:lnTo>
                  <a:lnTo>
                    <a:pt x="42" y="1"/>
                  </a:lnTo>
                  <a:lnTo>
                    <a:pt x="47" y="0"/>
                  </a:lnTo>
                  <a:lnTo>
                    <a:pt x="52" y="0"/>
                  </a:lnTo>
                  <a:lnTo>
                    <a:pt x="61" y="0"/>
                  </a:lnTo>
                  <a:lnTo>
                    <a:pt x="69" y="0"/>
                  </a:lnTo>
                  <a:lnTo>
                    <a:pt x="79" y="0"/>
                  </a:lnTo>
                  <a:lnTo>
                    <a:pt x="92" y="0"/>
                  </a:lnTo>
                  <a:lnTo>
                    <a:pt x="107" y="0"/>
                  </a:lnTo>
                  <a:lnTo>
                    <a:pt x="123" y="0"/>
                  </a:lnTo>
                  <a:lnTo>
                    <a:pt x="136" y="0"/>
                  </a:lnTo>
                  <a:lnTo>
                    <a:pt x="197" y="0"/>
                  </a:lnTo>
                  <a:lnTo>
                    <a:pt x="198" y="3"/>
                  </a:lnTo>
                  <a:lnTo>
                    <a:pt x="201" y="10"/>
                  </a:lnTo>
                  <a:lnTo>
                    <a:pt x="202" y="32"/>
                  </a:lnTo>
                  <a:lnTo>
                    <a:pt x="204" y="42"/>
                  </a:lnTo>
                  <a:lnTo>
                    <a:pt x="205" y="43"/>
                  </a:lnTo>
                  <a:lnTo>
                    <a:pt x="209" y="46"/>
                  </a:lnTo>
                  <a:lnTo>
                    <a:pt x="213" y="48"/>
                  </a:lnTo>
                  <a:lnTo>
                    <a:pt x="216" y="51"/>
                  </a:lnTo>
                  <a:lnTo>
                    <a:pt x="219" y="52"/>
                  </a:lnTo>
                  <a:lnTo>
                    <a:pt x="221" y="54"/>
                  </a:lnTo>
                  <a:lnTo>
                    <a:pt x="219" y="55"/>
                  </a:lnTo>
                  <a:lnTo>
                    <a:pt x="218" y="57"/>
                  </a:lnTo>
                  <a:lnTo>
                    <a:pt x="216" y="60"/>
                  </a:lnTo>
                  <a:lnTo>
                    <a:pt x="214" y="62"/>
                  </a:lnTo>
                  <a:lnTo>
                    <a:pt x="211" y="63"/>
                  </a:lnTo>
                  <a:lnTo>
                    <a:pt x="208" y="64"/>
                  </a:lnTo>
                  <a:lnTo>
                    <a:pt x="207" y="64"/>
                  </a:lnTo>
                  <a:lnTo>
                    <a:pt x="206" y="67"/>
                  </a:lnTo>
                  <a:lnTo>
                    <a:pt x="204" y="69"/>
                  </a:lnTo>
                  <a:lnTo>
                    <a:pt x="199" y="69"/>
                  </a:lnTo>
                  <a:lnTo>
                    <a:pt x="198" y="72"/>
                  </a:lnTo>
                  <a:lnTo>
                    <a:pt x="198" y="75"/>
                  </a:lnTo>
                  <a:lnTo>
                    <a:pt x="197" y="80"/>
                  </a:lnTo>
                  <a:lnTo>
                    <a:pt x="196" y="85"/>
                  </a:lnTo>
                  <a:lnTo>
                    <a:pt x="192" y="93"/>
                  </a:lnTo>
                  <a:lnTo>
                    <a:pt x="192" y="96"/>
                  </a:lnTo>
                  <a:lnTo>
                    <a:pt x="193" y="101"/>
                  </a:lnTo>
                  <a:lnTo>
                    <a:pt x="192" y="105"/>
                  </a:lnTo>
                  <a:lnTo>
                    <a:pt x="192" y="106"/>
                  </a:lnTo>
                  <a:lnTo>
                    <a:pt x="192" y="112"/>
                  </a:lnTo>
                  <a:lnTo>
                    <a:pt x="189" y="119"/>
                  </a:lnTo>
                  <a:lnTo>
                    <a:pt x="188" y="126"/>
                  </a:lnTo>
                  <a:lnTo>
                    <a:pt x="182" y="127"/>
                  </a:lnTo>
                  <a:lnTo>
                    <a:pt x="180" y="130"/>
                  </a:lnTo>
                  <a:lnTo>
                    <a:pt x="175" y="136"/>
                  </a:lnTo>
                  <a:lnTo>
                    <a:pt x="174" y="138"/>
                  </a:lnTo>
                  <a:lnTo>
                    <a:pt x="173" y="145"/>
                  </a:lnTo>
                  <a:lnTo>
                    <a:pt x="172" y="151"/>
                  </a:lnTo>
                  <a:lnTo>
                    <a:pt x="171" y="153"/>
                  </a:lnTo>
                  <a:lnTo>
                    <a:pt x="170" y="153"/>
                  </a:lnTo>
                  <a:lnTo>
                    <a:pt x="167" y="152"/>
                  </a:lnTo>
                  <a:lnTo>
                    <a:pt x="166" y="153"/>
                  </a:lnTo>
                  <a:lnTo>
                    <a:pt x="165" y="153"/>
                  </a:lnTo>
                  <a:lnTo>
                    <a:pt x="163" y="160"/>
                  </a:lnTo>
                  <a:lnTo>
                    <a:pt x="163" y="166"/>
                  </a:lnTo>
                  <a:lnTo>
                    <a:pt x="162" y="173"/>
                  </a:lnTo>
                  <a:lnTo>
                    <a:pt x="162" y="176"/>
                  </a:lnTo>
                  <a:lnTo>
                    <a:pt x="161" y="183"/>
                  </a:lnTo>
                  <a:lnTo>
                    <a:pt x="158" y="185"/>
                  </a:lnTo>
                  <a:lnTo>
                    <a:pt x="156" y="185"/>
                  </a:lnTo>
                  <a:lnTo>
                    <a:pt x="151" y="184"/>
                  </a:lnTo>
                  <a:lnTo>
                    <a:pt x="149" y="184"/>
                  </a:lnTo>
                  <a:lnTo>
                    <a:pt x="148" y="189"/>
                  </a:lnTo>
                  <a:lnTo>
                    <a:pt x="147" y="192"/>
                  </a:lnTo>
                  <a:lnTo>
                    <a:pt x="148" y="193"/>
                  </a:lnTo>
                  <a:lnTo>
                    <a:pt x="151" y="193"/>
                  </a:lnTo>
                  <a:lnTo>
                    <a:pt x="155" y="194"/>
                  </a:lnTo>
                  <a:lnTo>
                    <a:pt x="157" y="195"/>
                  </a:lnTo>
                  <a:lnTo>
                    <a:pt x="162" y="201"/>
                  </a:lnTo>
                  <a:lnTo>
                    <a:pt x="168" y="207"/>
                  </a:lnTo>
                  <a:lnTo>
                    <a:pt x="172" y="216"/>
                  </a:lnTo>
                  <a:lnTo>
                    <a:pt x="174" y="220"/>
                  </a:lnTo>
                  <a:lnTo>
                    <a:pt x="177" y="222"/>
                  </a:lnTo>
                  <a:lnTo>
                    <a:pt x="179" y="224"/>
                  </a:lnTo>
                  <a:lnTo>
                    <a:pt x="182" y="225"/>
                  </a:lnTo>
                  <a:lnTo>
                    <a:pt x="183" y="226"/>
                  </a:lnTo>
                  <a:lnTo>
                    <a:pt x="184" y="232"/>
                  </a:lnTo>
                  <a:lnTo>
                    <a:pt x="184" y="233"/>
                  </a:lnTo>
                  <a:lnTo>
                    <a:pt x="184" y="234"/>
                  </a:lnTo>
                  <a:lnTo>
                    <a:pt x="183" y="234"/>
                  </a:lnTo>
                  <a:lnTo>
                    <a:pt x="180" y="234"/>
                  </a:lnTo>
                  <a:lnTo>
                    <a:pt x="175" y="235"/>
                  </a:lnTo>
                  <a:lnTo>
                    <a:pt x="170" y="235"/>
                  </a:lnTo>
                  <a:lnTo>
                    <a:pt x="166" y="234"/>
                  </a:lnTo>
                  <a:lnTo>
                    <a:pt x="164" y="236"/>
                  </a:lnTo>
                  <a:lnTo>
                    <a:pt x="160" y="24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1" name="Freeform 113">
              <a:extLst>
                <a:ext uri="{FF2B5EF4-FFF2-40B4-BE49-F238E27FC236}">
                  <a16:creationId xmlns:a16="http://schemas.microsoft.com/office/drawing/2014/main" id="{C4FC6B45-E755-5935-FEFF-13DA9841A91F}"/>
                </a:ext>
              </a:extLst>
            </p:cNvPr>
            <p:cNvSpPr>
              <a:spLocks/>
            </p:cNvSpPr>
            <p:nvPr/>
          </p:nvSpPr>
          <p:spPr bwMode="auto">
            <a:xfrm>
              <a:off x="6005096" y="4533900"/>
              <a:ext cx="441325" cy="387350"/>
            </a:xfrm>
            <a:custGeom>
              <a:avLst/>
              <a:gdLst/>
              <a:ahLst/>
              <a:cxnLst>
                <a:cxn ang="0">
                  <a:pos x="104" y="223"/>
                </a:cxn>
                <a:cxn ang="0">
                  <a:pos x="95" y="208"/>
                </a:cxn>
                <a:cxn ang="0">
                  <a:pos x="82" y="187"/>
                </a:cxn>
                <a:cxn ang="0">
                  <a:pos x="73" y="175"/>
                </a:cxn>
                <a:cxn ang="0">
                  <a:pos x="58" y="160"/>
                </a:cxn>
                <a:cxn ang="0">
                  <a:pos x="57" y="143"/>
                </a:cxn>
                <a:cxn ang="0">
                  <a:pos x="49" y="126"/>
                </a:cxn>
                <a:cxn ang="0">
                  <a:pos x="40" y="117"/>
                </a:cxn>
                <a:cxn ang="0">
                  <a:pos x="32" y="111"/>
                </a:cxn>
                <a:cxn ang="0">
                  <a:pos x="29" y="99"/>
                </a:cxn>
                <a:cxn ang="0">
                  <a:pos x="14" y="76"/>
                </a:cxn>
                <a:cxn ang="0">
                  <a:pos x="5" y="61"/>
                </a:cxn>
                <a:cxn ang="0">
                  <a:pos x="1" y="59"/>
                </a:cxn>
                <a:cxn ang="0">
                  <a:pos x="4" y="44"/>
                </a:cxn>
                <a:cxn ang="0">
                  <a:pos x="23" y="41"/>
                </a:cxn>
                <a:cxn ang="0">
                  <a:pos x="34" y="34"/>
                </a:cxn>
                <a:cxn ang="0">
                  <a:pos x="38" y="21"/>
                </a:cxn>
                <a:cxn ang="0">
                  <a:pos x="50" y="6"/>
                </a:cxn>
                <a:cxn ang="0">
                  <a:pos x="60" y="0"/>
                </a:cxn>
                <a:cxn ang="0">
                  <a:pos x="71" y="5"/>
                </a:cxn>
                <a:cxn ang="0">
                  <a:pos x="104" y="22"/>
                </a:cxn>
                <a:cxn ang="0">
                  <a:pos x="109" y="28"/>
                </a:cxn>
                <a:cxn ang="0">
                  <a:pos x="115" y="33"/>
                </a:cxn>
                <a:cxn ang="0">
                  <a:pos x="121" y="42"/>
                </a:cxn>
                <a:cxn ang="0">
                  <a:pos x="163" y="49"/>
                </a:cxn>
                <a:cxn ang="0">
                  <a:pos x="169" y="56"/>
                </a:cxn>
                <a:cxn ang="0">
                  <a:pos x="179" y="57"/>
                </a:cxn>
                <a:cxn ang="0">
                  <a:pos x="184" y="69"/>
                </a:cxn>
                <a:cxn ang="0">
                  <a:pos x="189" y="70"/>
                </a:cxn>
                <a:cxn ang="0">
                  <a:pos x="190" y="75"/>
                </a:cxn>
                <a:cxn ang="0">
                  <a:pos x="198" y="78"/>
                </a:cxn>
                <a:cxn ang="0">
                  <a:pos x="199" y="83"/>
                </a:cxn>
                <a:cxn ang="0">
                  <a:pos x="199" y="91"/>
                </a:cxn>
                <a:cxn ang="0">
                  <a:pos x="201" y="99"/>
                </a:cxn>
                <a:cxn ang="0">
                  <a:pos x="205" y="103"/>
                </a:cxn>
                <a:cxn ang="0">
                  <a:pos x="208" y="112"/>
                </a:cxn>
                <a:cxn ang="0">
                  <a:pos x="212" y="114"/>
                </a:cxn>
                <a:cxn ang="0">
                  <a:pos x="223" y="136"/>
                </a:cxn>
                <a:cxn ang="0">
                  <a:pos x="264" y="147"/>
                </a:cxn>
                <a:cxn ang="0">
                  <a:pos x="274" y="145"/>
                </a:cxn>
                <a:cxn ang="0">
                  <a:pos x="247" y="178"/>
                </a:cxn>
                <a:cxn ang="0">
                  <a:pos x="222" y="192"/>
                </a:cxn>
                <a:cxn ang="0">
                  <a:pos x="170" y="210"/>
                </a:cxn>
                <a:cxn ang="0">
                  <a:pos x="164" y="214"/>
                </a:cxn>
                <a:cxn ang="0">
                  <a:pos x="133" y="228"/>
                </a:cxn>
                <a:cxn ang="0">
                  <a:pos x="119" y="213"/>
                </a:cxn>
                <a:cxn ang="0">
                  <a:pos x="112" y="212"/>
                </a:cxn>
                <a:cxn ang="0">
                  <a:pos x="110" y="220"/>
                </a:cxn>
              </a:cxnLst>
              <a:rect l="0" t="0" r="r" b="b"/>
              <a:pathLst>
                <a:path w="278" h="244">
                  <a:moveTo>
                    <a:pt x="106" y="228"/>
                  </a:moveTo>
                  <a:lnTo>
                    <a:pt x="105" y="226"/>
                  </a:lnTo>
                  <a:lnTo>
                    <a:pt x="104" y="223"/>
                  </a:lnTo>
                  <a:lnTo>
                    <a:pt x="101" y="217"/>
                  </a:lnTo>
                  <a:lnTo>
                    <a:pt x="97" y="211"/>
                  </a:lnTo>
                  <a:lnTo>
                    <a:pt x="95" y="208"/>
                  </a:lnTo>
                  <a:lnTo>
                    <a:pt x="90" y="204"/>
                  </a:lnTo>
                  <a:lnTo>
                    <a:pt x="87" y="198"/>
                  </a:lnTo>
                  <a:lnTo>
                    <a:pt x="82" y="187"/>
                  </a:lnTo>
                  <a:lnTo>
                    <a:pt x="79" y="181"/>
                  </a:lnTo>
                  <a:lnTo>
                    <a:pt x="77" y="179"/>
                  </a:lnTo>
                  <a:lnTo>
                    <a:pt x="73" y="175"/>
                  </a:lnTo>
                  <a:lnTo>
                    <a:pt x="65" y="171"/>
                  </a:lnTo>
                  <a:lnTo>
                    <a:pt x="62" y="167"/>
                  </a:lnTo>
                  <a:lnTo>
                    <a:pt x="58" y="160"/>
                  </a:lnTo>
                  <a:lnTo>
                    <a:pt x="57" y="154"/>
                  </a:lnTo>
                  <a:lnTo>
                    <a:pt x="57" y="149"/>
                  </a:lnTo>
                  <a:lnTo>
                    <a:pt x="57" y="143"/>
                  </a:lnTo>
                  <a:lnTo>
                    <a:pt x="56" y="141"/>
                  </a:lnTo>
                  <a:lnTo>
                    <a:pt x="54" y="136"/>
                  </a:lnTo>
                  <a:lnTo>
                    <a:pt x="49" y="126"/>
                  </a:lnTo>
                  <a:lnTo>
                    <a:pt x="47" y="123"/>
                  </a:lnTo>
                  <a:lnTo>
                    <a:pt x="42" y="119"/>
                  </a:lnTo>
                  <a:lnTo>
                    <a:pt x="40" y="117"/>
                  </a:lnTo>
                  <a:lnTo>
                    <a:pt x="37" y="117"/>
                  </a:lnTo>
                  <a:lnTo>
                    <a:pt x="35" y="115"/>
                  </a:lnTo>
                  <a:lnTo>
                    <a:pt x="32" y="111"/>
                  </a:lnTo>
                  <a:lnTo>
                    <a:pt x="33" y="106"/>
                  </a:lnTo>
                  <a:lnTo>
                    <a:pt x="32" y="104"/>
                  </a:lnTo>
                  <a:lnTo>
                    <a:pt x="29" y="99"/>
                  </a:lnTo>
                  <a:lnTo>
                    <a:pt x="25" y="91"/>
                  </a:lnTo>
                  <a:lnTo>
                    <a:pt x="20" y="85"/>
                  </a:lnTo>
                  <a:lnTo>
                    <a:pt x="14" y="76"/>
                  </a:lnTo>
                  <a:lnTo>
                    <a:pt x="11" y="69"/>
                  </a:lnTo>
                  <a:lnTo>
                    <a:pt x="9" y="66"/>
                  </a:lnTo>
                  <a:lnTo>
                    <a:pt x="5" y="61"/>
                  </a:lnTo>
                  <a:lnTo>
                    <a:pt x="2" y="61"/>
                  </a:lnTo>
                  <a:lnTo>
                    <a:pt x="0" y="61"/>
                  </a:lnTo>
                  <a:lnTo>
                    <a:pt x="1" y="59"/>
                  </a:lnTo>
                  <a:lnTo>
                    <a:pt x="2" y="57"/>
                  </a:lnTo>
                  <a:lnTo>
                    <a:pt x="4" y="48"/>
                  </a:lnTo>
                  <a:lnTo>
                    <a:pt x="4" y="44"/>
                  </a:lnTo>
                  <a:lnTo>
                    <a:pt x="5" y="45"/>
                  </a:lnTo>
                  <a:lnTo>
                    <a:pt x="17" y="46"/>
                  </a:lnTo>
                  <a:lnTo>
                    <a:pt x="23" y="41"/>
                  </a:lnTo>
                  <a:lnTo>
                    <a:pt x="26" y="37"/>
                  </a:lnTo>
                  <a:lnTo>
                    <a:pt x="33" y="35"/>
                  </a:lnTo>
                  <a:lnTo>
                    <a:pt x="34" y="34"/>
                  </a:lnTo>
                  <a:lnTo>
                    <a:pt x="37" y="32"/>
                  </a:lnTo>
                  <a:lnTo>
                    <a:pt x="41" y="27"/>
                  </a:lnTo>
                  <a:lnTo>
                    <a:pt x="38" y="21"/>
                  </a:lnTo>
                  <a:lnTo>
                    <a:pt x="31" y="12"/>
                  </a:lnTo>
                  <a:lnTo>
                    <a:pt x="35" y="10"/>
                  </a:lnTo>
                  <a:lnTo>
                    <a:pt x="50" y="6"/>
                  </a:lnTo>
                  <a:lnTo>
                    <a:pt x="55" y="4"/>
                  </a:lnTo>
                  <a:lnTo>
                    <a:pt x="57" y="3"/>
                  </a:lnTo>
                  <a:lnTo>
                    <a:pt x="60" y="0"/>
                  </a:lnTo>
                  <a:lnTo>
                    <a:pt x="60" y="0"/>
                  </a:lnTo>
                  <a:lnTo>
                    <a:pt x="67" y="3"/>
                  </a:lnTo>
                  <a:lnTo>
                    <a:pt x="71" y="5"/>
                  </a:lnTo>
                  <a:lnTo>
                    <a:pt x="83" y="11"/>
                  </a:lnTo>
                  <a:lnTo>
                    <a:pt x="90" y="15"/>
                  </a:lnTo>
                  <a:lnTo>
                    <a:pt x="104" y="22"/>
                  </a:lnTo>
                  <a:lnTo>
                    <a:pt x="106" y="24"/>
                  </a:lnTo>
                  <a:lnTo>
                    <a:pt x="108" y="28"/>
                  </a:lnTo>
                  <a:lnTo>
                    <a:pt x="109" y="28"/>
                  </a:lnTo>
                  <a:lnTo>
                    <a:pt x="115" y="28"/>
                  </a:lnTo>
                  <a:lnTo>
                    <a:pt x="116" y="30"/>
                  </a:lnTo>
                  <a:lnTo>
                    <a:pt x="115" y="33"/>
                  </a:lnTo>
                  <a:lnTo>
                    <a:pt x="115" y="39"/>
                  </a:lnTo>
                  <a:lnTo>
                    <a:pt x="116" y="40"/>
                  </a:lnTo>
                  <a:lnTo>
                    <a:pt x="121" y="42"/>
                  </a:lnTo>
                  <a:lnTo>
                    <a:pt x="130" y="47"/>
                  </a:lnTo>
                  <a:lnTo>
                    <a:pt x="154" y="48"/>
                  </a:lnTo>
                  <a:lnTo>
                    <a:pt x="163" y="49"/>
                  </a:lnTo>
                  <a:lnTo>
                    <a:pt x="166" y="50"/>
                  </a:lnTo>
                  <a:lnTo>
                    <a:pt x="168" y="54"/>
                  </a:lnTo>
                  <a:lnTo>
                    <a:pt x="169" y="56"/>
                  </a:lnTo>
                  <a:lnTo>
                    <a:pt x="175" y="56"/>
                  </a:lnTo>
                  <a:lnTo>
                    <a:pt x="179" y="56"/>
                  </a:lnTo>
                  <a:lnTo>
                    <a:pt x="179" y="57"/>
                  </a:lnTo>
                  <a:lnTo>
                    <a:pt x="181" y="61"/>
                  </a:lnTo>
                  <a:lnTo>
                    <a:pt x="183" y="64"/>
                  </a:lnTo>
                  <a:lnTo>
                    <a:pt x="184" y="69"/>
                  </a:lnTo>
                  <a:lnTo>
                    <a:pt x="184" y="69"/>
                  </a:lnTo>
                  <a:lnTo>
                    <a:pt x="188" y="69"/>
                  </a:lnTo>
                  <a:lnTo>
                    <a:pt x="189" y="70"/>
                  </a:lnTo>
                  <a:lnTo>
                    <a:pt x="188" y="72"/>
                  </a:lnTo>
                  <a:lnTo>
                    <a:pt x="189" y="73"/>
                  </a:lnTo>
                  <a:lnTo>
                    <a:pt x="190" y="75"/>
                  </a:lnTo>
                  <a:lnTo>
                    <a:pt x="192" y="75"/>
                  </a:lnTo>
                  <a:lnTo>
                    <a:pt x="193" y="77"/>
                  </a:lnTo>
                  <a:lnTo>
                    <a:pt x="198" y="78"/>
                  </a:lnTo>
                  <a:lnTo>
                    <a:pt x="201" y="81"/>
                  </a:lnTo>
                  <a:lnTo>
                    <a:pt x="200" y="83"/>
                  </a:lnTo>
                  <a:lnTo>
                    <a:pt x="199" y="83"/>
                  </a:lnTo>
                  <a:lnTo>
                    <a:pt x="198" y="85"/>
                  </a:lnTo>
                  <a:lnTo>
                    <a:pt x="200" y="87"/>
                  </a:lnTo>
                  <a:lnTo>
                    <a:pt x="199" y="91"/>
                  </a:lnTo>
                  <a:lnTo>
                    <a:pt x="198" y="92"/>
                  </a:lnTo>
                  <a:lnTo>
                    <a:pt x="199" y="94"/>
                  </a:lnTo>
                  <a:lnTo>
                    <a:pt x="201" y="99"/>
                  </a:lnTo>
                  <a:lnTo>
                    <a:pt x="202" y="97"/>
                  </a:lnTo>
                  <a:lnTo>
                    <a:pt x="204" y="99"/>
                  </a:lnTo>
                  <a:lnTo>
                    <a:pt x="205" y="103"/>
                  </a:lnTo>
                  <a:lnTo>
                    <a:pt x="207" y="108"/>
                  </a:lnTo>
                  <a:lnTo>
                    <a:pt x="207" y="111"/>
                  </a:lnTo>
                  <a:lnTo>
                    <a:pt x="208" y="112"/>
                  </a:lnTo>
                  <a:lnTo>
                    <a:pt x="209" y="114"/>
                  </a:lnTo>
                  <a:lnTo>
                    <a:pt x="211" y="114"/>
                  </a:lnTo>
                  <a:lnTo>
                    <a:pt x="212" y="114"/>
                  </a:lnTo>
                  <a:lnTo>
                    <a:pt x="214" y="115"/>
                  </a:lnTo>
                  <a:lnTo>
                    <a:pt x="220" y="129"/>
                  </a:lnTo>
                  <a:lnTo>
                    <a:pt x="223" y="136"/>
                  </a:lnTo>
                  <a:lnTo>
                    <a:pt x="225" y="142"/>
                  </a:lnTo>
                  <a:lnTo>
                    <a:pt x="244" y="144"/>
                  </a:lnTo>
                  <a:lnTo>
                    <a:pt x="264" y="147"/>
                  </a:lnTo>
                  <a:lnTo>
                    <a:pt x="269" y="148"/>
                  </a:lnTo>
                  <a:lnTo>
                    <a:pt x="273" y="145"/>
                  </a:lnTo>
                  <a:lnTo>
                    <a:pt x="274" y="145"/>
                  </a:lnTo>
                  <a:lnTo>
                    <a:pt x="277" y="150"/>
                  </a:lnTo>
                  <a:lnTo>
                    <a:pt x="278" y="160"/>
                  </a:lnTo>
                  <a:lnTo>
                    <a:pt x="247" y="178"/>
                  </a:lnTo>
                  <a:lnTo>
                    <a:pt x="233" y="186"/>
                  </a:lnTo>
                  <a:lnTo>
                    <a:pt x="223" y="191"/>
                  </a:lnTo>
                  <a:lnTo>
                    <a:pt x="222" y="192"/>
                  </a:lnTo>
                  <a:lnTo>
                    <a:pt x="215" y="194"/>
                  </a:lnTo>
                  <a:lnTo>
                    <a:pt x="197" y="200"/>
                  </a:lnTo>
                  <a:lnTo>
                    <a:pt x="170" y="210"/>
                  </a:lnTo>
                  <a:lnTo>
                    <a:pt x="167" y="211"/>
                  </a:lnTo>
                  <a:lnTo>
                    <a:pt x="167" y="212"/>
                  </a:lnTo>
                  <a:lnTo>
                    <a:pt x="164" y="214"/>
                  </a:lnTo>
                  <a:lnTo>
                    <a:pt x="153" y="228"/>
                  </a:lnTo>
                  <a:lnTo>
                    <a:pt x="141" y="244"/>
                  </a:lnTo>
                  <a:lnTo>
                    <a:pt x="133" y="228"/>
                  </a:lnTo>
                  <a:lnTo>
                    <a:pt x="126" y="213"/>
                  </a:lnTo>
                  <a:lnTo>
                    <a:pt x="124" y="213"/>
                  </a:lnTo>
                  <a:lnTo>
                    <a:pt x="119" y="213"/>
                  </a:lnTo>
                  <a:lnTo>
                    <a:pt x="117" y="213"/>
                  </a:lnTo>
                  <a:lnTo>
                    <a:pt x="113" y="211"/>
                  </a:lnTo>
                  <a:lnTo>
                    <a:pt x="112" y="212"/>
                  </a:lnTo>
                  <a:lnTo>
                    <a:pt x="110" y="213"/>
                  </a:lnTo>
                  <a:lnTo>
                    <a:pt x="110" y="216"/>
                  </a:lnTo>
                  <a:lnTo>
                    <a:pt x="110" y="220"/>
                  </a:lnTo>
                  <a:lnTo>
                    <a:pt x="110" y="224"/>
                  </a:lnTo>
                  <a:lnTo>
                    <a:pt x="106" y="22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2" name="Freeform 114">
              <a:extLst>
                <a:ext uri="{FF2B5EF4-FFF2-40B4-BE49-F238E27FC236}">
                  <a16:creationId xmlns:a16="http://schemas.microsoft.com/office/drawing/2014/main" id="{89A32936-B950-BDFF-4218-3D8C49DB1A77}"/>
                </a:ext>
              </a:extLst>
            </p:cNvPr>
            <p:cNvSpPr>
              <a:spLocks/>
            </p:cNvSpPr>
            <p:nvPr/>
          </p:nvSpPr>
          <p:spPr bwMode="auto">
            <a:xfrm>
              <a:off x="5536784" y="5127625"/>
              <a:ext cx="395288" cy="392113"/>
            </a:xfrm>
            <a:custGeom>
              <a:avLst/>
              <a:gdLst/>
              <a:ahLst/>
              <a:cxnLst>
                <a:cxn ang="0">
                  <a:pos x="17" y="133"/>
                </a:cxn>
                <a:cxn ang="0">
                  <a:pos x="29" y="132"/>
                </a:cxn>
                <a:cxn ang="0">
                  <a:pos x="42" y="125"/>
                </a:cxn>
                <a:cxn ang="0">
                  <a:pos x="50" y="109"/>
                </a:cxn>
                <a:cxn ang="0">
                  <a:pos x="56" y="91"/>
                </a:cxn>
                <a:cxn ang="0">
                  <a:pos x="69" y="81"/>
                </a:cxn>
                <a:cxn ang="0">
                  <a:pos x="73" y="62"/>
                </a:cxn>
                <a:cxn ang="0">
                  <a:pos x="78" y="38"/>
                </a:cxn>
                <a:cxn ang="0">
                  <a:pos x="83" y="23"/>
                </a:cxn>
                <a:cxn ang="0">
                  <a:pos x="83" y="15"/>
                </a:cxn>
                <a:cxn ang="0">
                  <a:pos x="94" y="4"/>
                </a:cxn>
                <a:cxn ang="0">
                  <a:pos x="105" y="10"/>
                </a:cxn>
                <a:cxn ang="0">
                  <a:pos x="129" y="17"/>
                </a:cxn>
                <a:cxn ang="0">
                  <a:pos x="140" y="7"/>
                </a:cxn>
                <a:cxn ang="0">
                  <a:pos x="152" y="7"/>
                </a:cxn>
                <a:cxn ang="0">
                  <a:pos x="169" y="6"/>
                </a:cxn>
                <a:cxn ang="0">
                  <a:pos x="174" y="0"/>
                </a:cxn>
                <a:cxn ang="0">
                  <a:pos x="188" y="5"/>
                </a:cxn>
                <a:cxn ang="0">
                  <a:pos x="202" y="8"/>
                </a:cxn>
                <a:cxn ang="0">
                  <a:pos x="212" y="15"/>
                </a:cxn>
                <a:cxn ang="0">
                  <a:pos x="222" y="15"/>
                </a:cxn>
                <a:cxn ang="0">
                  <a:pos x="229" y="11"/>
                </a:cxn>
                <a:cxn ang="0">
                  <a:pos x="244" y="25"/>
                </a:cxn>
                <a:cxn ang="0">
                  <a:pos x="244" y="40"/>
                </a:cxn>
                <a:cxn ang="0">
                  <a:pos x="248" y="46"/>
                </a:cxn>
                <a:cxn ang="0">
                  <a:pos x="230" y="64"/>
                </a:cxn>
                <a:cxn ang="0">
                  <a:pos x="228" y="81"/>
                </a:cxn>
                <a:cxn ang="0">
                  <a:pos x="224" y="91"/>
                </a:cxn>
                <a:cxn ang="0">
                  <a:pos x="217" y="104"/>
                </a:cxn>
                <a:cxn ang="0">
                  <a:pos x="223" y="116"/>
                </a:cxn>
                <a:cxn ang="0">
                  <a:pos x="224" y="136"/>
                </a:cxn>
                <a:cxn ang="0">
                  <a:pos x="230" y="158"/>
                </a:cxn>
                <a:cxn ang="0">
                  <a:pos x="238" y="179"/>
                </a:cxn>
                <a:cxn ang="0">
                  <a:pos x="213" y="192"/>
                </a:cxn>
                <a:cxn ang="0">
                  <a:pos x="211" y="221"/>
                </a:cxn>
                <a:cxn ang="0">
                  <a:pos x="221" y="233"/>
                </a:cxn>
                <a:cxn ang="0">
                  <a:pos x="230" y="230"/>
                </a:cxn>
                <a:cxn ang="0">
                  <a:pos x="228" y="247"/>
                </a:cxn>
                <a:cxn ang="0">
                  <a:pos x="212" y="237"/>
                </a:cxn>
                <a:cxn ang="0">
                  <a:pos x="200" y="230"/>
                </a:cxn>
                <a:cxn ang="0">
                  <a:pos x="189" y="229"/>
                </a:cxn>
                <a:cxn ang="0">
                  <a:pos x="173" y="224"/>
                </a:cxn>
                <a:cxn ang="0">
                  <a:pos x="161" y="220"/>
                </a:cxn>
                <a:cxn ang="0">
                  <a:pos x="146" y="214"/>
                </a:cxn>
                <a:cxn ang="0">
                  <a:pos x="131" y="215"/>
                </a:cxn>
                <a:cxn ang="0">
                  <a:pos x="130" y="202"/>
                </a:cxn>
                <a:cxn ang="0">
                  <a:pos x="126" y="187"/>
                </a:cxn>
                <a:cxn ang="0">
                  <a:pos x="124" y="172"/>
                </a:cxn>
                <a:cxn ang="0">
                  <a:pos x="116" y="166"/>
                </a:cxn>
                <a:cxn ang="0">
                  <a:pos x="109" y="161"/>
                </a:cxn>
                <a:cxn ang="0">
                  <a:pos x="96" y="167"/>
                </a:cxn>
                <a:cxn ang="0">
                  <a:pos x="82" y="175"/>
                </a:cxn>
                <a:cxn ang="0">
                  <a:pos x="65" y="170"/>
                </a:cxn>
                <a:cxn ang="0">
                  <a:pos x="58" y="149"/>
                </a:cxn>
                <a:cxn ang="0">
                  <a:pos x="47" y="148"/>
                </a:cxn>
                <a:cxn ang="0">
                  <a:pos x="24" y="147"/>
                </a:cxn>
                <a:cxn ang="0">
                  <a:pos x="10" y="149"/>
                </a:cxn>
                <a:cxn ang="0">
                  <a:pos x="0" y="145"/>
                </a:cxn>
                <a:cxn ang="0">
                  <a:pos x="5" y="137"/>
                </a:cxn>
              </a:cxnLst>
              <a:rect l="0" t="0" r="r" b="b"/>
              <a:pathLst>
                <a:path w="249" h="247">
                  <a:moveTo>
                    <a:pt x="11" y="132"/>
                  </a:moveTo>
                  <a:lnTo>
                    <a:pt x="14" y="134"/>
                  </a:lnTo>
                  <a:lnTo>
                    <a:pt x="15" y="134"/>
                  </a:lnTo>
                  <a:lnTo>
                    <a:pt x="17" y="133"/>
                  </a:lnTo>
                  <a:lnTo>
                    <a:pt x="19" y="129"/>
                  </a:lnTo>
                  <a:lnTo>
                    <a:pt x="28" y="126"/>
                  </a:lnTo>
                  <a:lnTo>
                    <a:pt x="29" y="128"/>
                  </a:lnTo>
                  <a:lnTo>
                    <a:pt x="29" y="132"/>
                  </a:lnTo>
                  <a:lnTo>
                    <a:pt x="30" y="134"/>
                  </a:lnTo>
                  <a:lnTo>
                    <a:pt x="33" y="132"/>
                  </a:lnTo>
                  <a:lnTo>
                    <a:pt x="36" y="129"/>
                  </a:lnTo>
                  <a:lnTo>
                    <a:pt x="42" y="125"/>
                  </a:lnTo>
                  <a:lnTo>
                    <a:pt x="44" y="123"/>
                  </a:lnTo>
                  <a:lnTo>
                    <a:pt x="50" y="118"/>
                  </a:lnTo>
                  <a:lnTo>
                    <a:pt x="50" y="113"/>
                  </a:lnTo>
                  <a:lnTo>
                    <a:pt x="50" y="109"/>
                  </a:lnTo>
                  <a:lnTo>
                    <a:pt x="50" y="107"/>
                  </a:lnTo>
                  <a:lnTo>
                    <a:pt x="51" y="100"/>
                  </a:lnTo>
                  <a:lnTo>
                    <a:pt x="53" y="96"/>
                  </a:lnTo>
                  <a:lnTo>
                    <a:pt x="56" y="91"/>
                  </a:lnTo>
                  <a:lnTo>
                    <a:pt x="58" y="88"/>
                  </a:lnTo>
                  <a:lnTo>
                    <a:pt x="63" y="85"/>
                  </a:lnTo>
                  <a:lnTo>
                    <a:pt x="66" y="83"/>
                  </a:lnTo>
                  <a:lnTo>
                    <a:pt x="69" y="81"/>
                  </a:lnTo>
                  <a:lnTo>
                    <a:pt x="70" y="78"/>
                  </a:lnTo>
                  <a:lnTo>
                    <a:pt x="71" y="73"/>
                  </a:lnTo>
                  <a:lnTo>
                    <a:pt x="71" y="70"/>
                  </a:lnTo>
                  <a:lnTo>
                    <a:pt x="73" y="62"/>
                  </a:lnTo>
                  <a:lnTo>
                    <a:pt x="74" y="50"/>
                  </a:lnTo>
                  <a:lnTo>
                    <a:pt x="75" y="46"/>
                  </a:lnTo>
                  <a:lnTo>
                    <a:pt x="75" y="43"/>
                  </a:lnTo>
                  <a:lnTo>
                    <a:pt x="78" y="38"/>
                  </a:lnTo>
                  <a:lnTo>
                    <a:pt x="81" y="33"/>
                  </a:lnTo>
                  <a:lnTo>
                    <a:pt x="83" y="26"/>
                  </a:lnTo>
                  <a:lnTo>
                    <a:pt x="83" y="25"/>
                  </a:lnTo>
                  <a:lnTo>
                    <a:pt x="83" y="23"/>
                  </a:lnTo>
                  <a:lnTo>
                    <a:pt x="84" y="23"/>
                  </a:lnTo>
                  <a:lnTo>
                    <a:pt x="84" y="20"/>
                  </a:lnTo>
                  <a:lnTo>
                    <a:pt x="84" y="17"/>
                  </a:lnTo>
                  <a:lnTo>
                    <a:pt x="83" y="15"/>
                  </a:lnTo>
                  <a:lnTo>
                    <a:pt x="84" y="13"/>
                  </a:lnTo>
                  <a:lnTo>
                    <a:pt x="89" y="7"/>
                  </a:lnTo>
                  <a:lnTo>
                    <a:pt x="91" y="5"/>
                  </a:lnTo>
                  <a:lnTo>
                    <a:pt x="94" y="4"/>
                  </a:lnTo>
                  <a:lnTo>
                    <a:pt x="97" y="3"/>
                  </a:lnTo>
                  <a:lnTo>
                    <a:pt x="99" y="4"/>
                  </a:lnTo>
                  <a:lnTo>
                    <a:pt x="104" y="7"/>
                  </a:lnTo>
                  <a:lnTo>
                    <a:pt x="105" y="10"/>
                  </a:lnTo>
                  <a:lnTo>
                    <a:pt x="107" y="11"/>
                  </a:lnTo>
                  <a:lnTo>
                    <a:pt x="110" y="13"/>
                  </a:lnTo>
                  <a:lnTo>
                    <a:pt x="118" y="14"/>
                  </a:lnTo>
                  <a:lnTo>
                    <a:pt x="129" y="17"/>
                  </a:lnTo>
                  <a:lnTo>
                    <a:pt x="133" y="17"/>
                  </a:lnTo>
                  <a:lnTo>
                    <a:pt x="134" y="17"/>
                  </a:lnTo>
                  <a:lnTo>
                    <a:pt x="138" y="8"/>
                  </a:lnTo>
                  <a:lnTo>
                    <a:pt x="140" y="7"/>
                  </a:lnTo>
                  <a:lnTo>
                    <a:pt x="142" y="8"/>
                  </a:lnTo>
                  <a:lnTo>
                    <a:pt x="145" y="10"/>
                  </a:lnTo>
                  <a:lnTo>
                    <a:pt x="147" y="10"/>
                  </a:lnTo>
                  <a:lnTo>
                    <a:pt x="152" y="7"/>
                  </a:lnTo>
                  <a:lnTo>
                    <a:pt x="158" y="5"/>
                  </a:lnTo>
                  <a:lnTo>
                    <a:pt x="161" y="5"/>
                  </a:lnTo>
                  <a:lnTo>
                    <a:pt x="167" y="6"/>
                  </a:lnTo>
                  <a:lnTo>
                    <a:pt x="169" y="6"/>
                  </a:lnTo>
                  <a:lnTo>
                    <a:pt x="170" y="6"/>
                  </a:lnTo>
                  <a:lnTo>
                    <a:pt x="171" y="4"/>
                  </a:lnTo>
                  <a:lnTo>
                    <a:pt x="171" y="1"/>
                  </a:lnTo>
                  <a:lnTo>
                    <a:pt x="174" y="0"/>
                  </a:lnTo>
                  <a:lnTo>
                    <a:pt x="181" y="2"/>
                  </a:lnTo>
                  <a:lnTo>
                    <a:pt x="185" y="4"/>
                  </a:lnTo>
                  <a:lnTo>
                    <a:pt x="186" y="5"/>
                  </a:lnTo>
                  <a:lnTo>
                    <a:pt x="188" y="5"/>
                  </a:lnTo>
                  <a:lnTo>
                    <a:pt x="194" y="3"/>
                  </a:lnTo>
                  <a:lnTo>
                    <a:pt x="197" y="2"/>
                  </a:lnTo>
                  <a:lnTo>
                    <a:pt x="198" y="4"/>
                  </a:lnTo>
                  <a:lnTo>
                    <a:pt x="202" y="8"/>
                  </a:lnTo>
                  <a:lnTo>
                    <a:pt x="204" y="11"/>
                  </a:lnTo>
                  <a:lnTo>
                    <a:pt x="207" y="14"/>
                  </a:lnTo>
                  <a:lnTo>
                    <a:pt x="210" y="15"/>
                  </a:lnTo>
                  <a:lnTo>
                    <a:pt x="212" y="15"/>
                  </a:lnTo>
                  <a:lnTo>
                    <a:pt x="213" y="13"/>
                  </a:lnTo>
                  <a:lnTo>
                    <a:pt x="216" y="11"/>
                  </a:lnTo>
                  <a:lnTo>
                    <a:pt x="219" y="11"/>
                  </a:lnTo>
                  <a:lnTo>
                    <a:pt x="222" y="15"/>
                  </a:lnTo>
                  <a:lnTo>
                    <a:pt x="224" y="14"/>
                  </a:lnTo>
                  <a:lnTo>
                    <a:pt x="226" y="11"/>
                  </a:lnTo>
                  <a:lnTo>
                    <a:pt x="228" y="10"/>
                  </a:lnTo>
                  <a:lnTo>
                    <a:pt x="229" y="11"/>
                  </a:lnTo>
                  <a:lnTo>
                    <a:pt x="235" y="16"/>
                  </a:lnTo>
                  <a:lnTo>
                    <a:pt x="242" y="24"/>
                  </a:lnTo>
                  <a:lnTo>
                    <a:pt x="243" y="24"/>
                  </a:lnTo>
                  <a:lnTo>
                    <a:pt x="244" y="25"/>
                  </a:lnTo>
                  <a:lnTo>
                    <a:pt x="244" y="28"/>
                  </a:lnTo>
                  <a:lnTo>
                    <a:pt x="242" y="39"/>
                  </a:lnTo>
                  <a:lnTo>
                    <a:pt x="243" y="40"/>
                  </a:lnTo>
                  <a:lnTo>
                    <a:pt x="244" y="40"/>
                  </a:lnTo>
                  <a:lnTo>
                    <a:pt x="247" y="41"/>
                  </a:lnTo>
                  <a:lnTo>
                    <a:pt x="248" y="41"/>
                  </a:lnTo>
                  <a:lnTo>
                    <a:pt x="249" y="43"/>
                  </a:lnTo>
                  <a:lnTo>
                    <a:pt x="248" y="46"/>
                  </a:lnTo>
                  <a:lnTo>
                    <a:pt x="241" y="52"/>
                  </a:lnTo>
                  <a:lnTo>
                    <a:pt x="234" y="58"/>
                  </a:lnTo>
                  <a:lnTo>
                    <a:pt x="232" y="60"/>
                  </a:lnTo>
                  <a:lnTo>
                    <a:pt x="230" y="64"/>
                  </a:lnTo>
                  <a:lnTo>
                    <a:pt x="228" y="70"/>
                  </a:lnTo>
                  <a:lnTo>
                    <a:pt x="228" y="73"/>
                  </a:lnTo>
                  <a:lnTo>
                    <a:pt x="228" y="76"/>
                  </a:lnTo>
                  <a:lnTo>
                    <a:pt x="228" y="81"/>
                  </a:lnTo>
                  <a:lnTo>
                    <a:pt x="228" y="85"/>
                  </a:lnTo>
                  <a:lnTo>
                    <a:pt x="228" y="87"/>
                  </a:lnTo>
                  <a:lnTo>
                    <a:pt x="227" y="88"/>
                  </a:lnTo>
                  <a:lnTo>
                    <a:pt x="224" y="91"/>
                  </a:lnTo>
                  <a:lnTo>
                    <a:pt x="222" y="92"/>
                  </a:lnTo>
                  <a:lnTo>
                    <a:pt x="221" y="93"/>
                  </a:lnTo>
                  <a:lnTo>
                    <a:pt x="220" y="96"/>
                  </a:lnTo>
                  <a:lnTo>
                    <a:pt x="217" y="104"/>
                  </a:lnTo>
                  <a:lnTo>
                    <a:pt x="218" y="106"/>
                  </a:lnTo>
                  <a:lnTo>
                    <a:pt x="222" y="112"/>
                  </a:lnTo>
                  <a:lnTo>
                    <a:pt x="223" y="114"/>
                  </a:lnTo>
                  <a:lnTo>
                    <a:pt x="223" y="116"/>
                  </a:lnTo>
                  <a:lnTo>
                    <a:pt x="223" y="120"/>
                  </a:lnTo>
                  <a:lnTo>
                    <a:pt x="224" y="124"/>
                  </a:lnTo>
                  <a:lnTo>
                    <a:pt x="224" y="132"/>
                  </a:lnTo>
                  <a:lnTo>
                    <a:pt x="224" y="136"/>
                  </a:lnTo>
                  <a:lnTo>
                    <a:pt x="227" y="145"/>
                  </a:lnTo>
                  <a:lnTo>
                    <a:pt x="226" y="150"/>
                  </a:lnTo>
                  <a:lnTo>
                    <a:pt x="227" y="154"/>
                  </a:lnTo>
                  <a:lnTo>
                    <a:pt x="230" y="158"/>
                  </a:lnTo>
                  <a:lnTo>
                    <a:pt x="235" y="163"/>
                  </a:lnTo>
                  <a:lnTo>
                    <a:pt x="237" y="168"/>
                  </a:lnTo>
                  <a:lnTo>
                    <a:pt x="242" y="178"/>
                  </a:lnTo>
                  <a:lnTo>
                    <a:pt x="238" y="179"/>
                  </a:lnTo>
                  <a:lnTo>
                    <a:pt x="221" y="182"/>
                  </a:lnTo>
                  <a:lnTo>
                    <a:pt x="218" y="183"/>
                  </a:lnTo>
                  <a:lnTo>
                    <a:pt x="218" y="184"/>
                  </a:lnTo>
                  <a:lnTo>
                    <a:pt x="213" y="192"/>
                  </a:lnTo>
                  <a:lnTo>
                    <a:pt x="213" y="196"/>
                  </a:lnTo>
                  <a:lnTo>
                    <a:pt x="215" y="208"/>
                  </a:lnTo>
                  <a:lnTo>
                    <a:pt x="213" y="215"/>
                  </a:lnTo>
                  <a:lnTo>
                    <a:pt x="211" y="221"/>
                  </a:lnTo>
                  <a:lnTo>
                    <a:pt x="211" y="223"/>
                  </a:lnTo>
                  <a:lnTo>
                    <a:pt x="214" y="227"/>
                  </a:lnTo>
                  <a:lnTo>
                    <a:pt x="219" y="232"/>
                  </a:lnTo>
                  <a:lnTo>
                    <a:pt x="221" y="233"/>
                  </a:lnTo>
                  <a:lnTo>
                    <a:pt x="224" y="233"/>
                  </a:lnTo>
                  <a:lnTo>
                    <a:pt x="227" y="230"/>
                  </a:lnTo>
                  <a:lnTo>
                    <a:pt x="229" y="229"/>
                  </a:lnTo>
                  <a:lnTo>
                    <a:pt x="230" y="230"/>
                  </a:lnTo>
                  <a:lnTo>
                    <a:pt x="230" y="235"/>
                  </a:lnTo>
                  <a:lnTo>
                    <a:pt x="230" y="244"/>
                  </a:lnTo>
                  <a:lnTo>
                    <a:pt x="230" y="247"/>
                  </a:lnTo>
                  <a:lnTo>
                    <a:pt x="228" y="247"/>
                  </a:lnTo>
                  <a:lnTo>
                    <a:pt x="220" y="247"/>
                  </a:lnTo>
                  <a:lnTo>
                    <a:pt x="218" y="245"/>
                  </a:lnTo>
                  <a:lnTo>
                    <a:pt x="216" y="241"/>
                  </a:lnTo>
                  <a:lnTo>
                    <a:pt x="212" y="237"/>
                  </a:lnTo>
                  <a:lnTo>
                    <a:pt x="210" y="235"/>
                  </a:lnTo>
                  <a:lnTo>
                    <a:pt x="207" y="233"/>
                  </a:lnTo>
                  <a:lnTo>
                    <a:pt x="202" y="232"/>
                  </a:lnTo>
                  <a:lnTo>
                    <a:pt x="200" y="230"/>
                  </a:lnTo>
                  <a:lnTo>
                    <a:pt x="195" y="222"/>
                  </a:lnTo>
                  <a:lnTo>
                    <a:pt x="194" y="224"/>
                  </a:lnTo>
                  <a:lnTo>
                    <a:pt x="191" y="228"/>
                  </a:lnTo>
                  <a:lnTo>
                    <a:pt x="189" y="229"/>
                  </a:lnTo>
                  <a:lnTo>
                    <a:pt x="187" y="228"/>
                  </a:lnTo>
                  <a:lnTo>
                    <a:pt x="182" y="227"/>
                  </a:lnTo>
                  <a:lnTo>
                    <a:pt x="176" y="225"/>
                  </a:lnTo>
                  <a:lnTo>
                    <a:pt x="173" y="224"/>
                  </a:lnTo>
                  <a:lnTo>
                    <a:pt x="170" y="218"/>
                  </a:lnTo>
                  <a:lnTo>
                    <a:pt x="169" y="218"/>
                  </a:lnTo>
                  <a:lnTo>
                    <a:pt x="162" y="220"/>
                  </a:lnTo>
                  <a:lnTo>
                    <a:pt x="161" y="220"/>
                  </a:lnTo>
                  <a:lnTo>
                    <a:pt x="160" y="218"/>
                  </a:lnTo>
                  <a:lnTo>
                    <a:pt x="158" y="215"/>
                  </a:lnTo>
                  <a:lnTo>
                    <a:pt x="154" y="215"/>
                  </a:lnTo>
                  <a:lnTo>
                    <a:pt x="146" y="214"/>
                  </a:lnTo>
                  <a:lnTo>
                    <a:pt x="141" y="215"/>
                  </a:lnTo>
                  <a:lnTo>
                    <a:pt x="135" y="217"/>
                  </a:lnTo>
                  <a:lnTo>
                    <a:pt x="132" y="217"/>
                  </a:lnTo>
                  <a:lnTo>
                    <a:pt x="131" y="215"/>
                  </a:lnTo>
                  <a:lnTo>
                    <a:pt x="131" y="214"/>
                  </a:lnTo>
                  <a:lnTo>
                    <a:pt x="132" y="208"/>
                  </a:lnTo>
                  <a:lnTo>
                    <a:pt x="132" y="206"/>
                  </a:lnTo>
                  <a:lnTo>
                    <a:pt x="130" y="202"/>
                  </a:lnTo>
                  <a:lnTo>
                    <a:pt x="125" y="196"/>
                  </a:lnTo>
                  <a:lnTo>
                    <a:pt x="125" y="194"/>
                  </a:lnTo>
                  <a:lnTo>
                    <a:pt x="124" y="193"/>
                  </a:lnTo>
                  <a:lnTo>
                    <a:pt x="126" y="187"/>
                  </a:lnTo>
                  <a:lnTo>
                    <a:pt x="126" y="181"/>
                  </a:lnTo>
                  <a:lnTo>
                    <a:pt x="126" y="177"/>
                  </a:lnTo>
                  <a:lnTo>
                    <a:pt x="124" y="174"/>
                  </a:lnTo>
                  <a:lnTo>
                    <a:pt x="124" y="172"/>
                  </a:lnTo>
                  <a:lnTo>
                    <a:pt x="125" y="167"/>
                  </a:lnTo>
                  <a:lnTo>
                    <a:pt x="125" y="166"/>
                  </a:lnTo>
                  <a:lnTo>
                    <a:pt x="123" y="166"/>
                  </a:lnTo>
                  <a:lnTo>
                    <a:pt x="116" y="166"/>
                  </a:lnTo>
                  <a:lnTo>
                    <a:pt x="111" y="166"/>
                  </a:lnTo>
                  <a:lnTo>
                    <a:pt x="110" y="166"/>
                  </a:lnTo>
                  <a:lnTo>
                    <a:pt x="110" y="163"/>
                  </a:lnTo>
                  <a:lnTo>
                    <a:pt x="109" y="161"/>
                  </a:lnTo>
                  <a:lnTo>
                    <a:pt x="97" y="162"/>
                  </a:lnTo>
                  <a:lnTo>
                    <a:pt x="96" y="162"/>
                  </a:lnTo>
                  <a:lnTo>
                    <a:pt x="96" y="164"/>
                  </a:lnTo>
                  <a:lnTo>
                    <a:pt x="96" y="167"/>
                  </a:lnTo>
                  <a:lnTo>
                    <a:pt x="94" y="173"/>
                  </a:lnTo>
                  <a:lnTo>
                    <a:pt x="93" y="175"/>
                  </a:lnTo>
                  <a:lnTo>
                    <a:pt x="87" y="175"/>
                  </a:lnTo>
                  <a:lnTo>
                    <a:pt x="82" y="175"/>
                  </a:lnTo>
                  <a:lnTo>
                    <a:pt x="76" y="176"/>
                  </a:lnTo>
                  <a:lnTo>
                    <a:pt x="71" y="176"/>
                  </a:lnTo>
                  <a:lnTo>
                    <a:pt x="69" y="175"/>
                  </a:lnTo>
                  <a:lnTo>
                    <a:pt x="65" y="170"/>
                  </a:lnTo>
                  <a:lnTo>
                    <a:pt x="62" y="164"/>
                  </a:lnTo>
                  <a:lnTo>
                    <a:pt x="59" y="156"/>
                  </a:lnTo>
                  <a:lnTo>
                    <a:pt x="58" y="152"/>
                  </a:lnTo>
                  <a:lnTo>
                    <a:pt x="58" y="149"/>
                  </a:lnTo>
                  <a:lnTo>
                    <a:pt x="57" y="148"/>
                  </a:lnTo>
                  <a:lnTo>
                    <a:pt x="55" y="148"/>
                  </a:lnTo>
                  <a:lnTo>
                    <a:pt x="53" y="148"/>
                  </a:lnTo>
                  <a:lnTo>
                    <a:pt x="47" y="148"/>
                  </a:lnTo>
                  <a:lnTo>
                    <a:pt x="41" y="148"/>
                  </a:lnTo>
                  <a:lnTo>
                    <a:pt x="38" y="148"/>
                  </a:lnTo>
                  <a:lnTo>
                    <a:pt x="30" y="148"/>
                  </a:lnTo>
                  <a:lnTo>
                    <a:pt x="24" y="147"/>
                  </a:lnTo>
                  <a:lnTo>
                    <a:pt x="20" y="148"/>
                  </a:lnTo>
                  <a:lnTo>
                    <a:pt x="17" y="148"/>
                  </a:lnTo>
                  <a:lnTo>
                    <a:pt x="15" y="148"/>
                  </a:lnTo>
                  <a:lnTo>
                    <a:pt x="10" y="149"/>
                  </a:lnTo>
                  <a:lnTo>
                    <a:pt x="6" y="151"/>
                  </a:lnTo>
                  <a:lnTo>
                    <a:pt x="3" y="151"/>
                  </a:lnTo>
                  <a:lnTo>
                    <a:pt x="2" y="151"/>
                  </a:lnTo>
                  <a:lnTo>
                    <a:pt x="0" y="145"/>
                  </a:lnTo>
                  <a:lnTo>
                    <a:pt x="0" y="145"/>
                  </a:lnTo>
                  <a:lnTo>
                    <a:pt x="5" y="143"/>
                  </a:lnTo>
                  <a:lnTo>
                    <a:pt x="5" y="143"/>
                  </a:lnTo>
                  <a:lnTo>
                    <a:pt x="5" y="137"/>
                  </a:lnTo>
                  <a:lnTo>
                    <a:pt x="6" y="137"/>
                  </a:lnTo>
                  <a:lnTo>
                    <a:pt x="8" y="136"/>
                  </a:lnTo>
                  <a:lnTo>
                    <a:pt x="11" y="13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3" name="Freeform 115">
              <a:extLst>
                <a:ext uri="{FF2B5EF4-FFF2-40B4-BE49-F238E27FC236}">
                  <a16:creationId xmlns:a16="http://schemas.microsoft.com/office/drawing/2014/main" id="{87BAB84F-3A02-6038-B5F7-1F3AD6A605A7}"/>
                </a:ext>
              </a:extLst>
            </p:cNvPr>
            <p:cNvSpPr>
              <a:spLocks/>
            </p:cNvSpPr>
            <p:nvPr/>
          </p:nvSpPr>
          <p:spPr bwMode="auto">
            <a:xfrm>
              <a:off x="6198771" y="4338638"/>
              <a:ext cx="398463" cy="363538"/>
            </a:xfrm>
            <a:custGeom>
              <a:avLst/>
              <a:gdLst/>
              <a:ahLst/>
              <a:cxnLst>
                <a:cxn ang="0">
                  <a:pos x="5" y="38"/>
                </a:cxn>
                <a:cxn ang="0">
                  <a:pos x="2" y="31"/>
                </a:cxn>
                <a:cxn ang="0">
                  <a:pos x="5" y="23"/>
                </a:cxn>
                <a:cxn ang="0">
                  <a:pos x="0" y="18"/>
                </a:cxn>
                <a:cxn ang="0">
                  <a:pos x="3" y="6"/>
                </a:cxn>
                <a:cxn ang="0">
                  <a:pos x="8" y="0"/>
                </a:cxn>
                <a:cxn ang="0">
                  <a:pos x="15" y="9"/>
                </a:cxn>
                <a:cxn ang="0">
                  <a:pos x="25" y="15"/>
                </a:cxn>
                <a:cxn ang="0">
                  <a:pos x="31" y="15"/>
                </a:cxn>
                <a:cxn ang="0">
                  <a:pos x="40" y="6"/>
                </a:cxn>
                <a:cxn ang="0">
                  <a:pos x="53" y="4"/>
                </a:cxn>
                <a:cxn ang="0">
                  <a:pos x="52" y="9"/>
                </a:cxn>
                <a:cxn ang="0">
                  <a:pos x="51" y="15"/>
                </a:cxn>
                <a:cxn ang="0">
                  <a:pos x="57" y="22"/>
                </a:cxn>
                <a:cxn ang="0">
                  <a:pos x="61" y="34"/>
                </a:cxn>
                <a:cxn ang="0">
                  <a:pos x="75" y="41"/>
                </a:cxn>
                <a:cxn ang="0">
                  <a:pos x="84" y="51"/>
                </a:cxn>
                <a:cxn ang="0">
                  <a:pos x="111" y="52"/>
                </a:cxn>
                <a:cxn ang="0">
                  <a:pos x="130" y="46"/>
                </a:cxn>
                <a:cxn ang="0">
                  <a:pos x="135" y="39"/>
                </a:cxn>
                <a:cxn ang="0">
                  <a:pos x="147" y="28"/>
                </a:cxn>
                <a:cxn ang="0">
                  <a:pos x="160" y="26"/>
                </a:cxn>
                <a:cxn ang="0">
                  <a:pos x="174" y="29"/>
                </a:cxn>
                <a:cxn ang="0">
                  <a:pos x="191" y="34"/>
                </a:cxn>
                <a:cxn ang="0">
                  <a:pos x="212" y="52"/>
                </a:cxn>
                <a:cxn ang="0">
                  <a:pos x="222" y="59"/>
                </a:cxn>
                <a:cxn ang="0">
                  <a:pos x="223" y="70"/>
                </a:cxn>
                <a:cxn ang="0">
                  <a:pos x="217" y="90"/>
                </a:cxn>
                <a:cxn ang="0">
                  <a:pos x="215" y="99"/>
                </a:cxn>
                <a:cxn ang="0">
                  <a:pos x="215" y="109"/>
                </a:cxn>
                <a:cxn ang="0">
                  <a:pos x="219" y="133"/>
                </a:cxn>
                <a:cxn ang="0">
                  <a:pos x="231" y="139"/>
                </a:cxn>
                <a:cxn ang="0">
                  <a:pos x="219" y="158"/>
                </a:cxn>
                <a:cxn ang="0">
                  <a:pos x="234" y="178"/>
                </a:cxn>
                <a:cxn ang="0">
                  <a:pos x="244" y="194"/>
                </a:cxn>
                <a:cxn ang="0">
                  <a:pos x="250" y="205"/>
                </a:cxn>
                <a:cxn ang="0">
                  <a:pos x="238" y="209"/>
                </a:cxn>
                <a:cxn ang="0">
                  <a:pos x="230" y="222"/>
                </a:cxn>
                <a:cxn ang="0">
                  <a:pos x="218" y="226"/>
                </a:cxn>
                <a:cxn ang="0">
                  <a:pos x="199" y="224"/>
                </a:cxn>
                <a:cxn ang="0">
                  <a:pos x="186" y="221"/>
                </a:cxn>
                <a:cxn ang="0">
                  <a:pos x="175" y="219"/>
                </a:cxn>
                <a:cxn ang="0">
                  <a:pos x="170" y="214"/>
                </a:cxn>
                <a:cxn ang="0">
                  <a:pos x="166" y="201"/>
                </a:cxn>
                <a:cxn ang="0">
                  <a:pos x="156" y="198"/>
                </a:cxn>
                <a:cxn ang="0">
                  <a:pos x="148" y="201"/>
                </a:cxn>
                <a:cxn ang="0">
                  <a:pos x="139" y="209"/>
                </a:cxn>
                <a:cxn ang="0">
                  <a:pos x="121" y="201"/>
                </a:cxn>
                <a:cxn ang="0">
                  <a:pos x="109" y="192"/>
                </a:cxn>
                <a:cxn ang="0">
                  <a:pos x="95" y="185"/>
                </a:cxn>
                <a:cxn ang="0">
                  <a:pos x="86" y="165"/>
                </a:cxn>
                <a:cxn ang="0">
                  <a:pos x="71" y="155"/>
                </a:cxn>
                <a:cxn ang="0">
                  <a:pos x="67" y="148"/>
                </a:cxn>
                <a:cxn ang="0">
                  <a:pos x="60" y="156"/>
                </a:cxn>
                <a:cxn ang="0">
                  <a:pos x="52" y="150"/>
                </a:cxn>
                <a:cxn ang="0">
                  <a:pos x="50" y="142"/>
                </a:cxn>
                <a:cxn ang="0">
                  <a:pos x="48" y="132"/>
                </a:cxn>
                <a:cxn ang="0">
                  <a:pos x="41" y="120"/>
                </a:cxn>
                <a:cxn ang="0">
                  <a:pos x="27" y="113"/>
                </a:cxn>
                <a:cxn ang="0">
                  <a:pos x="18" y="97"/>
                </a:cxn>
                <a:cxn ang="0">
                  <a:pos x="27" y="77"/>
                </a:cxn>
                <a:cxn ang="0">
                  <a:pos x="21" y="64"/>
                </a:cxn>
                <a:cxn ang="0">
                  <a:pos x="9" y="43"/>
                </a:cxn>
              </a:cxnLst>
              <a:rect l="0" t="0" r="r" b="b"/>
              <a:pathLst>
                <a:path w="251" h="229">
                  <a:moveTo>
                    <a:pt x="9" y="43"/>
                  </a:moveTo>
                  <a:lnTo>
                    <a:pt x="9" y="41"/>
                  </a:lnTo>
                  <a:lnTo>
                    <a:pt x="8" y="41"/>
                  </a:lnTo>
                  <a:lnTo>
                    <a:pt x="5" y="38"/>
                  </a:lnTo>
                  <a:lnTo>
                    <a:pt x="4" y="35"/>
                  </a:lnTo>
                  <a:lnTo>
                    <a:pt x="5" y="33"/>
                  </a:lnTo>
                  <a:lnTo>
                    <a:pt x="3" y="32"/>
                  </a:lnTo>
                  <a:lnTo>
                    <a:pt x="2" y="31"/>
                  </a:lnTo>
                  <a:lnTo>
                    <a:pt x="2" y="30"/>
                  </a:lnTo>
                  <a:lnTo>
                    <a:pt x="3" y="26"/>
                  </a:lnTo>
                  <a:lnTo>
                    <a:pt x="5" y="24"/>
                  </a:lnTo>
                  <a:lnTo>
                    <a:pt x="5" y="23"/>
                  </a:lnTo>
                  <a:lnTo>
                    <a:pt x="3" y="21"/>
                  </a:lnTo>
                  <a:lnTo>
                    <a:pt x="2" y="22"/>
                  </a:lnTo>
                  <a:lnTo>
                    <a:pt x="2" y="21"/>
                  </a:lnTo>
                  <a:lnTo>
                    <a:pt x="0" y="18"/>
                  </a:lnTo>
                  <a:lnTo>
                    <a:pt x="1" y="15"/>
                  </a:lnTo>
                  <a:lnTo>
                    <a:pt x="0" y="9"/>
                  </a:lnTo>
                  <a:lnTo>
                    <a:pt x="0" y="7"/>
                  </a:lnTo>
                  <a:lnTo>
                    <a:pt x="3" y="6"/>
                  </a:lnTo>
                  <a:lnTo>
                    <a:pt x="3" y="2"/>
                  </a:lnTo>
                  <a:lnTo>
                    <a:pt x="5" y="1"/>
                  </a:lnTo>
                  <a:lnTo>
                    <a:pt x="7" y="1"/>
                  </a:lnTo>
                  <a:lnTo>
                    <a:pt x="8" y="0"/>
                  </a:lnTo>
                  <a:lnTo>
                    <a:pt x="9" y="1"/>
                  </a:lnTo>
                  <a:lnTo>
                    <a:pt x="11" y="4"/>
                  </a:lnTo>
                  <a:lnTo>
                    <a:pt x="12" y="7"/>
                  </a:lnTo>
                  <a:lnTo>
                    <a:pt x="15" y="9"/>
                  </a:lnTo>
                  <a:lnTo>
                    <a:pt x="17" y="12"/>
                  </a:lnTo>
                  <a:lnTo>
                    <a:pt x="19" y="13"/>
                  </a:lnTo>
                  <a:lnTo>
                    <a:pt x="21" y="15"/>
                  </a:lnTo>
                  <a:lnTo>
                    <a:pt x="25" y="15"/>
                  </a:lnTo>
                  <a:lnTo>
                    <a:pt x="27" y="15"/>
                  </a:lnTo>
                  <a:lnTo>
                    <a:pt x="29" y="15"/>
                  </a:lnTo>
                  <a:lnTo>
                    <a:pt x="29" y="15"/>
                  </a:lnTo>
                  <a:lnTo>
                    <a:pt x="31" y="15"/>
                  </a:lnTo>
                  <a:lnTo>
                    <a:pt x="33" y="13"/>
                  </a:lnTo>
                  <a:lnTo>
                    <a:pt x="34" y="11"/>
                  </a:lnTo>
                  <a:lnTo>
                    <a:pt x="38" y="9"/>
                  </a:lnTo>
                  <a:lnTo>
                    <a:pt x="40" y="6"/>
                  </a:lnTo>
                  <a:lnTo>
                    <a:pt x="47" y="2"/>
                  </a:lnTo>
                  <a:lnTo>
                    <a:pt x="49" y="0"/>
                  </a:lnTo>
                  <a:lnTo>
                    <a:pt x="51" y="2"/>
                  </a:lnTo>
                  <a:lnTo>
                    <a:pt x="53" y="4"/>
                  </a:lnTo>
                  <a:lnTo>
                    <a:pt x="56" y="6"/>
                  </a:lnTo>
                  <a:lnTo>
                    <a:pt x="56" y="6"/>
                  </a:lnTo>
                  <a:lnTo>
                    <a:pt x="56" y="7"/>
                  </a:lnTo>
                  <a:lnTo>
                    <a:pt x="52" y="9"/>
                  </a:lnTo>
                  <a:lnTo>
                    <a:pt x="52" y="10"/>
                  </a:lnTo>
                  <a:lnTo>
                    <a:pt x="55" y="11"/>
                  </a:lnTo>
                  <a:lnTo>
                    <a:pt x="54" y="13"/>
                  </a:lnTo>
                  <a:lnTo>
                    <a:pt x="51" y="15"/>
                  </a:lnTo>
                  <a:lnTo>
                    <a:pt x="52" y="18"/>
                  </a:lnTo>
                  <a:lnTo>
                    <a:pt x="54" y="18"/>
                  </a:lnTo>
                  <a:lnTo>
                    <a:pt x="56" y="22"/>
                  </a:lnTo>
                  <a:lnTo>
                    <a:pt x="57" y="22"/>
                  </a:lnTo>
                  <a:lnTo>
                    <a:pt x="62" y="24"/>
                  </a:lnTo>
                  <a:lnTo>
                    <a:pt x="62" y="24"/>
                  </a:lnTo>
                  <a:lnTo>
                    <a:pt x="62" y="29"/>
                  </a:lnTo>
                  <a:lnTo>
                    <a:pt x="61" y="34"/>
                  </a:lnTo>
                  <a:lnTo>
                    <a:pt x="62" y="37"/>
                  </a:lnTo>
                  <a:lnTo>
                    <a:pt x="65" y="39"/>
                  </a:lnTo>
                  <a:lnTo>
                    <a:pt x="70" y="41"/>
                  </a:lnTo>
                  <a:lnTo>
                    <a:pt x="75" y="41"/>
                  </a:lnTo>
                  <a:lnTo>
                    <a:pt x="78" y="42"/>
                  </a:lnTo>
                  <a:lnTo>
                    <a:pt x="78" y="44"/>
                  </a:lnTo>
                  <a:lnTo>
                    <a:pt x="80" y="47"/>
                  </a:lnTo>
                  <a:lnTo>
                    <a:pt x="84" y="51"/>
                  </a:lnTo>
                  <a:lnTo>
                    <a:pt x="96" y="54"/>
                  </a:lnTo>
                  <a:lnTo>
                    <a:pt x="101" y="55"/>
                  </a:lnTo>
                  <a:lnTo>
                    <a:pt x="103" y="54"/>
                  </a:lnTo>
                  <a:lnTo>
                    <a:pt x="111" y="52"/>
                  </a:lnTo>
                  <a:lnTo>
                    <a:pt x="118" y="51"/>
                  </a:lnTo>
                  <a:lnTo>
                    <a:pt x="127" y="51"/>
                  </a:lnTo>
                  <a:lnTo>
                    <a:pt x="129" y="49"/>
                  </a:lnTo>
                  <a:lnTo>
                    <a:pt x="130" y="46"/>
                  </a:lnTo>
                  <a:lnTo>
                    <a:pt x="129" y="40"/>
                  </a:lnTo>
                  <a:lnTo>
                    <a:pt x="129" y="40"/>
                  </a:lnTo>
                  <a:lnTo>
                    <a:pt x="132" y="40"/>
                  </a:lnTo>
                  <a:lnTo>
                    <a:pt x="135" y="39"/>
                  </a:lnTo>
                  <a:lnTo>
                    <a:pt x="138" y="37"/>
                  </a:lnTo>
                  <a:lnTo>
                    <a:pt x="142" y="32"/>
                  </a:lnTo>
                  <a:lnTo>
                    <a:pt x="145" y="30"/>
                  </a:lnTo>
                  <a:lnTo>
                    <a:pt x="147" y="28"/>
                  </a:lnTo>
                  <a:lnTo>
                    <a:pt x="151" y="28"/>
                  </a:lnTo>
                  <a:lnTo>
                    <a:pt x="155" y="28"/>
                  </a:lnTo>
                  <a:lnTo>
                    <a:pt x="157" y="28"/>
                  </a:lnTo>
                  <a:lnTo>
                    <a:pt x="160" y="26"/>
                  </a:lnTo>
                  <a:lnTo>
                    <a:pt x="162" y="25"/>
                  </a:lnTo>
                  <a:lnTo>
                    <a:pt x="165" y="25"/>
                  </a:lnTo>
                  <a:lnTo>
                    <a:pt x="171" y="26"/>
                  </a:lnTo>
                  <a:lnTo>
                    <a:pt x="174" y="29"/>
                  </a:lnTo>
                  <a:lnTo>
                    <a:pt x="178" y="31"/>
                  </a:lnTo>
                  <a:lnTo>
                    <a:pt x="183" y="34"/>
                  </a:lnTo>
                  <a:lnTo>
                    <a:pt x="188" y="34"/>
                  </a:lnTo>
                  <a:lnTo>
                    <a:pt x="191" y="34"/>
                  </a:lnTo>
                  <a:lnTo>
                    <a:pt x="194" y="36"/>
                  </a:lnTo>
                  <a:lnTo>
                    <a:pt x="198" y="38"/>
                  </a:lnTo>
                  <a:lnTo>
                    <a:pt x="209" y="48"/>
                  </a:lnTo>
                  <a:lnTo>
                    <a:pt x="212" y="52"/>
                  </a:lnTo>
                  <a:lnTo>
                    <a:pt x="216" y="52"/>
                  </a:lnTo>
                  <a:lnTo>
                    <a:pt x="221" y="52"/>
                  </a:lnTo>
                  <a:lnTo>
                    <a:pt x="222" y="53"/>
                  </a:lnTo>
                  <a:lnTo>
                    <a:pt x="222" y="59"/>
                  </a:lnTo>
                  <a:lnTo>
                    <a:pt x="222" y="63"/>
                  </a:lnTo>
                  <a:lnTo>
                    <a:pt x="223" y="69"/>
                  </a:lnTo>
                  <a:lnTo>
                    <a:pt x="224" y="69"/>
                  </a:lnTo>
                  <a:lnTo>
                    <a:pt x="223" y="70"/>
                  </a:lnTo>
                  <a:lnTo>
                    <a:pt x="222" y="73"/>
                  </a:lnTo>
                  <a:lnTo>
                    <a:pt x="221" y="79"/>
                  </a:lnTo>
                  <a:lnTo>
                    <a:pt x="218" y="88"/>
                  </a:lnTo>
                  <a:lnTo>
                    <a:pt x="217" y="90"/>
                  </a:lnTo>
                  <a:lnTo>
                    <a:pt x="213" y="93"/>
                  </a:lnTo>
                  <a:lnTo>
                    <a:pt x="213" y="94"/>
                  </a:lnTo>
                  <a:lnTo>
                    <a:pt x="214" y="98"/>
                  </a:lnTo>
                  <a:lnTo>
                    <a:pt x="215" y="99"/>
                  </a:lnTo>
                  <a:lnTo>
                    <a:pt x="219" y="100"/>
                  </a:lnTo>
                  <a:lnTo>
                    <a:pt x="219" y="102"/>
                  </a:lnTo>
                  <a:lnTo>
                    <a:pt x="215" y="108"/>
                  </a:lnTo>
                  <a:lnTo>
                    <a:pt x="215" y="109"/>
                  </a:lnTo>
                  <a:lnTo>
                    <a:pt x="216" y="117"/>
                  </a:lnTo>
                  <a:lnTo>
                    <a:pt x="217" y="126"/>
                  </a:lnTo>
                  <a:lnTo>
                    <a:pt x="218" y="132"/>
                  </a:lnTo>
                  <a:lnTo>
                    <a:pt x="219" y="133"/>
                  </a:lnTo>
                  <a:lnTo>
                    <a:pt x="221" y="133"/>
                  </a:lnTo>
                  <a:lnTo>
                    <a:pt x="228" y="135"/>
                  </a:lnTo>
                  <a:lnTo>
                    <a:pt x="230" y="136"/>
                  </a:lnTo>
                  <a:lnTo>
                    <a:pt x="231" y="139"/>
                  </a:lnTo>
                  <a:lnTo>
                    <a:pt x="231" y="142"/>
                  </a:lnTo>
                  <a:lnTo>
                    <a:pt x="228" y="145"/>
                  </a:lnTo>
                  <a:lnTo>
                    <a:pt x="224" y="151"/>
                  </a:lnTo>
                  <a:lnTo>
                    <a:pt x="219" y="158"/>
                  </a:lnTo>
                  <a:lnTo>
                    <a:pt x="223" y="165"/>
                  </a:lnTo>
                  <a:lnTo>
                    <a:pt x="227" y="172"/>
                  </a:lnTo>
                  <a:lnTo>
                    <a:pt x="230" y="175"/>
                  </a:lnTo>
                  <a:lnTo>
                    <a:pt x="234" y="178"/>
                  </a:lnTo>
                  <a:lnTo>
                    <a:pt x="240" y="181"/>
                  </a:lnTo>
                  <a:lnTo>
                    <a:pt x="243" y="182"/>
                  </a:lnTo>
                  <a:lnTo>
                    <a:pt x="244" y="185"/>
                  </a:lnTo>
                  <a:lnTo>
                    <a:pt x="244" y="194"/>
                  </a:lnTo>
                  <a:lnTo>
                    <a:pt x="245" y="196"/>
                  </a:lnTo>
                  <a:lnTo>
                    <a:pt x="249" y="197"/>
                  </a:lnTo>
                  <a:lnTo>
                    <a:pt x="251" y="199"/>
                  </a:lnTo>
                  <a:lnTo>
                    <a:pt x="250" y="205"/>
                  </a:lnTo>
                  <a:lnTo>
                    <a:pt x="249" y="207"/>
                  </a:lnTo>
                  <a:lnTo>
                    <a:pt x="248" y="207"/>
                  </a:lnTo>
                  <a:lnTo>
                    <a:pt x="242" y="208"/>
                  </a:lnTo>
                  <a:lnTo>
                    <a:pt x="238" y="209"/>
                  </a:lnTo>
                  <a:lnTo>
                    <a:pt x="233" y="212"/>
                  </a:lnTo>
                  <a:lnTo>
                    <a:pt x="231" y="215"/>
                  </a:lnTo>
                  <a:lnTo>
                    <a:pt x="230" y="220"/>
                  </a:lnTo>
                  <a:lnTo>
                    <a:pt x="230" y="222"/>
                  </a:lnTo>
                  <a:lnTo>
                    <a:pt x="228" y="229"/>
                  </a:lnTo>
                  <a:lnTo>
                    <a:pt x="225" y="229"/>
                  </a:lnTo>
                  <a:lnTo>
                    <a:pt x="219" y="228"/>
                  </a:lnTo>
                  <a:lnTo>
                    <a:pt x="218" y="226"/>
                  </a:lnTo>
                  <a:lnTo>
                    <a:pt x="214" y="225"/>
                  </a:lnTo>
                  <a:lnTo>
                    <a:pt x="212" y="225"/>
                  </a:lnTo>
                  <a:lnTo>
                    <a:pt x="203" y="225"/>
                  </a:lnTo>
                  <a:lnTo>
                    <a:pt x="199" y="224"/>
                  </a:lnTo>
                  <a:lnTo>
                    <a:pt x="195" y="225"/>
                  </a:lnTo>
                  <a:lnTo>
                    <a:pt x="192" y="222"/>
                  </a:lnTo>
                  <a:lnTo>
                    <a:pt x="191" y="221"/>
                  </a:lnTo>
                  <a:lnTo>
                    <a:pt x="186" y="221"/>
                  </a:lnTo>
                  <a:lnTo>
                    <a:pt x="183" y="221"/>
                  </a:lnTo>
                  <a:lnTo>
                    <a:pt x="180" y="221"/>
                  </a:lnTo>
                  <a:lnTo>
                    <a:pt x="179" y="220"/>
                  </a:lnTo>
                  <a:lnTo>
                    <a:pt x="175" y="219"/>
                  </a:lnTo>
                  <a:lnTo>
                    <a:pt x="173" y="218"/>
                  </a:lnTo>
                  <a:lnTo>
                    <a:pt x="172" y="218"/>
                  </a:lnTo>
                  <a:lnTo>
                    <a:pt x="172" y="214"/>
                  </a:lnTo>
                  <a:lnTo>
                    <a:pt x="170" y="214"/>
                  </a:lnTo>
                  <a:lnTo>
                    <a:pt x="170" y="210"/>
                  </a:lnTo>
                  <a:lnTo>
                    <a:pt x="168" y="208"/>
                  </a:lnTo>
                  <a:lnTo>
                    <a:pt x="168" y="204"/>
                  </a:lnTo>
                  <a:lnTo>
                    <a:pt x="166" y="201"/>
                  </a:lnTo>
                  <a:lnTo>
                    <a:pt x="164" y="201"/>
                  </a:lnTo>
                  <a:lnTo>
                    <a:pt x="164" y="199"/>
                  </a:lnTo>
                  <a:lnTo>
                    <a:pt x="161" y="198"/>
                  </a:lnTo>
                  <a:lnTo>
                    <a:pt x="156" y="198"/>
                  </a:lnTo>
                  <a:lnTo>
                    <a:pt x="154" y="198"/>
                  </a:lnTo>
                  <a:lnTo>
                    <a:pt x="153" y="200"/>
                  </a:lnTo>
                  <a:lnTo>
                    <a:pt x="151" y="200"/>
                  </a:lnTo>
                  <a:lnTo>
                    <a:pt x="148" y="201"/>
                  </a:lnTo>
                  <a:lnTo>
                    <a:pt x="147" y="203"/>
                  </a:lnTo>
                  <a:lnTo>
                    <a:pt x="144" y="204"/>
                  </a:lnTo>
                  <a:lnTo>
                    <a:pt x="141" y="207"/>
                  </a:lnTo>
                  <a:lnTo>
                    <a:pt x="139" y="209"/>
                  </a:lnTo>
                  <a:lnTo>
                    <a:pt x="138" y="209"/>
                  </a:lnTo>
                  <a:lnTo>
                    <a:pt x="130" y="204"/>
                  </a:lnTo>
                  <a:lnTo>
                    <a:pt x="125" y="204"/>
                  </a:lnTo>
                  <a:lnTo>
                    <a:pt x="121" y="201"/>
                  </a:lnTo>
                  <a:lnTo>
                    <a:pt x="115" y="199"/>
                  </a:lnTo>
                  <a:lnTo>
                    <a:pt x="113" y="197"/>
                  </a:lnTo>
                  <a:lnTo>
                    <a:pt x="111" y="195"/>
                  </a:lnTo>
                  <a:lnTo>
                    <a:pt x="109" y="192"/>
                  </a:lnTo>
                  <a:lnTo>
                    <a:pt x="103" y="189"/>
                  </a:lnTo>
                  <a:lnTo>
                    <a:pt x="99" y="188"/>
                  </a:lnTo>
                  <a:lnTo>
                    <a:pt x="98" y="188"/>
                  </a:lnTo>
                  <a:lnTo>
                    <a:pt x="95" y="185"/>
                  </a:lnTo>
                  <a:lnTo>
                    <a:pt x="91" y="178"/>
                  </a:lnTo>
                  <a:lnTo>
                    <a:pt x="87" y="170"/>
                  </a:lnTo>
                  <a:lnTo>
                    <a:pt x="86" y="168"/>
                  </a:lnTo>
                  <a:lnTo>
                    <a:pt x="86" y="165"/>
                  </a:lnTo>
                  <a:lnTo>
                    <a:pt x="82" y="159"/>
                  </a:lnTo>
                  <a:lnTo>
                    <a:pt x="79" y="154"/>
                  </a:lnTo>
                  <a:lnTo>
                    <a:pt x="74" y="156"/>
                  </a:lnTo>
                  <a:lnTo>
                    <a:pt x="71" y="155"/>
                  </a:lnTo>
                  <a:lnTo>
                    <a:pt x="70" y="154"/>
                  </a:lnTo>
                  <a:lnTo>
                    <a:pt x="68" y="154"/>
                  </a:lnTo>
                  <a:lnTo>
                    <a:pt x="67" y="152"/>
                  </a:lnTo>
                  <a:lnTo>
                    <a:pt x="67" y="148"/>
                  </a:lnTo>
                  <a:lnTo>
                    <a:pt x="64" y="149"/>
                  </a:lnTo>
                  <a:lnTo>
                    <a:pt x="63" y="150"/>
                  </a:lnTo>
                  <a:lnTo>
                    <a:pt x="62" y="154"/>
                  </a:lnTo>
                  <a:lnTo>
                    <a:pt x="60" y="156"/>
                  </a:lnTo>
                  <a:lnTo>
                    <a:pt x="58" y="156"/>
                  </a:lnTo>
                  <a:lnTo>
                    <a:pt x="58" y="155"/>
                  </a:lnTo>
                  <a:lnTo>
                    <a:pt x="56" y="153"/>
                  </a:lnTo>
                  <a:lnTo>
                    <a:pt x="52" y="150"/>
                  </a:lnTo>
                  <a:lnTo>
                    <a:pt x="53" y="148"/>
                  </a:lnTo>
                  <a:lnTo>
                    <a:pt x="53" y="145"/>
                  </a:lnTo>
                  <a:lnTo>
                    <a:pt x="51" y="142"/>
                  </a:lnTo>
                  <a:lnTo>
                    <a:pt x="50" y="142"/>
                  </a:lnTo>
                  <a:lnTo>
                    <a:pt x="47" y="142"/>
                  </a:lnTo>
                  <a:lnTo>
                    <a:pt x="47" y="140"/>
                  </a:lnTo>
                  <a:lnTo>
                    <a:pt x="47" y="136"/>
                  </a:lnTo>
                  <a:lnTo>
                    <a:pt x="48" y="132"/>
                  </a:lnTo>
                  <a:lnTo>
                    <a:pt x="48" y="128"/>
                  </a:lnTo>
                  <a:lnTo>
                    <a:pt x="48" y="126"/>
                  </a:lnTo>
                  <a:lnTo>
                    <a:pt x="46" y="124"/>
                  </a:lnTo>
                  <a:lnTo>
                    <a:pt x="41" y="120"/>
                  </a:lnTo>
                  <a:lnTo>
                    <a:pt x="39" y="119"/>
                  </a:lnTo>
                  <a:lnTo>
                    <a:pt x="32" y="112"/>
                  </a:lnTo>
                  <a:lnTo>
                    <a:pt x="29" y="112"/>
                  </a:lnTo>
                  <a:lnTo>
                    <a:pt x="27" y="113"/>
                  </a:lnTo>
                  <a:lnTo>
                    <a:pt x="26" y="112"/>
                  </a:lnTo>
                  <a:lnTo>
                    <a:pt x="26" y="106"/>
                  </a:lnTo>
                  <a:lnTo>
                    <a:pt x="20" y="99"/>
                  </a:lnTo>
                  <a:lnTo>
                    <a:pt x="18" y="97"/>
                  </a:lnTo>
                  <a:lnTo>
                    <a:pt x="18" y="96"/>
                  </a:lnTo>
                  <a:lnTo>
                    <a:pt x="19" y="90"/>
                  </a:lnTo>
                  <a:lnTo>
                    <a:pt x="21" y="84"/>
                  </a:lnTo>
                  <a:lnTo>
                    <a:pt x="27" y="77"/>
                  </a:lnTo>
                  <a:lnTo>
                    <a:pt x="25" y="72"/>
                  </a:lnTo>
                  <a:lnTo>
                    <a:pt x="25" y="70"/>
                  </a:lnTo>
                  <a:lnTo>
                    <a:pt x="28" y="65"/>
                  </a:lnTo>
                  <a:lnTo>
                    <a:pt x="21" y="64"/>
                  </a:lnTo>
                  <a:lnTo>
                    <a:pt x="17" y="63"/>
                  </a:lnTo>
                  <a:lnTo>
                    <a:pt x="17" y="61"/>
                  </a:lnTo>
                  <a:lnTo>
                    <a:pt x="13" y="54"/>
                  </a:lnTo>
                  <a:lnTo>
                    <a:pt x="9" y="4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4" name="Freeform 116">
              <a:extLst>
                <a:ext uri="{FF2B5EF4-FFF2-40B4-BE49-F238E27FC236}">
                  <a16:creationId xmlns:a16="http://schemas.microsoft.com/office/drawing/2014/main" id="{EB94908D-2B56-4499-47D6-526F6A32E985}"/>
                </a:ext>
              </a:extLst>
            </p:cNvPr>
            <p:cNvSpPr>
              <a:spLocks/>
            </p:cNvSpPr>
            <p:nvPr/>
          </p:nvSpPr>
          <p:spPr bwMode="auto">
            <a:xfrm>
              <a:off x="6249571" y="4587875"/>
              <a:ext cx="39688" cy="34925"/>
            </a:xfrm>
            <a:custGeom>
              <a:avLst/>
              <a:gdLst/>
              <a:ahLst/>
              <a:cxnLst>
                <a:cxn ang="0">
                  <a:pos x="18" y="0"/>
                </a:cxn>
                <a:cxn ang="0">
                  <a:pos x="18" y="2"/>
                </a:cxn>
                <a:cxn ang="0">
                  <a:pos x="19" y="6"/>
                </a:cxn>
                <a:cxn ang="0">
                  <a:pos x="17" y="6"/>
                </a:cxn>
                <a:cxn ang="0">
                  <a:pos x="14" y="9"/>
                </a:cxn>
                <a:cxn ang="0">
                  <a:pos x="16" y="11"/>
                </a:cxn>
                <a:cxn ang="0">
                  <a:pos x="19" y="9"/>
                </a:cxn>
                <a:cxn ang="0">
                  <a:pos x="21" y="9"/>
                </a:cxn>
                <a:cxn ang="0">
                  <a:pos x="25" y="22"/>
                </a:cxn>
                <a:cxn ang="0">
                  <a:pos x="21" y="22"/>
                </a:cxn>
                <a:cxn ang="0">
                  <a:pos x="15" y="22"/>
                </a:cxn>
                <a:cxn ang="0">
                  <a:pos x="14" y="20"/>
                </a:cxn>
                <a:cxn ang="0">
                  <a:pos x="12" y="16"/>
                </a:cxn>
                <a:cxn ang="0">
                  <a:pos x="9" y="15"/>
                </a:cxn>
                <a:cxn ang="0">
                  <a:pos x="0" y="14"/>
                </a:cxn>
                <a:cxn ang="0">
                  <a:pos x="3" y="10"/>
                </a:cxn>
                <a:cxn ang="0">
                  <a:pos x="5" y="6"/>
                </a:cxn>
                <a:cxn ang="0">
                  <a:pos x="7" y="1"/>
                </a:cxn>
                <a:cxn ang="0">
                  <a:pos x="10" y="0"/>
                </a:cxn>
                <a:cxn ang="0">
                  <a:pos x="18" y="0"/>
                </a:cxn>
              </a:cxnLst>
              <a:rect l="0" t="0" r="r" b="b"/>
              <a:pathLst>
                <a:path w="25" h="22">
                  <a:moveTo>
                    <a:pt x="18" y="0"/>
                  </a:moveTo>
                  <a:lnTo>
                    <a:pt x="18" y="2"/>
                  </a:lnTo>
                  <a:lnTo>
                    <a:pt x="19" y="6"/>
                  </a:lnTo>
                  <a:lnTo>
                    <a:pt x="17" y="6"/>
                  </a:lnTo>
                  <a:lnTo>
                    <a:pt x="14" y="9"/>
                  </a:lnTo>
                  <a:lnTo>
                    <a:pt x="16" y="11"/>
                  </a:lnTo>
                  <a:lnTo>
                    <a:pt x="19" y="9"/>
                  </a:lnTo>
                  <a:lnTo>
                    <a:pt x="21" y="9"/>
                  </a:lnTo>
                  <a:lnTo>
                    <a:pt x="25" y="22"/>
                  </a:lnTo>
                  <a:lnTo>
                    <a:pt x="21" y="22"/>
                  </a:lnTo>
                  <a:lnTo>
                    <a:pt x="15" y="22"/>
                  </a:lnTo>
                  <a:lnTo>
                    <a:pt x="14" y="20"/>
                  </a:lnTo>
                  <a:lnTo>
                    <a:pt x="12" y="16"/>
                  </a:lnTo>
                  <a:lnTo>
                    <a:pt x="9" y="15"/>
                  </a:lnTo>
                  <a:lnTo>
                    <a:pt x="0" y="14"/>
                  </a:lnTo>
                  <a:lnTo>
                    <a:pt x="3" y="10"/>
                  </a:lnTo>
                  <a:lnTo>
                    <a:pt x="5" y="6"/>
                  </a:lnTo>
                  <a:lnTo>
                    <a:pt x="7" y="1"/>
                  </a:lnTo>
                  <a:lnTo>
                    <a:pt x="10" y="0"/>
                  </a:lnTo>
                  <a:lnTo>
                    <a:pt x="18"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5" name="Freeform 117">
              <a:extLst>
                <a:ext uri="{FF2B5EF4-FFF2-40B4-BE49-F238E27FC236}">
                  <a16:creationId xmlns:a16="http://schemas.microsoft.com/office/drawing/2014/main" id="{E4BD4241-5B8E-62A9-5F43-C313AAF79693}"/>
                </a:ext>
              </a:extLst>
            </p:cNvPr>
            <p:cNvSpPr>
              <a:spLocks/>
            </p:cNvSpPr>
            <p:nvPr/>
          </p:nvSpPr>
          <p:spPr bwMode="auto">
            <a:xfrm>
              <a:off x="6040021" y="4857750"/>
              <a:ext cx="136525" cy="123825"/>
            </a:xfrm>
            <a:custGeom>
              <a:avLst/>
              <a:gdLst/>
              <a:ahLst/>
              <a:cxnLst>
                <a:cxn ang="0">
                  <a:pos x="75" y="76"/>
                </a:cxn>
                <a:cxn ang="0">
                  <a:pos x="70" y="71"/>
                </a:cxn>
                <a:cxn ang="0">
                  <a:pos x="60" y="61"/>
                </a:cxn>
                <a:cxn ang="0">
                  <a:pos x="54" y="53"/>
                </a:cxn>
                <a:cxn ang="0">
                  <a:pos x="46" y="49"/>
                </a:cxn>
                <a:cxn ang="0">
                  <a:pos x="42" y="49"/>
                </a:cxn>
                <a:cxn ang="0">
                  <a:pos x="38" y="48"/>
                </a:cxn>
                <a:cxn ang="0">
                  <a:pos x="33" y="49"/>
                </a:cxn>
                <a:cxn ang="0">
                  <a:pos x="31" y="48"/>
                </a:cxn>
                <a:cxn ang="0">
                  <a:pos x="24" y="49"/>
                </a:cxn>
                <a:cxn ang="0">
                  <a:pos x="19" y="46"/>
                </a:cxn>
                <a:cxn ang="0">
                  <a:pos x="12" y="54"/>
                </a:cxn>
                <a:cxn ang="0">
                  <a:pos x="6" y="49"/>
                </a:cxn>
                <a:cxn ang="0">
                  <a:pos x="3" y="51"/>
                </a:cxn>
                <a:cxn ang="0">
                  <a:pos x="1" y="47"/>
                </a:cxn>
                <a:cxn ang="0">
                  <a:pos x="0" y="39"/>
                </a:cxn>
                <a:cxn ang="0">
                  <a:pos x="5" y="26"/>
                </a:cxn>
                <a:cxn ang="0">
                  <a:pos x="6" y="18"/>
                </a:cxn>
                <a:cxn ang="0">
                  <a:pos x="12" y="15"/>
                </a:cxn>
                <a:cxn ang="0">
                  <a:pos x="15" y="10"/>
                </a:cxn>
                <a:cxn ang="0">
                  <a:pos x="19" y="9"/>
                </a:cxn>
                <a:cxn ang="0">
                  <a:pos x="24" y="6"/>
                </a:cxn>
                <a:cxn ang="0">
                  <a:pos x="27" y="1"/>
                </a:cxn>
                <a:cxn ang="0">
                  <a:pos x="29" y="0"/>
                </a:cxn>
                <a:cxn ang="0">
                  <a:pos x="36" y="24"/>
                </a:cxn>
                <a:cxn ang="0">
                  <a:pos x="44" y="40"/>
                </a:cxn>
                <a:cxn ang="0">
                  <a:pos x="45" y="36"/>
                </a:cxn>
                <a:cxn ang="0">
                  <a:pos x="47" y="36"/>
                </a:cxn>
                <a:cxn ang="0">
                  <a:pos x="52" y="43"/>
                </a:cxn>
                <a:cxn ang="0">
                  <a:pos x="56" y="42"/>
                </a:cxn>
                <a:cxn ang="0">
                  <a:pos x="69" y="56"/>
                </a:cxn>
                <a:cxn ang="0">
                  <a:pos x="74" y="57"/>
                </a:cxn>
                <a:cxn ang="0">
                  <a:pos x="78" y="64"/>
                </a:cxn>
                <a:cxn ang="0">
                  <a:pos x="78" y="66"/>
                </a:cxn>
                <a:cxn ang="0">
                  <a:pos x="86" y="72"/>
                </a:cxn>
                <a:cxn ang="0">
                  <a:pos x="83" y="78"/>
                </a:cxn>
                <a:cxn ang="0">
                  <a:pos x="78" y="76"/>
                </a:cxn>
                <a:cxn ang="0">
                  <a:pos x="77" y="77"/>
                </a:cxn>
              </a:cxnLst>
              <a:rect l="0" t="0" r="r" b="b"/>
              <a:pathLst>
                <a:path w="86" h="78">
                  <a:moveTo>
                    <a:pt x="77" y="77"/>
                  </a:moveTo>
                  <a:lnTo>
                    <a:pt x="75" y="76"/>
                  </a:lnTo>
                  <a:lnTo>
                    <a:pt x="73" y="72"/>
                  </a:lnTo>
                  <a:lnTo>
                    <a:pt x="70" y="71"/>
                  </a:lnTo>
                  <a:lnTo>
                    <a:pt x="67" y="66"/>
                  </a:lnTo>
                  <a:lnTo>
                    <a:pt x="60" y="61"/>
                  </a:lnTo>
                  <a:lnTo>
                    <a:pt x="58" y="57"/>
                  </a:lnTo>
                  <a:lnTo>
                    <a:pt x="54" y="53"/>
                  </a:lnTo>
                  <a:lnTo>
                    <a:pt x="51" y="52"/>
                  </a:lnTo>
                  <a:lnTo>
                    <a:pt x="46" y="49"/>
                  </a:lnTo>
                  <a:lnTo>
                    <a:pt x="42" y="49"/>
                  </a:lnTo>
                  <a:lnTo>
                    <a:pt x="42" y="49"/>
                  </a:lnTo>
                  <a:lnTo>
                    <a:pt x="40" y="49"/>
                  </a:lnTo>
                  <a:lnTo>
                    <a:pt x="38" y="48"/>
                  </a:lnTo>
                  <a:lnTo>
                    <a:pt x="36" y="49"/>
                  </a:lnTo>
                  <a:lnTo>
                    <a:pt x="33" y="49"/>
                  </a:lnTo>
                  <a:lnTo>
                    <a:pt x="32" y="46"/>
                  </a:lnTo>
                  <a:lnTo>
                    <a:pt x="31" y="48"/>
                  </a:lnTo>
                  <a:lnTo>
                    <a:pt x="28" y="49"/>
                  </a:lnTo>
                  <a:lnTo>
                    <a:pt x="24" y="49"/>
                  </a:lnTo>
                  <a:lnTo>
                    <a:pt x="21" y="46"/>
                  </a:lnTo>
                  <a:lnTo>
                    <a:pt x="19" y="46"/>
                  </a:lnTo>
                  <a:lnTo>
                    <a:pt x="17" y="44"/>
                  </a:lnTo>
                  <a:lnTo>
                    <a:pt x="12" y="54"/>
                  </a:lnTo>
                  <a:lnTo>
                    <a:pt x="9" y="49"/>
                  </a:lnTo>
                  <a:lnTo>
                    <a:pt x="6" y="49"/>
                  </a:lnTo>
                  <a:lnTo>
                    <a:pt x="5" y="52"/>
                  </a:lnTo>
                  <a:lnTo>
                    <a:pt x="3" y="51"/>
                  </a:lnTo>
                  <a:lnTo>
                    <a:pt x="0" y="51"/>
                  </a:lnTo>
                  <a:lnTo>
                    <a:pt x="1" y="47"/>
                  </a:lnTo>
                  <a:lnTo>
                    <a:pt x="0" y="42"/>
                  </a:lnTo>
                  <a:lnTo>
                    <a:pt x="0" y="39"/>
                  </a:lnTo>
                  <a:lnTo>
                    <a:pt x="4" y="31"/>
                  </a:lnTo>
                  <a:lnTo>
                    <a:pt x="5" y="26"/>
                  </a:lnTo>
                  <a:lnTo>
                    <a:pt x="6" y="21"/>
                  </a:lnTo>
                  <a:lnTo>
                    <a:pt x="6" y="18"/>
                  </a:lnTo>
                  <a:lnTo>
                    <a:pt x="7" y="15"/>
                  </a:lnTo>
                  <a:lnTo>
                    <a:pt x="12" y="15"/>
                  </a:lnTo>
                  <a:lnTo>
                    <a:pt x="14" y="13"/>
                  </a:lnTo>
                  <a:lnTo>
                    <a:pt x="15" y="10"/>
                  </a:lnTo>
                  <a:lnTo>
                    <a:pt x="16" y="10"/>
                  </a:lnTo>
                  <a:lnTo>
                    <a:pt x="19" y="9"/>
                  </a:lnTo>
                  <a:lnTo>
                    <a:pt x="22" y="8"/>
                  </a:lnTo>
                  <a:lnTo>
                    <a:pt x="24" y="6"/>
                  </a:lnTo>
                  <a:lnTo>
                    <a:pt x="26" y="3"/>
                  </a:lnTo>
                  <a:lnTo>
                    <a:pt x="27" y="1"/>
                  </a:lnTo>
                  <a:lnTo>
                    <a:pt x="29" y="0"/>
                  </a:lnTo>
                  <a:lnTo>
                    <a:pt x="29" y="0"/>
                  </a:lnTo>
                  <a:lnTo>
                    <a:pt x="34" y="13"/>
                  </a:lnTo>
                  <a:lnTo>
                    <a:pt x="36" y="24"/>
                  </a:lnTo>
                  <a:lnTo>
                    <a:pt x="40" y="35"/>
                  </a:lnTo>
                  <a:lnTo>
                    <a:pt x="44" y="40"/>
                  </a:lnTo>
                  <a:lnTo>
                    <a:pt x="45" y="39"/>
                  </a:lnTo>
                  <a:lnTo>
                    <a:pt x="45" y="36"/>
                  </a:lnTo>
                  <a:lnTo>
                    <a:pt x="45" y="34"/>
                  </a:lnTo>
                  <a:lnTo>
                    <a:pt x="47" y="36"/>
                  </a:lnTo>
                  <a:lnTo>
                    <a:pt x="49" y="40"/>
                  </a:lnTo>
                  <a:lnTo>
                    <a:pt x="52" y="43"/>
                  </a:lnTo>
                  <a:lnTo>
                    <a:pt x="55" y="42"/>
                  </a:lnTo>
                  <a:lnTo>
                    <a:pt x="56" y="42"/>
                  </a:lnTo>
                  <a:lnTo>
                    <a:pt x="64" y="50"/>
                  </a:lnTo>
                  <a:lnTo>
                    <a:pt x="69" y="56"/>
                  </a:lnTo>
                  <a:lnTo>
                    <a:pt x="70" y="57"/>
                  </a:lnTo>
                  <a:lnTo>
                    <a:pt x="74" y="57"/>
                  </a:lnTo>
                  <a:lnTo>
                    <a:pt x="77" y="62"/>
                  </a:lnTo>
                  <a:lnTo>
                    <a:pt x="78" y="64"/>
                  </a:lnTo>
                  <a:lnTo>
                    <a:pt x="77" y="65"/>
                  </a:lnTo>
                  <a:lnTo>
                    <a:pt x="78" y="66"/>
                  </a:lnTo>
                  <a:lnTo>
                    <a:pt x="81" y="67"/>
                  </a:lnTo>
                  <a:lnTo>
                    <a:pt x="86" y="72"/>
                  </a:lnTo>
                  <a:lnTo>
                    <a:pt x="86" y="73"/>
                  </a:lnTo>
                  <a:lnTo>
                    <a:pt x="83" y="78"/>
                  </a:lnTo>
                  <a:lnTo>
                    <a:pt x="81" y="76"/>
                  </a:lnTo>
                  <a:lnTo>
                    <a:pt x="78" y="76"/>
                  </a:lnTo>
                  <a:lnTo>
                    <a:pt x="77" y="76"/>
                  </a:lnTo>
                  <a:lnTo>
                    <a:pt x="77" y="7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6" name="Freeform 118">
              <a:extLst>
                <a:ext uri="{FF2B5EF4-FFF2-40B4-BE49-F238E27FC236}">
                  <a16:creationId xmlns:a16="http://schemas.microsoft.com/office/drawing/2014/main" id="{77543E87-71B1-6FF8-20FF-1AAD1C54773E}"/>
                </a:ext>
              </a:extLst>
            </p:cNvPr>
            <p:cNvSpPr>
              <a:spLocks/>
            </p:cNvSpPr>
            <p:nvPr/>
          </p:nvSpPr>
          <p:spPr bwMode="auto">
            <a:xfrm>
              <a:off x="6374984" y="4256088"/>
              <a:ext cx="293688" cy="200025"/>
            </a:xfrm>
            <a:custGeom>
              <a:avLst/>
              <a:gdLst/>
              <a:ahLst/>
              <a:cxnLst>
                <a:cxn ang="0">
                  <a:pos x="111" y="111"/>
                </a:cxn>
                <a:cxn ang="0">
                  <a:pos x="101" y="104"/>
                </a:cxn>
                <a:cxn ang="0">
                  <a:pos x="80" y="86"/>
                </a:cxn>
                <a:cxn ang="0">
                  <a:pos x="63" y="81"/>
                </a:cxn>
                <a:cxn ang="0">
                  <a:pos x="49" y="78"/>
                </a:cxn>
                <a:cxn ang="0">
                  <a:pos x="36" y="80"/>
                </a:cxn>
                <a:cxn ang="0">
                  <a:pos x="24" y="91"/>
                </a:cxn>
                <a:cxn ang="0">
                  <a:pos x="17" y="84"/>
                </a:cxn>
                <a:cxn ang="0">
                  <a:pos x="18" y="71"/>
                </a:cxn>
                <a:cxn ang="0">
                  <a:pos x="19" y="65"/>
                </a:cxn>
                <a:cxn ang="0">
                  <a:pos x="14" y="59"/>
                </a:cxn>
                <a:cxn ang="0">
                  <a:pos x="9" y="59"/>
                </a:cxn>
                <a:cxn ang="0">
                  <a:pos x="10" y="56"/>
                </a:cxn>
                <a:cxn ang="0">
                  <a:pos x="16" y="55"/>
                </a:cxn>
                <a:cxn ang="0">
                  <a:pos x="13" y="49"/>
                </a:cxn>
                <a:cxn ang="0">
                  <a:pos x="8" y="48"/>
                </a:cxn>
                <a:cxn ang="0">
                  <a:pos x="3" y="44"/>
                </a:cxn>
                <a:cxn ang="0">
                  <a:pos x="5" y="35"/>
                </a:cxn>
                <a:cxn ang="0">
                  <a:pos x="7" y="32"/>
                </a:cxn>
                <a:cxn ang="0">
                  <a:pos x="13" y="35"/>
                </a:cxn>
                <a:cxn ang="0">
                  <a:pos x="15" y="32"/>
                </a:cxn>
                <a:cxn ang="0">
                  <a:pos x="20" y="36"/>
                </a:cxn>
                <a:cxn ang="0">
                  <a:pos x="24" y="35"/>
                </a:cxn>
                <a:cxn ang="0">
                  <a:pos x="25" y="33"/>
                </a:cxn>
                <a:cxn ang="0">
                  <a:pos x="29" y="31"/>
                </a:cxn>
                <a:cxn ang="0">
                  <a:pos x="21" y="22"/>
                </a:cxn>
                <a:cxn ang="0">
                  <a:pos x="19" y="14"/>
                </a:cxn>
                <a:cxn ang="0">
                  <a:pos x="11" y="11"/>
                </a:cxn>
                <a:cxn ang="0">
                  <a:pos x="5" y="17"/>
                </a:cxn>
                <a:cxn ang="0">
                  <a:pos x="5" y="26"/>
                </a:cxn>
                <a:cxn ang="0">
                  <a:pos x="2" y="20"/>
                </a:cxn>
                <a:cxn ang="0">
                  <a:pos x="8" y="9"/>
                </a:cxn>
                <a:cxn ang="0">
                  <a:pos x="29" y="11"/>
                </a:cxn>
                <a:cxn ang="0">
                  <a:pos x="40" y="26"/>
                </a:cxn>
                <a:cxn ang="0">
                  <a:pos x="52" y="25"/>
                </a:cxn>
                <a:cxn ang="0">
                  <a:pos x="59" y="14"/>
                </a:cxn>
                <a:cxn ang="0">
                  <a:pos x="71" y="8"/>
                </a:cxn>
                <a:cxn ang="0">
                  <a:pos x="78" y="7"/>
                </a:cxn>
                <a:cxn ang="0">
                  <a:pos x="80" y="0"/>
                </a:cxn>
                <a:cxn ang="0">
                  <a:pos x="89" y="6"/>
                </a:cxn>
                <a:cxn ang="0">
                  <a:pos x="98" y="11"/>
                </a:cxn>
                <a:cxn ang="0">
                  <a:pos x="99" y="18"/>
                </a:cxn>
                <a:cxn ang="0">
                  <a:pos x="103" y="25"/>
                </a:cxn>
                <a:cxn ang="0">
                  <a:pos x="114" y="27"/>
                </a:cxn>
                <a:cxn ang="0">
                  <a:pos x="124" y="30"/>
                </a:cxn>
                <a:cxn ang="0">
                  <a:pos x="130" y="44"/>
                </a:cxn>
                <a:cxn ang="0">
                  <a:pos x="147" y="61"/>
                </a:cxn>
                <a:cxn ang="0">
                  <a:pos x="164" y="71"/>
                </a:cxn>
                <a:cxn ang="0">
                  <a:pos x="179" y="78"/>
                </a:cxn>
                <a:cxn ang="0">
                  <a:pos x="184" y="85"/>
                </a:cxn>
                <a:cxn ang="0">
                  <a:pos x="171" y="89"/>
                </a:cxn>
                <a:cxn ang="0">
                  <a:pos x="157" y="101"/>
                </a:cxn>
                <a:cxn ang="0">
                  <a:pos x="141" y="116"/>
                </a:cxn>
                <a:cxn ang="0">
                  <a:pos x="135" y="124"/>
                </a:cxn>
                <a:cxn ang="0">
                  <a:pos x="119" y="123"/>
                </a:cxn>
              </a:cxnLst>
              <a:rect l="0" t="0" r="r" b="b"/>
              <a:pathLst>
                <a:path w="185" h="126">
                  <a:moveTo>
                    <a:pt x="113" y="121"/>
                  </a:moveTo>
                  <a:lnTo>
                    <a:pt x="112" y="121"/>
                  </a:lnTo>
                  <a:lnTo>
                    <a:pt x="111" y="115"/>
                  </a:lnTo>
                  <a:lnTo>
                    <a:pt x="111" y="111"/>
                  </a:lnTo>
                  <a:lnTo>
                    <a:pt x="111" y="105"/>
                  </a:lnTo>
                  <a:lnTo>
                    <a:pt x="110" y="104"/>
                  </a:lnTo>
                  <a:lnTo>
                    <a:pt x="105" y="104"/>
                  </a:lnTo>
                  <a:lnTo>
                    <a:pt x="101" y="104"/>
                  </a:lnTo>
                  <a:lnTo>
                    <a:pt x="98" y="100"/>
                  </a:lnTo>
                  <a:lnTo>
                    <a:pt x="87" y="90"/>
                  </a:lnTo>
                  <a:lnTo>
                    <a:pt x="83" y="88"/>
                  </a:lnTo>
                  <a:lnTo>
                    <a:pt x="80" y="86"/>
                  </a:lnTo>
                  <a:lnTo>
                    <a:pt x="77" y="86"/>
                  </a:lnTo>
                  <a:lnTo>
                    <a:pt x="72" y="86"/>
                  </a:lnTo>
                  <a:lnTo>
                    <a:pt x="67" y="83"/>
                  </a:lnTo>
                  <a:lnTo>
                    <a:pt x="63" y="81"/>
                  </a:lnTo>
                  <a:lnTo>
                    <a:pt x="60" y="78"/>
                  </a:lnTo>
                  <a:lnTo>
                    <a:pt x="54" y="77"/>
                  </a:lnTo>
                  <a:lnTo>
                    <a:pt x="51" y="77"/>
                  </a:lnTo>
                  <a:lnTo>
                    <a:pt x="49" y="78"/>
                  </a:lnTo>
                  <a:lnTo>
                    <a:pt x="46" y="80"/>
                  </a:lnTo>
                  <a:lnTo>
                    <a:pt x="44" y="80"/>
                  </a:lnTo>
                  <a:lnTo>
                    <a:pt x="40" y="80"/>
                  </a:lnTo>
                  <a:lnTo>
                    <a:pt x="36" y="80"/>
                  </a:lnTo>
                  <a:lnTo>
                    <a:pt x="34" y="82"/>
                  </a:lnTo>
                  <a:lnTo>
                    <a:pt x="31" y="84"/>
                  </a:lnTo>
                  <a:lnTo>
                    <a:pt x="27" y="89"/>
                  </a:lnTo>
                  <a:lnTo>
                    <a:pt x="24" y="91"/>
                  </a:lnTo>
                  <a:lnTo>
                    <a:pt x="21" y="92"/>
                  </a:lnTo>
                  <a:lnTo>
                    <a:pt x="18" y="92"/>
                  </a:lnTo>
                  <a:lnTo>
                    <a:pt x="18" y="89"/>
                  </a:lnTo>
                  <a:lnTo>
                    <a:pt x="17" y="84"/>
                  </a:lnTo>
                  <a:lnTo>
                    <a:pt x="17" y="81"/>
                  </a:lnTo>
                  <a:lnTo>
                    <a:pt x="18" y="79"/>
                  </a:lnTo>
                  <a:lnTo>
                    <a:pt x="18" y="76"/>
                  </a:lnTo>
                  <a:lnTo>
                    <a:pt x="18" y="71"/>
                  </a:lnTo>
                  <a:lnTo>
                    <a:pt x="18" y="70"/>
                  </a:lnTo>
                  <a:lnTo>
                    <a:pt x="19" y="68"/>
                  </a:lnTo>
                  <a:lnTo>
                    <a:pt x="19" y="66"/>
                  </a:lnTo>
                  <a:lnTo>
                    <a:pt x="19" y="65"/>
                  </a:lnTo>
                  <a:lnTo>
                    <a:pt x="17" y="64"/>
                  </a:lnTo>
                  <a:lnTo>
                    <a:pt x="15" y="62"/>
                  </a:lnTo>
                  <a:lnTo>
                    <a:pt x="14" y="60"/>
                  </a:lnTo>
                  <a:lnTo>
                    <a:pt x="14" y="59"/>
                  </a:lnTo>
                  <a:lnTo>
                    <a:pt x="13" y="59"/>
                  </a:lnTo>
                  <a:lnTo>
                    <a:pt x="12" y="59"/>
                  </a:lnTo>
                  <a:lnTo>
                    <a:pt x="10" y="58"/>
                  </a:lnTo>
                  <a:lnTo>
                    <a:pt x="9" y="59"/>
                  </a:lnTo>
                  <a:lnTo>
                    <a:pt x="8" y="58"/>
                  </a:lnTo>
                  <a:lnTo>
                    <a:pt x="9" y="57"/>
                  </a:lnTo>
                  <a:lnTo>
                    <a:pt x="9" y="55"/>
                  </a:lnTo>
                  <a:lnTo>
                    <a:pt x="10" y="56"/>
                  </a:lnTo>
                  <a:lnTo>
                    <a:pt x="12" y="55"/>
                  </a:lnTo>
                  <a:lnTo>
                    <a:pt x="15" y="56"/>
                  </a:lnTo>
                  <a:lnTo>
                    <a:pt x="16" y="56"/>
                  </a:lnTo>
                  <a:lnTo>
                    <a:pt x="16" y="55"/>
                  </a:lnTo>
                  <a:lnTo>
                    <a:pt x="14" y="53"/>
                  </a:lnTo>
                  <a:lnTo>
                    <a:pt x="12" y="53"/>
                  </a:lnTo>
                  <a:lnTo>
                    <a:pt x="12" y="51"/>
                  </a:lnTo>
                  <a:lnTo>
                    <a:pt x="13" y="49"/>
                  </a:lnTo>
                  <a:lnTo>
                    <a:pt x="14" y="48"/>
                  </a:lnTo>
                  <a:lnTo>
                    <a:pt x="12" y="47"/>
                  </a:lnTo>
                  <a:lnTo>
                    <a:pt x="10" y="48"/>
                  </a:lnTo>
                  <a:lnTo>
                    <a:pt x="8" y="48"/>
                  </a:lnTo>
                  <a:lnTo>
                    <a:pt x="6" y="47"/>
                  </a:lnTo>
                  <a:lnTo>
                    <a:pt x="5" y="49"/>
                  </a:lnTo>
                  <a:lnTo>
                    <a:pt x="4" y="47"/>
                  </a:lnTo>
                  <a:lnTo>
                    <a:pt x="3" y="44"/>
                  </a:lnTo>
                  <a:lnTo>
                    <a:pt x="3" y="42"/>
                  </a:lnTo>
                  <a:lnTo>
                    <a:pt x="3" y="40"/>
                  </a:lnTo>
                  <a:lnTo>
                    <a:pt x="4" y="38"/>
                  </a:lnTo>
                  <a:lnTo>
                    <a:pt x="5" y="35"/>
                  </a:lnTo>
                  <a:lnTo>
                    <a:pt x="5" y="33"/>
                  </a:lnTo>
                  <a:lnTo>
                    <a:pt x="6" y="31"/>
                  </a:lnTo>
                  <a:lnTo>
                    <a:pt x="6" y="29"/>
                  </a:lnTo>
                  <a:lnTo>
                    <a:pt x="7" y="32"/>
                  </a:lnTo>
                  <a:lnTo>
                    <a:pt x="8" y="33"/>
                  </a:lnTo>
                  <a:lnTo>
                    <a:pt x="9" y="34"/>
                  </a:lnTo>
                  <a:lnTo>
                    <a:pt x="11" y="34"/>
                  </a:lnTo>
                  <a:lnTo>
                    <a:pt x="13" y="35"/>
                  </a:lnTo>
                  <a:lnTo>
                    <a:pt x="14" y="34"/>
                  </a:lnTo>
                  <a:lnTo>
                    <a:pt x="14" y="32"/>
                  </a:lnTo>
                  <a:lnTo>
                    <a:pt x="14" y="32"/>
                  </a:lnTo>
                  <a:lnTo>
                    <a:pt x="15" y="32"/>
                  </a:lnTo>
                  <a:lnTo>
                    <a:pt x="16" y="35"/>
                  </a:lnTo>
                  <a:lnTo>
                    <a:pt x="16" y="37"/>
                  </a:lnTo>
                  <a:lnTo>
                    <a:pt x="18" y="36"/>
                  </a:lnTo>
                  <a:lnTo>
                    <a:pt x="20" y="36"/>
                  </a:lnTo>
                  <a:lnTo>
                    <a:pt x="21" y="35"/>
                  </a:lnTo>
                  <a:lnTo>
                    <a:pt x="23" y="36"/>
                  </a:lnTo>
                  <a:lnTo>
                    <a:pt x="24" y="36"/>
                  </a:lnTo>
                  <a:lnTo>
                    <a:pt x="24" y="35"/>
                  </a:lnTo>
                  <a:lnTo>
                    <a:pt x="23" y="34"/>
                  </a:lnTo>
                  <a:lnTo>
                    <a:pt x="23" y="32"/>
                  </a:lnTo>
                  <a:lnTo>
                    <a:pt x="24" y="32"/>
                  </a:lnTo>
                  <a:lnTo>
                    <a:pt x="25" y="33"/>
                  </a:lnTo>
                  <a:lnTo>
                    <a:pt x="26" y="34"/>
                  </a:lnTo>
                  <a:lnTo>
                    <a:pt x="28" y="33"/>
                  </a:lnTo>
                  <a:lnTo>
                    <a:pt x="29" y="32"/>
                  </a:lnTo>
                  <a:lnTo>
                    <a:pt x="29" y="31"/>
                  </a:lnTo>
                  <a:lnTo>
                    <a:pt x="28" y="28"/>
                  </a:lnTo>
                  <a:lnTo>
                    <a:pt x="26" y="26"/>
                  </a:lnTo>
                  <a:lnTo>
                    <a:pt x="23" y="23"/>
                  </a:lnTo>
                  <a:lnTo>
                    <a:pt x="21" y="22"/>
                  </a:lnTo>
                  <a:lnTo>
                    <a:pt x="20" y="19"/>
                  </a:lnTo>
                  <a:lnTo>
                    <a:pt x="20" y="17"/>
                  </a:lnTo>
                  <a:lnTo>
                    <a:pt x="19" y="15"/>
                  </a:lnTo>
                  <a:lnTo>
                    <a:pt x="19" y="14"/>
                  </a:lnTo>
                  <a:lnTo>
                    <a:pt x="19" y="12"/>
                  </a:lnTo>
                  <a:lnTo>
                    <a:pt x="18" y="11"/>
                  </a:lnTo>
                  <a:lnTo>
                    <a:pt x="15" y="10"/>
                  </a:lnTo>
                  <a:lnTo>
                    <a:pt x="11" y="11"/>
                  </a:lnTo>
                  <a:lnTo>
                    <a:pt x="9" y="11"/>
                  </a:lnTo>
                  <a:lnTo>
                    <a:pt x="6" y="12"/>
                  </a:lnTo>
                  <a:lnTo>
                    <a:pt x="5" y="14"/>
                  </a:lnTo>
                  <a:lnTo>
                    <a:pt x="5" y="17"/>
                  </a:lnTo>
                  <a:lnTo>
                    <a:pt x="5" y="18"/>
                  </a:lnTo>
                  <a:lnTo>
                    <a:pt x="5" y="20"/>
                  </a:lnTo>
                  <a:lnTo>
                    <a:pt x="5" y="24"/>
                  </a:lnTo>
                  <a:lnTo>
                    <a:pt x="5" y="26"/>
                  </a:lnTo>
                  <a:lnTo>
                    <a:pt x="5" y="28"/>
                  </a:lnTo>
                  <a:lnTo>
                    <a:pt x="3" y="23"/>
                  </a:lnTo>
                  <a:lnTo>
                    <a:pt x="1" y="21"/>
                  </a:lnTo>
                  <a:lnTo>
                    <a:pt x="2" y="20"/>
                  </a:lnTo>
                  <a:lnTo>
                    <a:pt x="1" y="18"/>
                  </a:lnTo>
                  <a:lnTo>
                    <a:pt x="0" y="17"/>
                  </a:lnTo>
                  <a:lnTo>
                    <a:pt x="3" y="13"/>
                  </a:lnTo>
                  <a:lnTo>
                    <a:pt x="8" y="9"/>
                  </a:lnTo>
                  <a:lnTo>
                    <a:pt x="16" y="7"/>
                  </a:lnTo>
                  <a:lnTo>
                    <a:pt x="21" y="6"/>
                  </a:lnTo>
                  <a:lnTo>
                    <a:pt x="24" y="8"/>
                  </a:lnTo>
                  <a:lnTo>
                    <a:pt x="29" y="11"/>
                  </a:lnTo>
                  <a:lnTo>
                    <a:pt x="32" y="14"/>
                  </a:lnTo>
                  <a:lnTo>
                    <a:pt x="33" y="18"/>
                  </a:lnTo>
                  <a:lnTo>
                    <a:pt x="38" y="24"/>
                  </a:lnTo>
                  <a:lnTo>
                    <a:pt x="40" y="26"/>
                  </a:lnTo>
                  <a:lnTo>
                    <a:pt x="43" y="25"/>
                  </a:lnTo>
                  <a:lnTo>
                    <a:pt x="45" y="25"/>
                  </a:lnTo>
                  <a:lnTo>
                    <a:pt x="46" y="25"/>
                  </a:lnTo>
                  <a:lnTo>
                    <a:pt x="52" y="25"/>
                  </a:lnTo>
                  <a:lnTo>
                    <a:pt x="60" y="25"/>
                  </a:lnTo>
                  <a:lnTo>
                    <a:pt x="61" y="22"/>
                  </a:lnTo>
                  <a:lnTo>
                    <a:pt x="59" y="19"/>
                  </a:lnTo>
                  <a:lnTo>
                    <a:pt x="59" y="14"/>
                  </a:lnTo>
                  <a:lnTo>
                    <a:pt x="62" y="11"/>
                  </a:lnTo>
                  <a:lnTo>
                    <a:pt x="65" y="9"/>
                  </a:lnTo>
                  <a:lnTo>
                    <a:pt x="69" y="9"/>
                  </a:lnTo>
                  <a:lnTo>
                    <a:pt x="71" y="8"/>
                  </a:lnTo>
                  <a:lnTo>
                    <a:pt x="72" y="5"/>
                  </a:lnTo>
                  <a:lnTo>
                    <a:pt x="72" y="4"/>
                  </a:lnTo>
                  <a:lnTo>
                    <a:pt x="74" y="4"/>
                  </a:lnTo>
                  <a:lnTo>
                    <a:pt x="78" y="7"/>
                  </a:lnTo>
                  <a:lnTo>
                    <a:pt x="77" y="4"/>
                  </a:lnTo>
                  <a:lnTo>
                    <a:pt x="75" y="2"/>
                  </a:lnTo>
                  <a:lnTo>
                    <a:pt x="78" y="0"/>
                  </a:lnTo>
                  <a:lnTo>
                    <a:pt x="80" y="0"/>
                  </a:lnTo>
                  <a:lnTo>
                    <a:pt x="82" y="1"/>
                  </a:lnTo>
                  <a:lnTo>
                    <a:pt x="86" y="4"/>
                  </a:lnTo>
                  <a:lnTo>
                    <a:pt x="88" y="4"/>
                  </a:lnTo>
                  <a:lnTo>
                    <a:pt x="89" y="6"/>
                  </a:lnTo>
                  <a:lnTo>
                    <a:pt x="93" y="7"/>
                  </a:lnTo>
                  <a:lnTo>
                    <a:pt x="96" y="8"/>
                  </a:lnTo>
                  <a:lnTo>
                    <a:pt x="98" y="10"/>
                  </a:lnTo>
                  <a:lnTo>
                    <a:pt x="98" y="11"/>
                  </a:lnTo>
                  <a:lnTo>
                    <a:pt x="98" y="13"/>
                  </a:lnTo>
                  <a:lnTo>
                    <a:pt x="101" y="15"/>
                  </a:lnTo>
                  <a:lnTo>
                    <a:pt x="100" y="17"/>
                  </a:lnTo>
                  <a:lnTo>
                    <a:pt x="99" y="18"/>
                  </a:lnTo>
                  <a:lnTo>
                    <a:pt x="101" y="20"/>
                  </a:lnTo>
                  <a:lnTo>
                    <a:pt x="100" y="21"/>
                  </a:lnTo>
                  <a:lnTo>
                    <a:pt x="99" y="23"/>
                  </a:lnTo>
                  <a:lnTo>
                    <a:pt x="103" y="25"/>
                  </a:lnTo>
                  <a:lnTo>
                    <a:pt x="105" y="27"/>
                  </a:lnTo>
                  <a:lnTo>
                    <a:pt x="108" y="26"/>
                  </a:lnTo>
                  <a:lnTo>
                    <a:pt x="111" y="26"/>
                  </a:lnTo>
                  <a:lnTo>
                    <a:pt x="114" y="27"/>
                  </a:lnTo>
                  <a:lnTo>
                    <a:pt x="116" y="26"/>
                  </a:lnTo>
                  <a:lnTo>
                    <a:pt x="117" y="25"/>
                  </a:lnTo>
                  <a:lnTo>
                    <a:pt x="123" y="27"/>
                  </a:lnTo>
                  <a:lnTo>
                    <a:pt x="124" y="30"/>
                  </a:lnTo>
                  <a:lnTo>
                    <a:pt x="125" y="34"/>
                  </a:lnTo>
                  <a:lnTo>
                    <a:pt x="127" y="39"/>
                  </a:lnTo>
                  <a:lnTo>
                    <a:pt x="129" y="40"/>
                  </a:lnTo>
                  <a:lnTo>
                    <a:pt x="130" y="44"/>
                  </a:lnTo>
                  <a:lnTo>
                    <a:pt x="130" y="46"/>
                  </a:lnTo>
                  <a:lnTo>
                    <a:pt x="138" y="53"/>
                  </a:lnTo>
                  <a:lnTo>
                    <a:pt x="145" y="58"/>
                  </a:lnTo>
                  <a:lnTo>
                    <a:pt x="147" y="61"/>
                  </a:lnTo>
                  <a:lnTo>
                    <a:pt x="153" y="65"/>
                  </a:lnTo>
                  <a:lnTo>
                    <a:pt x="155" y="65"/>
                  </a:lnTo>
                  <a:lnTo>
                    <a:pt x="161" y="69"/>
                  </a:lnTo>
                  <a:lnTo>
                    <a:pt x="164" y="71"/>
                  </a:lnTo>
                  <a:lnTo>
                    <a:pt x="171" y="75"/>
                  </a:lnTo>
                  <a:lnTo>
                    <a:pt x="173" y="77"/>
                  </a:lnTo>
                  <a:lnTo>
                    <a:pt x="176" y="77"/>
                  </a:lnTo>
                  <a:lnTo>
                    <a:pt x="179" y="78"/>
                  </a:lnTo>
                  <a:lnTo>
                    <a:pt x="182" y="80"/>
                  </a:lnTo>
                  <a:lnTo>
                    <a:pt x="185" y="81"/>
                  </a:lnTo>
                  <a:lnTo>
                    <a:pt x="185" y="83"/>
                  </a:lnTo>
                  <a:lnTo>
                    <a:pt x="184" y="85"/>
                  </a:lnTo>
                  <a:lnTo>
                    <a:pt x="184" y="88"/>
                  </a:lnTo>
                  <a:lnTo>
                    <a:pt x="183" y="94"/>
                  </a:lnTo>
                  <a:lnTo>
                    <a:pt x="175" y="92"/>
                  </a:lnTo>
                  <a:lnTo>
                    <a:pt x="171" y="89"/>
                  </a:lnTo>
                  <a:lnTo>
                    <a:pt x="169" y="92"/>
                  </a:lnTo>
                  <a:lnTo>
                    <a:pt x="167" y="94"/>
                  </a:lnTo>
                  <a:lnTo>
                    <a:pt x="160" y="95"/>
                  </a:lnTo>
                  <a:lnTo>
                    <a:pt x="157" y="101"/>
                  </a:lnTo>
                  <a:lnTo>
                    <a:pt x="156" y="108"/>
                  </a:lnTo>
                  <a:lnTo>
                    <a:pt x="156" y="109"/>
                  </a:lnTo>
                  <a:lnTo>
                    <a:pt x="153" y="111"/>
                  </a:lnTo>
                  <a:lnTo>
                    <a:pt x="141" y="116"/>
                  </a:lnTo>
                  <a:lnTo>
                    <a:pt x="138" y="117"/>
                  </a:lnTo>
                  <a:lnTo>
                    <a:pt x="137" y="119"/>
                  </a:lnTo>
                  <a:lnTo>
                    <a:pt x="137" y="122"/>
                  </a:lnTo>
                  <a:lnTo>
                    <a:pt x="135" y="124"/>
                  </a:lnTo>
                  <a:lnTo>
                    <a:pt x="132" y="126"/>
                  </a:lnTo>
                  <a:lnTo>
                    <a:pt x="129" y="126"/>
                  </a:lnTo>
                  <a:lnTo>
                    <a:pt x="125" y="125"/>
                  </a:lnTo>
                  <a:lnTo>
                    <a:pt x="119" y="123"/>
                  </a:lnTo>
                  <a:lnTo>
                    <a:pt x="114" y="121"/>
                  </a:lnTo>
                  <a:lnTo>
                    <a:pt x="113" y="12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7" name="Freeform 119">
              <a:extLst>
                <a:ext uri="{FF2B5EF4-FFF2-40B4-BE49-F238E27FC236}">
                  <a16:creationId xmlns:a16="http://schemas.microsoft.com/office/drawing/2014/main" id="{99FBCB1A-0D1C-7AC7-4B20-3BD156563E89}"/>
                </a:ext>
              </a:extLst>
            </p:cNvPr>
            <p:cNvSpPr>
              <a:spLocks noEditPoints="1"/>
            </p:cNvSpPr>
            <p:nvPr/>
          </p:nvSpPr>
          <p:spPr bwMode="auto">
            <a:xfrm>
              <a:off x="5528846" y="5332413"/>
              <a:ext cx="255588" cy="285750"/>
            </a:xfrm>
            <a:custGeom>
              <a:avLst/>
              <a:gdLst/>
              <a:ahLst/>
              <a:cxnLst>
                <a:cxn ang="0">
                  <a:pos x="10" y="1"/>
                </a:cxn>
                <a:cxn ang="0">
                  <a:pos x="13" y="7"/>
                </a:cxn>
                <a:cxn ang="0">
                  <a:pos x="10" y="14"/>
                </a:cxn>
                <a:cxn ang="0">
                  <a:pos x="6" y="12"/>
                </a:cxn>
                <a:cxn ang="0">
                  <a:pos x="7" y="22"/>
                </a:cxn>
                <a:cxn ang="0">
                  <a:pos x="15" y="20"/>
                </a:cxn>
                <a:cxn ang="0">
                  <a:pos x="25" y="19"/>
                </a:cxn>
                <a:cxn ang="0">
                  <a:pos x="43" y="19"/>
                </a:cxn>
                <a:cxn ang="0">
                  <a:pos x="58" y="19"/>
                </a:cxn>
                <a:cxn ang="0">
                  <a:pos x="63" y="20"/>
                </a:cxn>
                <a:cxn ang="0">
                  <a:pos x="67" y="35"/>
                </a:cxn>
                <a:cxn ang="0">
                  <a:pos x="76" y="47"/>
                </a:cxn>
                <a:cxn ang="0">
                  <a:pos x="92" y="46"/>
                </a:cxn>
                <a:cxn ang="0">
                  <a:pos x="101" y="38"/>
                </a:cxn>
                <a:cxn ang="0">
                  <a:pos x="102" y="33"/>
                </a:cxn>
                <a:cxn ang="0">
                  <a:pos x="115" y="37"/>
                </a:cxn>
                <a:cxn ang="0">
                  <a:pos x="128" y="37"/>
                </a:cxn>
                <a:cxn ang="0">
                  <a:pos x="129" y="43"/>
                </a:cxn>
                <a:cxn ang="0">
                  <a:pos x="131" y="52"/>
                </a:cxn>
                <a:cxn ang="0">
                  <a:pos x="130" y="65"/>
                </a:cxn>
                <a:cxn ang="0">
                  <a:pos x="137" y="77"/>
                </a:cxn>
                <a:cxn ang="0">
                  <a:pos x="136" y="86"/>
                </a:cxn>
                <a:cxn ang="0">
                  <a:pos x="146" y="86"/>
                </a:cxn>
                <a:cxn ang="0">
                  <a:pos x="157" y="94"/>
                </a:cxn>
                <a:cxn ang="0">
                  <a:pos x="161" y="104"/>
                </a:cxn>
                <a:cxn ang="0">
                  <a:pos x="157" y="112"/>
                </a:cxn>
                <a:cxn ang="0">
                  <a:pos x="133" y="113"/>
                </a:cxn>
                <a:cxn ang="0">
                  <a:pos x="133" y="146"/>
                </a:cxn>
                <a:cxn ang="0">
                  <a:pos x="133" y="158"/>
                </a:cxn>
                <a:cxn ang="0">
                  <a:pos x="146" y="171"/>
                </a:cxn>
                <a:cxn ang="0">
                  <a:pos x="132" y="179"/>
                </a:cxn>
                <a:cxn ang="0">
                  <a:pos x="115" y="180"/>
                </a:cxn>
                <a:cxn ang="0">
                  <a:pos x="99" y="178"/>
                </a:cxn>
                <a:cxn ang="0">
                  <a:pos x="89" y="175"/>
                </a:cxn>
                <a:cxn ang="0">
                  <a:pos x="79" y="172"/>
                </a:cxn>
                <a:cxn ang="0">
                  <a:pos x="50" y="172"/>
                </a:cxn>
                <a:cxn ang="0">
                  <a:pos x="26" y="171"/>
                </a:cxn>
                <a:cxn ang="0">
                  <a:pos x="19" y="166"/>
                </a:cxn>
                <a:cxn ang="0">
                  <a:pos x="8" y="172"/>
                </a:cxn>
                <a:cxn ang="0">
                  <a:pos x="0" y="171"/>
                </a:cxn>
                <a:cxn ang="0">
                  <a:pos x="0" y="151"/>
                </a:cxn>
                <a:cxn ang="0">
                  <a:pos x="5" y="143"/>
                </a:cxn>
                <a:cxn ang="0">
                  <a:pos x="8" y="124"/>
                </a:cxn>
                <a:cxn ang="0">
                  <a:pos x="15" y="111"/>
                </a:cxn>
                <a:cxn ang="0">
                  <a:pos x="22" y="105"/>
                </a:cxn>
                <a:cxn ang="0">
                  <a:pos x="27" y="90"/>
                </a:cxn>
                <a:cxn ang="0">
                  <a:pos x="24" y="76"/>
                </a:cxn>
                <a:cxn ang="0">
                  <a:pos x="17" y="62"/>
                </a:cxn>
                <a:cxn ang="0">
                  <a:pos x="21" y="56"/>
                </a:cxn>
                <a:cxn ang="0">
                  <a:pos x="21" y="47"/>
                </a:cxn>
                <a:cxn ang="0">
                  <a:pos x="14" y="33"/>
                </a:cxn>
                <a:cxn ang="0">
                  <a:pos x="7" y="23"/>
                </a:cxn>
              </a:cxnLst>
              <a:rect l="0" t="0" r="r" b="b"/>
              <a:pathLst>
                <a:path w="161" h="180">
                  <a:moveTo>
                    <a:pt x="3" y="6"/>
                  </a:moveTo>
                  <a:lnTo>
                    <a:pt x="6" y="4"/>
                  </a:lnTo>
                  <a:lnTo>
                    <a:pt x="10" y="1"/>
                  </a:lnTo>
                  <a:lnTo>
                    <a:pt x="12" y="0"/>
                  </a:lnTo>
                  <a:lnTo>
                    <a:pt x="16" y="3"/>
                  </a:lnTo>
                  <a:lnTo>
                    <a:pt x="13" y="7"/>
                  </a:lnTo>
                  <a:lnTo>
                    <a:pt x="11" y="8"/>
                  </a:lnTo>
                  <a:lnTo>
                    <a:pt x="10" y="8"/>
                  </a:lnTo>
                  <a:lnTo>
                    <a:pt x="10" y="14"/>
                  </a:lnTo>
                  <a:lnTo>
                    <a:pt x="10" y="14"/>
                  </a:lnTo>
                  <a:lnTo>
                    <a:pt x="5" y="16"/>
                  </a:lnTo>
                  <a:lnTo>
                    <a:pt x="6" y="12"/>
                  </a:lnTo>
                  <a:lnTo>
                    <a:pt x="5" y="11"/>
                  </a:lnTo>
                  <a:lnTo>
                    <a:pt x="3" y="6"/>
                  </a:lnTo>
                  <a:close/>
                  <a:moveTo>
                    <a:pt x="7" y="22"/>
                  </a:moveTo>
                  <a:lnTo>
                    <a:pt x="8" y="22"/>
                  </a:lnTo>
                  <a:lnTo>
                    <a:pt x="11" y="22"/>
                  </a:lnTo>
                  <a:lnTo>
                    <a:pt x="15" y="20"/>
                  </a:lnTo>
                  <a:lnTo>
                    <a:pt x="20" y="19"/>
                  </a:lnTo>
                  <a:lnTo>
                    <a:pt x="22" y="19"/>
                  </a:lnTo>
                  <a:lnTo>
                    <a:pt x="25" y="19"/>
                  </a:lnTo>
                  <a:lnTo>
                    <a:pt x="29" y="18"/>
                  </a:lnTo>
                  <a:lnTo>
                    <a:pt x="35" y="19"/>
                  </a:lnTo>
                  <a:lnTo>
                    <a:pt x="43" y="19"/>
                  </a:lnTo>
                  <a:lnTo>
                    <a:pt x="46" y="19"/>
                  </a:lnTo>
                  <a:lnTo>
                    <a:pt x="52" y="19"/>
                  </a:lnTo>
                  <a:lnTo>
                    <a:pt x="58" y="19"/>
                  </a:lnTo>
                  <a:lnTo>
                    <a:pt x="60" y="19"/>
                  </a:lnTo>
                  <a:lnTo>
                    <a:pt x="62" y="19"/>
                  </a:lnTo>
                  <a:lnTo>
                    <a:pt x="63" y="20"/>
                  </a:lnTo>
                  <a:lnTo>
                    <a:pt x="63" y="23"/>
                  </a:lnTo>
                  <a:lnTo>
                    <a:pt x="64" y="27"/>
                  </a:lnTo>
                  <a:lnTo>
                    <a:pt x="67" y="35"/>
                  </a:lnTo>
                  <a:lnTo>
                    <a:pt x="70" y="41"/>
                  </a:lnTo>
                  <a:lnTo>
                    <a:pt x="74" y="46"/>
                  </a:lnTo>
                  <a:lnTo>
                    <a:pt x="76" y="47"/>
                  </a:lnTo>
                  <a:lnTo>
                    <a:pt x="81" y="47"/>
                  </a:lnTo>
                  <a:lnTo>
                    <a:pt x="87" y="46"/>
                  </a:lnTo>
                  <a:lnTo>
                    <a:pt x="92" y="46"/>
                  </a:lnTo>
                  <a:lnTo>
                    <a:pt x="98" y="46"/>
                  </a:lnTo>
                  <a:lnTo>
                    <a:pt x="99" y="44"/>
                  </a:lnTo>
                  <a:lnTo>
                    <a:pt x="101" y="38"/>
                  </a:lnTo>
                  <a:lnTo>
                    <a:pt x="101" y="35"/>
                  </a:lnTo>
                  <a:lnTo>
                    <a:pt x="101" y="33"/>
                  </a:lnTo>
                  <a:lnTo>
                    <a:pt x="102" y="33"/>
                  </a:lnTo>
                  <a:lnTo>
                    <a:pt x="114" y="32"/>
                  </a:lnTo>
                  <a:lnTo>
                    <a:pt x="115" y="34"/>
                  </a:lnTo>
                  <a:lnTo>
                    <a:pt x="115" y="37"/>
                  </a:lnTo>
                  <a:lnTo>
                    <a:pt x="116" y="37"/>
                  </a:lnTo>
                  <a:lnTo>
                    <a:pt x="121" y="37"/>
                  </a:lnTo>
                  <a:lnTo>
                    <a:pt x="128" y="37"/>
                  </a:lnTo>
                  <a:lnTo>
                    <a:pt x="130" y="37"/>
                  </a:lnTo>
                  <a:lnTo>
                    <a:pt x="130" y="38"/>
                  </a:lnTo>
                  <a:lnTo>
                    <a:pt x="129" y="43"/>
                  </a:lnTo>
                  <a:lnTo>
                    <a:pt x="129" y="45"/>
                  </a:lnTo>
                  <a:lnTo>
                    <a:pt x="131" y="48"/>
                  </a:lnTo>
                  <a:lnTo>
                    <a:pt x="131" y="52"/>
                  </a:lnTo>
                  <a:lnTo>
                    <a:pt x="131" y="58"/>
                  </a:lnTo>
                  <a:lnTo>
                    <a:pt x="129" y="64"/>
                  </a:lnTo>
                  <a:lnTo>
                    <a:pt x="130" y="65"/>
                  </a:lnTo>
                  <a:lnTo>
                    <a:pt x="130" y="67"/>
                  </a:lnTo>
                  <a:lnTo>
                    <a:pt x="135" y="73"/>
                  </a:lnTo>
                  <a:lnTo>
                    <a:pt x="137" y="77"/>
                  </a:lnTo>
                  <a:lnTo>
                    <a:pt x="137" y="79"/>
                  </a:lnTo>
                  <a:lnTo>
                    <a:pt x="136" y="85"/>
                  </a:lnTo>
                  <a:lnTo>
                    <a:pt x="136" y="86"/>
                  </a:lnTo>
                  <a:lnTo>
                    <a:pt x="137" y="88"/>
                  </a:lnTo>
                  <a:lnTo>
                    <a:pt x="140" y="88"/>
                  </a:lnTo>
                  <a:lnTo>
                    <a:pt x="146" y="86"/>
                  </a:lnTo>
                  <a:lnTo>
                    <a:pt x="151" y="85"/>
                  </a:lnTo>
                  <a:lnTo>
                    <a:pt x="159" y="86"/>
                  </a:lnTo>
                  <a:lnTo>
                    <a:pt x="157" y="94"/>
                  </a:lnTo>
                  <a:lnTo>
                    <a:pt x="158" y="100"/>
                  </a:lnTo>
                  <a:lnTo>
                    <a:pt x="160" y="102"/>
                  </a:lnTo>
                  <a:lnTo>
                    <a:pt x="161" y="104"/>
                  </a:lnTo>
                  <a:lnTo>
                    <a:pt x="160" y="106"/>
                  </a:lnTo>
                  <a:lnTo>
                    <a:pt x="157" y="109"/>
                  </a:lnTo>
                  <a:lnTo>
                    <a:pt x="157" y="112"/>
                  </a:lnTo>
                  <a:lnTo>
                    <a:pt x="156" y="113"/>
                  </a:lnTo>
                  <a:lnTo>
                    <a:pt x="153" y="112"/>
                  </a:lnTo>
                  <a:lnTo>
                    <a:pt x="133" y="113"/>
                  </a:lnTo>
                  <a:lnTo>
                    <a:pt x="133" y="118"/>
                  </a:lnTo>
                  <a:lnTo>
                    <a:pt x="133" y="127"/>
                  </a:lnTo>
                  <a:lnTo>
                    <a:pt x="133" y="146"/>
                  </a:lnTo>
                  <a:lnTo>
                    <a:pt x="133" y="151"/>
                  </a:lnTo>
                  <a:lnTo>
                    <a:pt x="133" y="155"/>
                  </a:lnTo>
                  <a:lnTo>
                    <a:pt x="133" y="158"/>
                  </a:lnTo>
                  <a:lnTo>
                    <a:pt x="135" y="160"/>
                  </a:lnTo>
                  <a:lnTo>
                    <a:pt x="138" y="163"/>
                  </a:lnTo>
                  <a:lnTo>
                    <a:pt x="146" y="171"/>
                  </a:lnTo>
                  <a:lnTo>
                    <a:pt x="149" y="175"/>
                  </a:lnTo>
                  <a:lnTo>
                    <a:pt x="144" y="176"/>
                  </a:lnTo>
                  <a:lnTo>
                    <a:pt x="132" y="179"/>
                  </a:lnTo>
                  <a:lnTo>
                    <a:pt x="126" y="180"/>
                  </a:lnTo>
                  <a:lnTo>
                    <a:pt x="122" y="180"/>
                  </a:lnTo>
                  <a:lnTo>
                    <a:pt x="115" y="180"/>
                  </a:lnTo>
                  <a:lnTo>
                    <a:pt x="113" y="179"/>
                  </a:lnTo>
                  <a:lnTo>
                    <a:pt x="111" y="178"/>
                  </a:lnTo>
                  <a:lnTo>
                    <a:pt x="99" y="178"/>
                  </a:lnTo>
                  <a:lnTo>
                    <a:pt x="95" y="178"/>
                  </a:lnTo>
                  <a:lnTo>
                    <a:pt x="91" y="177"/>
                  </a:lnTo>
                  <a:lnTo>
                    <a:pt x="89" y="175"/>
                  </a:lnTo>
                  <a:lnTo>
                    <a:pt x="87" y="173"/>
                  </a:lnTo>
                  <a:lnTo>
                    <a:pt x="85" y="172"/>
                  </a:lnTo>
                  <a:lnTo>
                    <a:pt x="79" y="172"/>
                  </a:lnTo>
                  <a:lnTo>
                    <a:pt x="64" y="172"/>
                  </a:lnTo>
                  <a:lnTo>
                    <a:pt x="54" y="172"/>
                  </a:lnTo>
                  <a:lnTo>
                    <a:pt x="50" y="172"/>
                  </a:lnTo>
                  <a:lnTo>
                    <a:pt x="43" y="172"/>
                  </a:lnTo>
                  <a:lnTo>
                    <a:pt x="29" y="172"/>
                  </a:lnTo>
                  <a:lnTo>
                    <a:pt x="26" y="171"/>
                  </a:lnTo>
                  <a:lnTo>
                    <a:pt x="23" y="169"/>
                  </a:lnTo>
                  <a:lnTo>
                    <a:pt x="20" y="167"/>
                  </a:lnTo>
                  <a:lnTo>
                    <a:pt x="19" y="166"/>
                  </a:lnTo>
                  <a:lnTo>
                    <a:pt x="16" y="167"/>
                  </a:lnTo>
                  <a:lnTo>
                    <a:pt x="12" y="168"/>
                  </a:lnTo>
                  <a:lnTo>
                    <a:pt x="8" y="172"/>
                  </a:lnTo>
                  <a:lnTo>
                    <a:pt x="3" y="169"/>
                  </a:lnTo>
                  <a:lnTo>
                    <a:pt x="1" y="170"/>
                  </a:lnTo>
                  <a:lnTo>
                    <a:pt x="0" y="171"/>
                  </a:lnTo>
                  <a:lnTo>
                    <a:pt x="0" y="160"/>
                  </a:lnTo>
                  <a:lnTo>
                    <a:pt x="0" y="155"/>
                  </a:lnTo>
                  <a:lnTo>
                    <a:pt x="0" y="151"/>
                  </a:lnTo>
                  <a:lnTo>
                    <a:pt x="2" y="149"/>
                  </a:lnTo>
                  <a:lnTo>
                    <a:pt x="4" y="147"/>
                  </a:lnTo>
                  <a:lnTo>
                    <a:pt x="5" y="143"/>
                  </a:lnTo>
                  <a:lnTo>
                    <a:pt x="6" y="138"/>
                  </a:lnTo>
                  <a:lnTo>
                    <a:pt x="7" y="130"/>
                  </a:lnTo>
                  <a:lnTo>
                    <a:pt x="8" y="124"/>
                  </a:lnTo>
                  <a:lnTo>
                    <a:pt x="10" y="118"/>
                  </a:lnTo>
                  <a:lnTo>
                    <a:pt x="14" y="114"/>
                  </a:lnTo>
                  <a:lnTo>
                    <a:pt x="15" y="111"/>
                  </a:lnTo>
                  <a:lnTo>
                    <a:pt x="16" y="109"/>
                  </a:lnTo>
                  <a:lnTo>
                    <a:pt x="20" y="107"/>
                  </a:lnTo>
                  <a:lnTo>
                    <a:pt x="22" y="105"/>
                  </a:lnTo>
                  <a:lnTo>
                    <a:pt x="24" y="101"/>
                  </a:lnTo>
                  <a:lnTo>
                    <a:pt x="26" y="94"/>
                  </a:lnTo>
                  <a:lnTo>
                    <a:pt x="27" y="90"/>
                  </a:lnTo>
                  <a:lnTo>
                    <a:pt x="26" y="85"/>
                  </a:lnTo>
                  <a:lnTo>
                    <a:pt x="25" y="79"/>
                  </a:lnTo>
                  <a:lnTo>
                    <a:pt x="24" y="76"/>
                  </a:lnTo>
                  <a:lnTo>
                    <a:pt x="21" y="72"/>
                  </a:lnTo>
                  <a:lnTo>
                    <a:pt x="18" y="67"/>
                  </a:lnTo>
                  <a:lnTo>
                    <a:pt x="17" y="62"/>
                  </a:lnTo>
                  <a:lnTo>
                    <a:pt x="17" y="60"/>
                  </a:lnTo>
                  <a:lnTo>
                    <a:pt x="20" y="57"/>
                  </a:lnTo>
                  <a:lnTo>
                    <a:pt x="21" y="56"/>
                  </a:lnTo>
                  <a:lnTo>
                    <a:pt x="22" y="54"/>
                  </a:lnTo>
                  <a:lnTo>
                    <a:pt x="22" y="51"/>
                  </a:lnTo>
                  <a:lnTo>
                    <a:pt x="21" y="47"/>
                  </a:lnTo>
                  <a:lnTo>
                    <a:pt x="18" y="44"/>
                  </a:lnTo>
                  <a:lnTo>
                    <a:pt x="15" y="39"/>
                  </a:lnTo>
                  <a:lnTo>
                    <a:pt x="14" y="33"/>
                  </a:lnTo>
                  <a:lnTo>
                    <a:pt x="13" y="31"/>
                  </a:lnTo>
                  <a:lnTo>
                    <a:pt x="11" y="28"/>
                  </a:lnTo>
                  <a:lnTo>
                    <a:pt x="7" y="23"/>
                  </a:lnTo>
                  <a:lnTo>
                    <a:pt x="7" y="2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8" name="Freeform 120">
              <a:extLst>
                <a:ext uri="{FF2B5EF4-FFF2-40B4-BE49-F238E27FC236}">
                  <a16:creationId xmlns:a16="http://schemas.microsoft.com/office/drawing/2014/main" id="{2D75AB49-B64C-231B-283B-BCB113193896}"/>
                </a:ext>
              </a:extLst>
            </p:cNvPr>
            <p:cNvSpPr>
              <a:spLocks/>
            </p:cNvSpPr>
            <p:nvPr/>
          </p:nvSpPr>
          <p:spPr bwMode="auto">
            <a:xfrm>
              <a:off x="6448009" y="4173538"/>
              <a:ext cx="355600" cy="238125"/>
            </a:xfrm>
            <a:custGeom>
              <a:avLst/>
              <a:gdLst/>
              <a:ahLst/>
              <a:cxnLst>
                <a:cxn ang="0">
                  <a:pos x="142" y="146"/>
                </a:cxn>
                <a:cxn ang="0">
                  <a:pos x="138" y="137"/>
                </a:cxn>
                <a:cxn ang="0">
                  <a:pos x="133" y="130"/>
                </a:cxn>
                <a:cxn ang="0">
                  <a:pos x="118" y="123"/>
                </a:cxn>
                <a:cxn ang="0">
                  <a:pos x="101" y="113"/>
                </a:cxn>
                <a:cxn ang="0">
                  <a:pos x="84" y="96"/>
                </a:cxn>
                <a:cxn ang="0">
                  <a:pos x="78" y="82"/>
                </a:cxn>
                <a:cxn ang="0">
                  <a:pos x="68" y="79"/>
                </a:cxn>
                <a:cxn ang="0">
                  <a:pos x="57" y="77"/>
                </a:cxn>
                <a:cxn ang="0">
                  <a:pos x="53" y="70"/>
                </a:cxn>
                <a:cxn ang="0">
                  <a:pos x="52" y="63"/>
                </a:cxn>
                <a:cxn ang="0">
                  <a:pos x="43" y="58"/>
                </a:cxn>
                <a:cxn ang="0">
                  <a:pos x="34" y="52"/>
                </a:cxn>
                <a:cxn ang="0">
                  <a:pos x="32" y="59"/>
                </a:cxn>
                <a:cxn ang="0">
                  <a:pos x="25" y="60"/>
                </a:cxn>
                <a:cxn ang="0">
                  <a:pos x="13" y="66"/>
                </a:cxn>
                <a:cxn ang="0">
                  <a:pos x="6" y="77"/>
                </a:cxn>
                <a:cxn ang="0">
                  <a:pos x="67" y="25"/>
                </a:cxn>
                <a:cxn ang="0">
                  <a:pos x="117" y="34"/>
                </a:cxn>
                <a:cxn ang="0">
                  <a:pos x="132" y="47"/>
                </a:cxn>
                <a:cxn ang="0">
                  <a:pos x="137" y="65"/>
                </a:cxn>
                <a:cxn ang="0">
                  <a:pos x="148" y="80"/>
                </a:cxn>
                <a:cxn ang="0">
                  <a:pos x="158" y="84"/>
                </a:cxn>
                <a:cxn ang="0">
                  <a:pos x="165" y="87"/>
                </a:cxn>
                <a:cxn ang="0">
                  <a:pos x="171" y="75"/>
                </a:cxn>
                <a:cxn ang="0">
                  <a:pos x="186" y="66"/>
                </a:cxn>
                <a:cxn ang="0">
                  <a:pos x="193" y="61"/>
                </a:cxn>
                <a:cxn ang="0">
                  <a:pos x="197" y="63"/>
                </a:cxn>
                <a:cxn ang="0">
                  <a:pos x="192" y="66"/>
                </a:cxn>
                <a:cxn ang="0">
                  <a:pos x="185" y="72"/>
                </a:cxn>
                <a:cxn ang="0">
                  <a:pos x="190" y="75"/>
                </a:cxn>
                <a:cxn ang="0">
                  <a:pos x="196" y="80"/>
                </a:cxn>
                <a:cxn ang="0">
                  <a:pos x="203" y="77"/>
                </a:cxn>
                <a:cxn ang="0">
                  <a:pos x="207" y="75"/>
                </a:cxn>
                <a:cxn ang="0">
                  <a:pos x="211" y="79"/>
                </a:cxn>
                <a:cxn ang="0">
                  <a:pos x="216" y="83"/>
                </a:cxn>
                <a:cxn ang="0">
                  <a:pos x="224" y="86"/>
                </a:cxn>
                <a:cxn ang="0">
                  <a:pos x="216" y="90"/>
                </a:cxn>
                <a:cxn ang="0">
                  <a:pos x="213" y="92"/>
                </a:cxn>
                <a:cxn ang="0">
                  <a:pos x="207" y="95"/>
                </a:cxn>
                <a:cxn ang="0">
                  <a:pos x="200" y="94"/>
                </a:cxn>
                <a:cxn ang="0">
                  <a:pos x="196" y="95"/>
                </a:cxn>
                <a:cxn ang="0">
                  <a:pos x="188" y="93"/>
                </a:cxn>
                <a:cxn ang="0">
                  <a:pos x="193" y="86"/>
                </a:cxn>
                <a:cxn ang="0">
                  <a:pos x="185" y="86"/>
                </a:cxn>
                <a:cxn ang="0">
                  <a:pos x="176" y="86"/>
                </a:cxn>
                <a:cxn ang="0">
                  <a:pos x="174" y="92"/>
                </a:cxn>
                <a:cxn ang="0">
                  <a:pos x="167" y="96"/>
                </a:cxn>
                <a:cxn ang="0">
                  <a:pos x="170" y="98"/>
                </a:cxn>
                <a:cxn ang="0">
                  <a:pos x="166" y="102"/>
                </a:cxn>
                <a:cxn ang="0">
                  <a:pos x="156" y="107"/>
                </a:cxn>
                <a:cxn ang="0">
                  <a:pos x="151" y="113"/>
                </a:cxn>
                <a:cxn ang="0">
                  <a:pos x="158" y="116"/>
                </a:cxn>
                <a:cxn ang="0">
                  <a:pos x="158" y="126"/>
                </a:cxn>
                <a:cxn ang="0">
                  <a:pos x="158" y="135"/>
                </a:cxn>
                <a:cxn ang="0">
                  <a:pos x="152" y="150"/>
                </a:cxn>
              </a:cxnLst>
              <a:rect l="0" t="0" r="r" b="b"/>
              <a:pathLst>
                <a:path w="224" h="150">
                  <a:moveTo>
                    <a:pt x="152" y="150"/>
                  </a:moveTo>
                  <a:lnTo>
                    <a:pt x="151" y="147"/>
                  </a:lnTo>
                  <a:lnTo>
                    <a:pt x="149" y="146"/>
                  </a:lnTo>
                  <a:lnTo>
                    <a:pt x="142" y="146"/>
                  </a:lnTo>
                  <a:lnTo>
                    <a:pt x="138" y="146"/>
                  </a:lnTo>
                  <a:lnTo>
                    <a:pt x="137" y="146"/>
                  </a:lnTo>
                  <a:lnTo>
                    <a:pt x="138" y="140"/>
                  </a:lnTo>
                  <a:lnTo>
                    <a:pt x="138" y="137"/>
                  </a:lnTo>
                  <a:lnTo>
                    <a:pt x="139" y="135"/>
                  </a:lnTo>
                  <a:lnTo>
                    <a:pt x="139" y="133"/>
                  </a:lnTo>
                  <a:lnTo>
                    <a:pt x="136" y="132"/>
                  </a:lnTo>
                  <a:lnTo>
                    <a:pt x="133" y="130"/>
                  </a:lnTo>
                  <a:lnTo>
                    <a:pt x="130" y="129"/>
                  </a:lnTo>
                  <a:lnTo>
                    <a:pt x="127" y="129"/>
                  </a:lnTo>
                  <a:lnTo>
                    <a:pt x="125" y="127"/>
                  </a:lnTo>
                  <a:lnTo>
                    <a:pt x="118" y="123"/>
                  </a:lnTo>
                  <a:lnTo>
                    <a:pt x="115" y="121"/>
                  </a:lnTo>
                  <a:lnTo>
                    <a:pt x="109" y="117"/>
                  </a:lnTo>
                  <a:lnTo>
                    <a:pt x="107" y="117"/>
                  </a:lnTo>
                  <a:lnTo>
                    <a:pt x="101" y="113"/>
                  </a:lnTo>
                  <a:lnTo>
                    <a:pt x="99" y="110"/>
                  </a:lnTo>
                  <a:lnTo>
                    <a:pt x="92" y="105"/>
                  </a:lnTo>
                  <a:lnTo>
                    <a:pt x="84" y="98"/>
                  </a:lnTo>
                  <a:lnTo>
                    <a:pt x="84" y="96"/>
                  </a:lnTo>
                  <a:lnTo>
                    <a:pt x="83" y="92"/>
                  </a:lnTo>
                  <a:lnTo>
                    <a:pt x="81" y="91"/>
                  </a:lnTo>
                  <a:lnTo>
                    <a:pt x="79" y="86"/>
                  </a:lnTo>
                  <a:lnTo>
                    <a:pt x="78" y="82"/>
                  </a:lnTo>
                  <a:lnTo>
                    <a:pt x="77" y="79"/>
                  </a:lnTo>
                  <a:lnTo>
                    <a:pt x="71" y="77"/>
                  </a:lnTo>
                  <a:lnTo>
                    <a:pt x="70" y="78"/>
                  </a:lnTo>
                  <a:lnTo>
                    <a:pt x="68" y="79"/>
                  </a:lnTo>
                  <a:lnTo>
                    <a:pt x="65" y="78"/>
                  </a:lnTo>
                  <a:lnTo>
                    <a:pt x="62" y="78"/>
                  </a:lnTo>
                  <a:lnTo>
                    <a:pt x="59" y="79"/>
                  </a:lnTo>
                  <a:lnTo>
                    <a:pt x="57" y="77"/>
                  </a:lnTo>
                  <a:lnTo>
                    <a:pt x="53" y="75"/>
                  </a:lnTo>
                  <a:lnTo>
                    <a:pt x="54" y="73"/>
                  </a:lnTo>
                  <a:lnTo>
                    <a:pt x="55" y="72"/>
                  </a:lnTo>
                  <a:lnTo>
                    <a:pt x="53" y="70"/>
                  </a:lnTo>
                  <a:lnTo>
                    <a:pt x="54" y="69"/>
                  </a:lnTo>
                  <a:lnTo>
                    <a:pt x="55" y="67"/>
                  </a:lnTo>
                  <a:lnTo>
                    <a:pt x="52" y="65"/>
                  </a:lnTo>
                  <a:lnTo>
                    <a:pt x="52" y="63"/>
                  </a:lnTo>
                  <a:lnTo>
                    <a:pt x="52" y="62"/>
                  </a:lnTo>
                  <a:lnTo>
                    <a:pt x="50" y="60"/>
                  </a:lnTo>
                  <a:lnTo>
                    <a:pt x="47" y="59"/>
                  </a:lnTo>
                  <a:lnTo>
                    <a:pt x="43" y="58"/>
                  </a:lnTo>
                  <a:lnTo>
                    <a:pt x="42" y="56"/>
                  </a:lnTo>
                  <a:lnTo>
                    <a:pt x="40" y="56"/>
                  </a:lnTo>
                  <a:lnTo>
                    <a:pt x="36" y="53"/>
                  </a:lnTo>
                  <a:lnTo>
                    <a:pt x="34" y="52"/>
                  </a:lnTo>
                  <a:lnTo>
                    <a:pt x="32" y="52"/>
                  </a:lnTo>
                  <a:lnTo>
                    <a:pt x="29" y="54"/>
                  </a:lnTo>
                  <a:lnTo>
                    <a:pt x="31" y="56"/>
                  </a:lnTo>
                  <a:lnTo>
                    <a:pt x="32" y="59"/>
                  </a:lnTo>
                  <a:lnTo>
                    <a:pt x="28" y="56"/>
                  </a:lnTo>
                  <a:lnTo>
                    <a:pt x="26" y="56"/>
                  </a:lnTo>
                  <a:lnTo>
                    <a:pt x="26" y="57"/>
                  </a:lnTo>
                  <a:lnTo>
                    <a:pt x="25" y="60"/>
                  </a:lnTo>
                  <a:lnTo>
                    <a:pt x="23" y="61"/>
                  </a:lnTo>
                  <a:lnTo>
                    <a:pt x="19" y="61"/>
                  </a:lnTo>
                  <a:lnTo>
                    <a:pt x="16" y="63"/>
                  </a:lnTo>
                  <a:lnTo>
                    <a:pt x="13" y="66"/>
                  </a:lnTo>
                  <a:lnTo>
                    <a:pt x="13" y="71"/>
                  </a:lnTo>
                  <a:lnTo>
                    <a:pt x="15" y="74"/>
                  </a:lnTo>
                  <a:lnTo>
                    <a:pt x="14" y="77"/>
                  </a:lnTo>
                  <a:lnTo>
                    <a:pt x="6" y="77"/>
                  </a:lnTo>
                  <a:lnTo>
                    <a:pt x="0" y="77"/>
                  </a:lnTo>
                  <a:lnTo>
                    <a:pt x="0" y="11"/>
                  </a:lnTo>
                  <a:lnTo>
                    <a:pt x="34" y="0"/>
                  </a:lnTo>
                  <a:lnTo>
                    <a:pt x="67" y="25"/>
                  </a:lnTo>
                  <a:lnTo>
                    <a:pt x="79" y="38"/>
                  </a:lnTo>
                  <a:lnTo>
                    <a:pt x="94" y="36"/>
                  </a:lnTo>
                  <a:lnTo>
                    <a:pt x="110" y="37"/>
                  </a:lnTo>
                  <a:lnTo>
                    <a:pt x="117" y="34"/>
                  </a:lnTo>
                  <a:lnTo>
                    <a:pt x="121" y="39"/>
                  </a:lnTo>
                  <a:lnTo>
                    <a:pt x="125" y="41"/>
                  </a:lnTo>
                  <a:lnTo>
                    <a:pt x="128" y="50"/>
                  </a:lnTo>
                  <a:lnTo>
                    <a:pt x="132" y="47"/>
                  </a:lnTo>
                  <a:lnTo>
                    <a:pt x="132" y="55"/>
                  </a:lnTo>
                  <a:lnTo>
                    <a:pt x="131" y="59"/>
                  </a:lnTo>
                  <a:lnTo>
                    <a:pt x="131" y="65"/>
                  </a:lnTo>
                  <a:lnTo>
                    <a:pt x="137" y="65"/>
                  </a:lnTo>
                  <a:lnTo>
                    <a:pt x="139" y="71"/>
                  </a:lnTo>
                  <a:lnTo>
                    <a:pt x="140" y="79"/>
                  </a:lnTo>
                  <a:lnTo>
                    <a:pt x="143" y="80"/>
                  </a:lnTo>
                  <a:lnTo>
                    <a:pt x="148" y="80"/>
                  </a:lnTo>
                  <a:lnTo>
                    <a:pt x="154" y="79"/>
                  </a:lnTo>
                  <a:lnTo>
                    <a:pt x="155" y="79"/>
                  </a:lnTo>
                  <a:lnTo>
                    <a:pt x="158" y="81"/>
                  </a:lnTo>
                  <a:lnTo>
                    <a:pt x="158" y="84"/>
                  </a:lnTo>
                  <a:lnTo>
                    <a:pt x="158" y="86"/>
                  </a:lnTo>
                  <a:lnTo>
                    <a:pt x="161" y="89"/>
                  </a:lnTo>
                  <a:lnTo>
                    <a:pt x="164" y="89"/>
                  </a:lnTo>
                  <a:lnTo>
                    <a:pt x="165" y="87"/>
                  </a:lnTo>
                  <a:lnTo>
                    <a:pt x="164" y="84"/>
                  </a:lnTo>
                  <a:lnTo>
                    <a:pt x="167" y="80"/>
                  </a:lnTo>
                  <a:lnTo>
                    <a:pt x="170" y="79"/>
                  </a:lnTo>
                  <a:lnTo>
                    <a:pt x="171" y="75"/>
                  </a:lnTo>
                  <a:lnTo>
                    <a:pt x="173" y="74"/>
                  </a:lnTo>
                  <a:lnTo>
                    <a:pt x="178" y="71"/>
                  </a:lnTo>
                  <a:lnTo>
                    <a:pt x="183" y="69"/>
                  </a:lnTo>
                  <a:lnTo>
                    <a:pt x="186" y="66"/>
                  </a:lnTo>
                  <a:lnTo>
                    <a:pt x="188" y="63"/>
                  </a:lnTo>
                  <a:lnTo>
                    <a:pt x="189" y="63"/>
                  </a:lnTo>
                  <a:lnTo>
                    <a:pt x="191" y="64"/>
                  </a:lnTo>
                  <a:lnTo>
                    <a:pt x="193" y="61"/>
                  </a:lnTo>
                  <a:lnTo>
                    <a:pt x="195" y="60"/>
                  </a:lnTo>
                  <a:lnTo>
                    <a:pt x="197" y="60"/>
                  </a:lnTo>
                  <a:lnTo>
                    <a:pt x="200" y="62"/>
                  </a:lnTo>
                  <a:lnTo>
                    <a:pt x="197" y="63"/>
                  </a:lnTo>
                  <a:lnTo>
                    <a:pt x="195" y="64"/>
                  </a:lnTo>
                  <a:lnTo>
                    <a:pt x="194" y="65"/>
                  </a:lnTo>
                  <a:lnTo>
                    <a:pt x="194" y="66"/>
                  </a:lnTo>
                  <a:lnTo>
                    <a:pt x="192" y="66"/>
                  </a:lnTo>
                  <a:lnTo>
                    <a:pt x="190" y="68"/>
                  </a:lnTo>
                  <a:lnTo>
                    <a:pt x="189" y="69"/>
                  </a:lnTo>
                  <a:lnTo>
                    <a:pt x="187" y="71"/>
                  </a:lnTo>
                  <a:lnTo>
                    <a:pt x="185" y="72"/>
                  </a:lnTo>
                  <a:lnTo>
                    <a:pt x="185" y="73"/>
                  </a:lnTo>
                  <a:lnTo>
                    <a:pt x="187" y="74"/>
                  </a:lnTo>
                  <a:lnTo>
                    <a:pt x="189" y="74"/>
                  </a:lnTo>
                  <a:lnTo>
                    <a:pt x="190" y="75"/>
                  </a:lnTo>
                  <a:lnTo>
                    <a:pt x="192" y="74"/>
                  </a:lnTo>
                  <a:lnTo>
                    <a:pt x="193" y="75"/>
                  </a:lnTo>
                  <a:lnTo>
                    <a:pt x="194" y="77"/>
                  </a:lnTo>
                  <a:lnTo>
                    <a:pt x="196" y="80"/>
                  </a:lnTo>
                  <a:lnTo>
                    <a:pt x="199" y="80"/>
                  </a:lnTo>
                  <a:lnTo>
                    <a:pt x="202" y="80"/>
                  </a:lnTo>
                  <a:lnTo>
                    <a:pt x="202" y="77"/>
                  </a:lnTo>
                  <a:lnTo>
                    <a:pt x="203" y="77"/>
                  </a:lnTo>
                  <a:lnTo>
                    <a:pt x="204" y="75"/>
                  </a:lnTo>
                  <a:lnTo>
                    <a:pt x="205" y="73"/>
                  </a:lnTo>
                  <a:lnTo>
                    <a:pt x="206" y="74"/>
                  </a:lnTo>
                  <a:lnTo>
                    <a:pt x="207" y="75"/>
                  </a:lnTo>
                  <a:lnTo>
                    <a:pt x="208" y="78"/>
                  </a:lnTo>
                  <a:lnTo>
                    <a:pt x="208" y="79"/>
                  </a:lnTo>
                  <a:lnTo>
                    <a:pt x="210" y="79"/>
                  </a:lnTo>
                  <a:lnTo>
                    <a:pt x="211" y="79"/>
                  </a:lnTo>
                  <a:lnTo>
                    <a:pt x="212" y="81"/>
                  </a:lnTo>
                  <a:lnTo>
                    <a:pt x="212" y="81"/>
                  </a:lnTo>
                  <a:lnTo>
                    <a:pt x="214" y="81"/>
                  </a:lnTo>
                  <a:lnTo>
                    <a:pt x="216" y="83"/>
                  </a:lnTo>
                  <a:lnTo>
                    <a:pt x="217" y="84"/>
                  </a:lnTo>
                  <a:lnTo>
                    <a:pt x="220" y="85"/>
                  </a:lnTo>
                  <a:lnTo>
                    <a:pt x="223" y="85"/>
                  </a:lnTo>
                  <a:lnTo>
                    <a:pt x="224" y="86"/>
                  </a:lnTo>
                  <a:lnTo>
                    <a:pt x="221" y="87"/>
                  </a:lnTo>
                  <a:lnTo>
                    <a:pt x="220" y="89"/>
                  </a:lnTo>
                  <a:lnTo>
                    <a:pt x="218" y="90"/>
                  </a:lnTo>
                  <a:lnTo>
                    <a:pt x="216" y="90"/>
                  </a:lnTo>
                  <a:lnTo>
                    <a:pt x="214" y="89"/>
                  </a:lnTo>
                  <a:lnTo>
                    <a:pt x="215" y="90"/>
                  </a:lnTo>
                  <a:lnTo>
                    <a:pt x="215" y="92"/>
                  </a:lnTo>
                  <a:lnTo>
                    <a:pt x="213" y="92"/>
                  </a:lnTo>
                  <a:lnTo>
                    <a:pt x="212" y="92"/>
                  </a:lnTo>
                  <a:lnTo>
                    <a:pt x="209" y="93"/>
                  </a:lnTo>
                  <a:lnTo>
                    <a:pt x="208" y="95"/>
                  </a:lnTo>
                  <a:lnTo>
                    <a:pt x="207" y="95"/>
                  </a:lnTo>
                  <a:lnTo>
                    <a:pt x="205" y="97"/>
                  </a:lnTo>
                  <a:lnTo>
                    <a:pt x="204" y="96"/>
                  </a:lnTo>
                  <a:lnTo>
                    <a:pt x="202" y="95"/>
                  </a:lnTo>
                  <a:lnTo>
                    <a:pt x="200" y="94"/>
                  </a:lnTo>
                  <a:lnTo>
                    <a:pt x="199" y="95"/>
                  </a:lnTo>
                  <a:lnTo>
                    <a:pt x="198" y="95"/>
                  </a:lnTo>
                  <a:lnTo>
                    <a:pt x="196" y="95"/>
                  </a:lnTo>
                  <a:lnTo>
                    <a:pt x="196" y="95"/>
                  </a:lnTo>
                  <a:lnTo>
                    <a:pt x="193" y="95"/>
                  </a:lnTo>
                  <a:lnTo>
                    <a:pt x="191" y="95"/>
                  </a:lnTo>
                  <a:lnTo>
                    <a:pt x="190" y="93"/>
                  </a:lnTo>
                  <a:lnTo>
                    <a:pt x="188" y="93"/>
                  </a:lnTo>
                  <a:lnTo>
                    <a:pt x="188" y="91"/>
                  </a:lnTo>
                  <a:lnTo>
                    <a:pt x="189" y="90"/>
                  </a:lnTo>
                  <a:lnTo>
                    <a:pt x="192" y="88"/>
                  </a:lnTo>
                  <a:lnTo>
                    <a:pt x="193" y="86"/>
                  </a:lnTo>
                  <a:lnTo>
                    <a:pt x="191" y="84"/>
                  </a:lnTo>
                  <a:lnTo>
                    <a:pt x="189" y="81"/>
                  </a:lnTo>
                  <a:lnTo>
                    <a:pt x="187" y="83"/>
                  </a:lnTo>
                  <a:lnTo>
                    <a:pt x="185" y="86"/>
                  </a:lnTo>
                  <a:lnTo>
                    <a:pt x="181" y="87"/>
                  </a:lnTo>
                  <a:lnTo>
                    <a:pt x="179" y="89"/>
                  </a:lnTo>
                  <a:lnTo>
                    <a:pt x="178" y="87"/>
                  </a:lnTo>
                  <a:lnTo>
                    <a:pt x="176" y="86"/>
                  </a:lnTo>
                  <a:lnTo>
                    <a:pt x="175" y="86"/>
                  </a:lnTo>
                  <a:lnTo>
                    <a:pt x="175" y="87"/>
                  </a:lnTo>
                  <a:lnTo>
                    <a:pt x="173" y="90"/>
                  </a:lnTo>
                  <a:lnTo>
                    <a:pt x="174" y="92"/>
                  </a:lnTo>
                  <a:lnTo>
                    <a:pt x="174" y="95"/>
                  </a:lnTo>
                  <a:lnTo>
                    <a:pt x="173" y="96"/>
                  </a:lnTo>
                  <a:lnTo>
                    <a:pt x="171" y="95"/>
                  </a:lnTo>
                  <a:lnTo>
                    <a:pt x="167" y="96"/>
                  </a:lnTo>
                  <a:lnTo>
                    <a:pt x="164" y="96"/>
                  </a:lnTo>
                  <a:lnTo>
                    <a:pt x="166" y="98"/>
                  </a:lnTo>
                  <a:lnTo>
                    <a:pt x="169" y="97"/>
                  </a:lnTo>
                  <a:lnTo>
                    <a:pt x="170" y="98"/>
                  </a:lnTo>
                  <a:lnTo>
                    <a:pt x="168" y="98"/>
                  </a:lnTo>
                  <a:lnTo>
                    <a:pt x="167" y="99"/>
                  </a:lnTo>
                  <a:lnTo>
                    <a:pt x="167" y="102"/>
                  </a:lnTo>
                  <a:lnTo>
                    <a:pt x="166" y="102"/>
                  </a:lnTo>
                  <a:lnTo>
                    <a:pt x="164" y="103"/>
                  </a:lnTo>
                  <a:lnTo>
                    <a:pt x="164" y="106"/>
                  </a:lnTo>
                  <a:lnTo>
                    <a:pt x="163" y="107"/>
                  </a:lnTo>
                  <a:lnTo>
                    <a:pt x="156" y="107"/>
                  </a:lnTo>
                  <a:lnTo>
                    <a:pt x="152" y="105"/>
                  </a:lnTo>
                  <a:lnTo>
                    <a:pt x="150" y="108"/>
                  </a:lnTo>
                  <a:lnTo>
                    <a:pt x="149" y="111"/>
                  </a:lnTo>
                  <a:lnTo>
                    <a:pt x="151" y="113"/>
                  </a:lnTo>
                  <a:lnTo>
                    <a:pt x="152" y="115"/>
                  </a:lnTo>
                  <a:lnTo>
                    <a:pt x="154" y="116"/>
                  </a:lnTo>
                  <a:lnTo>
                    <a:pt x="156" y="116"/>
                  </a:lnTo>
                  <a:lnTo>
                    <a:pt x="158" y="116"/>
                  </a:lnTo>
                  <a:lnTo>
                    <a:pt x="159" y="118"/>
                  </a:lnTo>
                  <a:lnTo>
                    <a:pt x="158" y="120"/>
                  </a:lnTo>
                  <a:lnTo>
                    <a:pt x="158" y="123"/>
                  </a:lnTo>
                  <a:lnTo>
                    <a:pt x="158" y="126"/>
                  </a:lnTo>
                  <a:lnTo>
                    <a:pt x="161" y="129"/>
                  </a:lnTo>
                  <a:lnTo>
                    <a:pt x="162" y="131"/>
                  </a:lnTo>
                  <a:lnTo>
                    <a:pt x="161" y="132"/>
                  </a:lnTo>
                  <a:lnTo>
                    <a:pt x="158" y="135"/>
                  </a:lnTo>
                  <a:lnTo>
                    <a:pt x="157" y="139"/>
                  </a:lnTo>
                  <a:lnTo>
                    <a:pt x="154" y="141"/>
                  </a:lnTo>
                  <a:lnTo>
                    <a:pt x="155" y="144"/>
                  </a:lnTo>
                  <a:lnTo>
                    <a:pt x="152" y="15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49" name="Freeform 121">
              <a:extLst>
                <a:ext uri="{FF2B5EF4-FFF2-40B4-BE49-F238E27FC236}">
                  <a16:creationId xmlns:a16="http://schemas.microsoft.com/office/drawing/2014/main" id="{7AB312A1-C104-55A0-368C-720AA1E8B46E}"/>
                </a:ext>
              </a:extLst>
            </p:cNvPr>
            <p:cNvSpPr>
              <a:spLocks/>
            </p:cNvSpPr>
            <p:nvPr/>
          </p:nvSpPr>
          <p:spPr bwMode="auto">
            <a:xfrm>
              <a:off x="5968584" y="4927600"/>
              <a:ext cx="309563" cy="241300"/>
            </a:xfrm>
            <a:custGeom>
              <a:avLst/>
              <a:gdLst/>
              <a:ahLst/>
              <a:cxnLst>
                <a:cxn ang="0">
                  <a:pos x="127" y="57"/>
                </a:cxn>
                <a:cxn ang="0">
                  <a:pos x="130" y="64"/>
                </a:cxn>
                <a:cxn ang="0">
                  <a:pos x="138" y="74"/>
                </a:cxn>
                <a:cxn ang="0">
                  <a:pos x="145" y="79"/>
                </a:cxn>
                <a:cxn ang="0">
                  <a:pos x="174" y="89"/>
                </a:cxn>
                <a:cxn ang="0">
                  <a:pos x="193" y="92"/>
                </a:cxn>
                <a:cxn ang="0">
                  <a:pos x="171" y="117"/>
                </a:cxn>
                <a:cxn ang="0">
                  <a:pos x="157" y="133"/>
                </a:cxn>
                <a:cxn ang="0">
                  <a:pos x="142" y="133"/>
                </a:cxn>
                <a:cxn ang="0">
                  <a:pos x="135" y="134"/>
                </a:cxn>
                <a:cxn ang="0">
                  <a:pos x="130" y="139"/>
                </a:cxn>
                <a:cxn ang="0">
                  <a:pos x="126" y="142"/>
                </a:cxn>
                <a:cxn ang="0">
                  <a:pos x="117" y="143"/>
                </a:cxn>
                <a:cxn ang="0">
                  <a:pos x="108" y="145"/>
                </a:cxn>
                <a:cxn ang="0">
                  <a:pos x="103" y="142"/>
                </a:cxn>
                <a:cxn ang="0">
                  <a:pos x="96" y="143"/>
                </a:cxn>
                <a:cxn ang="0">
                  <a:pos x="91" y="147"/>
                </a:cxn>
                <a:cxn ang="0">
                  <a:pos x="85" y="152"/>
                </a:cxn>
                <a:cxn ang="0">
                  <a:pos x="76" y="150"/>
                </a:cxn>
                <a:cxn ang="0">
                  <a:pos x="67" y="149"/>
                </a:cxn>
                <a:cxn ang="0">
                  <a:pos x="49" y="139"/>
                </a:cxn>
                <a:cxn ang="0">
                  <a:pos x="39" y="136"/>
                </a:cxn>
                <a:cxn ang="0">
                  <a:pos x="37" y="135"/>
                </a:cxn>
                <a:cxn ang="0">
                  <a:pos x="36" y="128"/>
                </a:cxn>
                <a:cxn ang="0">
                  <a:pos x="32" y="126"/>
                </a:cxn>
                <a:cxn ang="0">
                  <a:pos x="27" y="122"/>
                </a:cxn>
                <a:cxn ang="0">
                  <a:pos x="21" y="109"/>
                </a:cxn>
                <a:cxn ang="0">
                  <a:pos x="10" y="97"/>
                </a:cxn>
                <a:cxn ang="0">
                  <a:pos x="4" y="95"/>
                </a:cxn>
                <a:cxn ang="0">
                  <a:pos x="0" y="94"/>
                </a:cxn>
                <a:cxn ang="0">
                  <a:pos x="2" y="86"/>
                </a:cxn>
                <a:cxn ang="0">
                  <a:pos x="9" y="87"/>
                </a:cxn>
                <a:cxn ang="0">
                  <a:pos x="14" y="85"/>
                </a:cxn>
                <a:cxn ang="0">
                  <a:pos x="15" y="75"/>
                </a:cxn>
                <a:cxn ang="0">
                  <a:pos x="16" y="62"/>
                </a:cxn>
                <a:cxn ang="0">
                  <a:pos x="19" y="55"/>
                </a:cxn>
                <a:cxn ang="0">
                  <a:pos x="23" y="55"/>
                </a:cxn>
                <a:cxn ang="0">
                  <a:pos x="25" y="53"/>
                </a:cxn>
                <a:cxn ang="0">
                  <a:pos x="27" y="40"/>
                </a:cxn>
                <a:cxn ang="0">
                  <a:pos x="33" y="32"/>
                </a:cxn>
                <a:cxn ang="0">
                  <a:pos x="41" y="28"/>
                </a:cxn>
                <a:cxn ang="0">
                  <a:pos x="45" y="14"/>
                </a:cxn>
                <a:cxn ang="0">
                  <a:pos x="45" y="7"/>
                </a:cxn>
                <a:cxn ang="0">
                  <a:pos x="50" y="8"/>
                </a:cxn>
                <a:cxn ang="0">
                  <a:pos x="54" y="5"/>
                </a:cxn>
                <a:cxn ang="0">
                  <a:pos x="62" y="0"/>
                </a:cxn>
                <a:cxn ang="0">
                  <a:pos x="66" y="2"/>
                </a:cxn>
                <a:cxn ang="0">
                  <a:pos x="73" y="5"/>
                </a:cxn>
                <a:cxn ang="0">
                  <a:pos x="77" y="2"/>
                </a:cxn>
                <a:cxn ang="0">
                  <a:pos x="81" y="5"/>
                </a:cxn>
                <a:cxn ang="0">
                  <a:pos x="85" y="5"/>
                </a:cxn>
                <a:cxn ang="0">
                  <a:pos x="87" y="5"/>
                </a:cxn>
                <a:cxn ang="0">
                  <a:pos x="96" y="8"/>
                </a:cxn>
                <a:cxn ang="0">
                  <a:pos x="103" y="13"/>
                </a:cxn>
                <a:cxn ang="0">
                  <a:pos x="112" y="22"/>
                </a:cxn>
                <a:cxn ang="0">
                  <a:pos x="118" y="28"/>
                </a:cxn>
                <a:cxn ang="0">
                  <a:pos x="122" y="33"/>
                </a:cxn>
                <a:cxn ang="0">
                  <a:pos x="115" y="42"/>
                </a:cxn>
                <a:cxn ang="0">
                  <a:pos x="115" y="46"/>
                </a:cxn>
                <a:cxn ang="0">
                  <a:pos x="119" y="53"/>
                </a:cxn>
                <a:cxn ang="0">
                  <a:pos x="126" y="51"/>
                </a:cxn>
              </a:cxnLst>
              <a:rect l="0" t="0" r="r" b="b"/>
              <a:pathLst>
                <a:path w="195" h="152">
                  <a:moveTo>
                    <a:pt x="130" y="52"/>
                  </a:moveTo>
                  <a:lnTo>
                    <a:pt x="127" y="57"/>
                  </a:lnTo>
                  <a:lnTo>
                    <a:pt x="128" y="60"/>
                  </a:lnTo>
                  <a:lnTo>
                    <a:pt x="130" y="64"/>
                  </a:lnTo>
                  <a:lnTo>
                    <a:pt x="134" y="69"/>
                  </a:lnTo>
                  <a:lnTo>
                    <a:pt x="138" y="74"/>
                  </a:lnTo>
                  <a:lnTo>
                    <a:pt x="142" y="77"/>
                  </a:lnTo>
                  <a:lnTo>
                    <a:pt x="145" y="79"/>
                  </a:lnTo>
                  <a:lnTo>
                    <a:pt x="149" y="80"/>
                  </a:lnTo>
                  <a:lnTo>
                    <a:pt x="174" y="89"/>
                  </a:lnTo>
                  <a:lnTo>
                    <a:pt x="182" y="92"/>
                  </a:lnTo>
                  <a:lnTo>
                    <a:pt x="193" y="92"/>
                  </a:lnTo>
                  <a:lnTo>
                    <a:pt x="195" y="92"/>
                  </a:lnTo>
                  <a:lnTo>
                    <a:pt x="171" y="117"/>
                  </a:lnTo>
                  <a:lnTo>
                    <a:pt x="162" y="127"/>
                  </a:lnTo>
                  <a:lnTo>
                    <a:pt x="157" y="133"/>
                  </a:lnTo>
                  <a:lnTo>
                    <a:pt x="152" y="133"/>
                  </a:lnTo>
                  <a:lnTo>
                    <a:pt x="142" y="133"/>
                  </a:lnTo>
                  <a:lnTo>
                    <a:pt x="138" y="133"/>
                  </a:lnTo>
                  <a:lnTo>
                    <a:pt x="135" y="134"/>
                  </a:lnTo>
                  <a:lnTo>
                    <a:pt x="133" y="136"/>
                  </a:lnTo>
                  <a:lnTo>
                    <a:pt x="130" y="139"/>
                  </a:lnTo>
                  <a:lnTo>
                    <a:pt x="128" y="141"/>
                  </a:lnTo>
                  <a:lnTo>
                    <a:pt x="126" y="142"/>
                  </a:lnTo>
                  <a:lnTo>
                    <a:pt x="119" y="142"/>
                  </a:lnTo>
                  <a:lnTo>
                    <a:pt x="117" y="143"/>
                  </a:lnTo>
                  <a:lnTo>
                    <a:pt x="115" y="146"/>
                  </a:lnTo>
                  <a:lnTo>
                    <a:pt x="108" y="145"/>
                  </a:lnTo>
                  <a:lnTo>
                    <a:pt x="105" y="144"/>
                  </a:lnTo>
                  <a:lnTo>
                    <a:pt x="103" y="142"/>
                  </a:lnTo>
                  <a:lnTo>
                    <a:pt x="101" y="142"/>
                  </a:lnTo>
                  <a:lnTo>
                    <a:pt x="96" y="143"/>
                  </a:lnTo>
                  <a:lnTo>
                    <a:pt x="92" y="146"/>
                  </a:lnTo>
                  <a:lnTo>
                    <a:pt x="91" y="147"/>
                  </a:lnTo>
                  <a:lnTo>
                    <a:pt x="87" y="151"/>
                  </a:lnTo>
                  <a:lnTo>
                    <a:pt x="85" y="152"/>
                  </a:lnTo>
                  <a:lnTo>
                    <a:pt x="81" y="151"/>
                  </a:lnTo>
                  <a:lnTo>
                    <a:pt x="76" y="150"/>
                  </a:lnTo>
                  <a:lnTo>
                    <a:pt x="69" y="149"/>
                  </a:lnTo>
                  <a:lnTo>
                    <a:pt x="67" y="149"/>
                  </a:lnTo>
                  <a:lnTo>
                    <a:pt x="53" y="140"/>
                  </a:lnTo>
                  <a:lnTo>
                    <a:pt x="49" y="139"/>
                  </a:lnTo>
                  <a:lnTo>
                    <a:pt x="45" y="137"/>
                  </a:lnTo>
                  <a:lnTo>
                    <a:pt x="39" y="136"/>
                  </a:lnTo>
                  <a:lnTo>
                    <a:pt x="37" y="136"/>
                  </a:lnTo>
                  <a:lnTo>
                    <a:pt x="37" y="135"/>
                  </a:lnTo>
                  <a:lnTo>
                    <a:pt x="37" y="134"/>
                  </a:lnTo>
                  <a:lnTo>
                    <a:pt x="36" y="128"/>
                  </a:lnTo>
                  <a:lnTo>
                    <a:pt x="35" y="127"/>
                  </a:lnTo>
                  <a:lnTo>
                    <a:pt x="32" y="126"/>
                  </a:lnTo>
                  <a:lnTo>
                    <a:pt x="30" y="124"/>
                  </a:lnTo>
                  <a:lnTo>
                    <a:pt x="27" y="122"/>
                  </a:lnTo>
                  <a:lnTo>
                    <a:pt x="25" y="118"/>
                  </a:lnTo>
                  <a:lnTo>
                    <a:pt x="21" y="109"/>
                  </a:lnTo>
                  <a:lnTo>
                    <a:pt x="15" y="103"/>
                  </a:lnTo>
                  <a:lnTo>
                    <a:pt x="10" y="97"/>
                  </a:lnTo>
                  <a:lnTo>
                    <a:pt x="8" y="96"/>
                  </a:lnTo>
                  <a:lnTo>
                    <a:pt x="4" y="95"/>
                  </a:lnTo>
                  <a:lnTo>
                    <a:pt x="1" y="95"/>
                  </a:lnTo>
                  <a:lnTo>
                    <a:pt x="0" y="94"/>
                  </a:lnTo>
                  <a:lnTo>
                    <a:pt x="1" y="91"/>
                  </a:lnTo>
                  <a:lnTo>
                    <a:pt x="2" y="86"/>
                  </a:lnTo>
                  <a:lnTo>
                    <a:pt x="4" y="86"/>
                  </a:lnTo>
                  <a:lnTo>
                    <a:pt x="9" y="87"/>
                  </a:lnTo>
                  <a:lnTo>
                    <a:pt x="11" y="87"/>
                  </a:lnTo>
                  <a:lnTo>
                    <a:pt x="14" y="85"/>
                  </a:lnTo>
                  <a:lnTo>
                    <a:pt x="15" y="78"/>
                  </a:lnTo>
                  <a:lnTo>
                    <a:pt x="15" y="75"/>
                  </a:lnTo>
                  <a:lnTo>
                    <a:pt x="16" y="68"/>
                  </a:lnTo>
                  <a:lnTo>
                    <a:pt x="16" y="62"/>
                  </a:lnTo>
                  <a:lnTo>
                    <a:pt x="18" y="55"/>
                  </a:lnTo>
                  <a:lnTo>
                    <a:pt x="19" y="55"/>
                  </a:lnTo>
                  <a:lnTo>
                    <a:pt x="20" y="54"/>
                  </a:lnTo>
                  <a:lnTo>
                    <a:pt x="23" y="55"/>
                  </a:lnTo>
                  <a:lnTo>
                    <a:pt x="24" y="55"/>
                  </a:lnTo>
                  <a:lnTo>
                    <a:pt x="25" y="53"/>
                  </a:lnTo>
                  <a:lnTo>
                    <a:pt x="26" y="47"/>
                  </a:lnTo>
                  <a:lnTo>
                    <a:pt x="27" y="40"/>
                  </a:lnTo>
                  <a:lnTo>
                    <a:pt x="28" y="38"/>
                  </a:lnTo>
                  <a:lnTo>
                    <a:pt x="33" y="32"/>
                  </a:lnTo>
                  <a:lnTo>
                    <a:pt x="35" y="29"/>
                  </a:lnTo>
                  <a:lnTo>
                    <a:pt x="41" y="28"/>
                  </a:lnTo>
                  <a:lnTo>
                    <a:pt x="42" y="21"/>
                  </a:lnTo>
                  <a:lnTo>
                    <a:pt x="45" y="14"/>
                  </a:lnTo>
                  <a:lnTo>
                    <a:pt x="45" y="8"/>
                  </a:lnTo>
                  <a:lnTo>
                    <a:pt x="45" y="7"/>
                  </a:lnTo>
                  <a:lnTo>
                    <a:pt x="48" y="7"/>
                  </a:lnTo>
                  <a:lnTo>
                    <a:pt x="50" y="8"/>
                  </a:lnTo>
                  <a:lnTo>
                    <a:pt x="51" y="5"/>
                  </a:lnTo>
                  <a:lnTo>
                    <a:pt x="54" y="5"/>
                  </a:lnTo>
                  <a:lnTo>
                    <a:pt x="57" y="10"/>
                  </a:lnTo>
                  <a:lnTo>
                    <a:pt x="62" y="0"/>
                  </a:lnTo>
                  <a:lnTo>
                    <a:pt x="64" y="2"/>
                  </a:lnTo>
                  <a:lnTo>
                    <a:pt x="66" y="2"/>
                  </a:lnTo>
                  <a:lnTo>
                    <a:pt x="69" y="5"/>
                  </a:lnTo>
                  <a:lnTo>
                    <a:pt x="73" y="5"/>
                  </a:lnTo>
                  <a:lnTo>
                    <a:pt x="76" y="4"/>
                  </a:lnTo>
                  <a:lnTo>
                    <a:pt x="77" y="2"/>
                  </a:lnTo>
                  <a:lnTo>
                    <a:pt x="78" y="5"/>
                  </a:lnTo>
                  <a:lnTo>
                    <a:pt x="81" y="5"/>
                  </a:lnTo>
                  <a:lnTo>
                    <a:pt x="83" y="4"/>
                  </a:lnTo>
                  <a:lnTo>
                    <a:pt x="85" y="5"/>
                  </a:lnTo>
                  <a:lnTo>
                    <a:pt x="87" y="5"/>
                  </a:lnTo>
                  <a:lnTo>
                    <a:pt x="87" y="5"/>
                  </a:lnTo>
                  <a:lnTo>
                    <a:pt x="91" y="5"/>
                  </a:lnTo>
                  <a:lnTo>
                    <a:pt x="96" y="8"/>
                  </a:lnTo>
                  <a:lnTo>
                    <a:pt x="99" y="9"/>
                  </a:lnTo>
                  <a:lnTo>
                    <a:pt x="103" y="13"/>
                  </a:lnTo>
                  <a:lnTo>
                    <a:pt x="105" y="17"/>
                  </a:lnTo>
                  <a:lnTo>
                    <a:pt x="112" y="22"/>
                  </a:lnTo>
                  <a:lnTo>
                    <a:pt x="115" y="27"/>
                  </a:lnTo>
                  <a:lnTo>
                    <a:pt x="118" y="28"/>
                  </a:lnTo>
                  <a:lnTo>
                    <a:pt x="120" y="32"/>
                  </a:lnTo>
                  <a:lnTo>
                    <a:pt x="122" y="33"/>
                  </a:lnTo>
                  <a:lnTo>
                    <a:pt x="118" y="38"/>
                  </a:lnTo>
                  <a:lnTo>
                    <a:pt x="115" y="42"/>
                  </a:lnTo>
                  <a:lnTo>
                    <a:pt x="115" y="44"/>
                  </a:lnTo>
                  <a:lnTo>
                    <a:pt x="115" y="46"/>
                  </a:lnTo>
                  <a:lnTo>
                    <a:pt x="116" y="53"/>
                  </a:lnTo>
                  <a:lnTo>
                    <a:pt x="119" y="53"/>
                  </a:lnTo>
                  <a:lnTo>
                    <a:pt x="124" y="51"/>
                  </a:lnTo>
                  <a:lnTo>
                    <a:pt x="126" y="51"/>
                  </a:lnTo>
                  <a:lnTo>
                    <a:pt x="130" y="5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0" name="Freeform 122">
              <a:extLst>
                <a:ext uri="{FF2B5EF4-FFF2-40B4-BE49-F238E27FC236}">
                  <a16:creationId xmlns:a16="http://schemas.microsoft.com/office/drawing/2014/main" id="{D014C729-8A86-C637-3C25-CFD773B3DF66}"/>
                </a:ext>
              </a:extLst>
            </p:cNvPr>
            <p:cNvSpPr>
              <a:spLocks/>
            </p:cNvSpPr>
            <p:nvPr/>
          </p:nvSpPr>
          <p:spPr bwMode="auto">
            <a:xfrm>
              <a:off x="5897146" y="5154613"/>
              <a:ext cx="114300" cy="115888"/>
            </a:xfrm>
            <a:custGeom>
              <a:avLst/>
              <a:gdLst/>
              <a:ahLst/>
              <a:cxnLst>
                <a:cxn ang="0">
                  <a:pos x="0" y="71"/>
                </a:cxn>
                <a:cxn ang="0">
                  <a:pos x="1" y="70"/>
                </a:cxn>
                <a:cxn ang="0">
                  <a:pos x="1" y="68"/>
                </a:cxn>
                <a:cxn ang="0">
                  <a:pos x="1" y="64"/>
                </a:cxn>
                <a:cxn ang="0">
                  <a:pos x="1" y="59"/>
                </a:cxn>
                <a:cxn ang="0">
                  <a:pos x="1" y="56"/>
                </a:cxn>
                <a:cxn ang="0">
                  <a:pos x="1" y="53"/>
                </a:cxn>
                <a:cxn ang="0">
                  <a:pos x="3" y="47"/>
                </a:cxn>
                <a:cxn ang="0">
                  <a:pos x="5" y="43"/>
                </a:cxn>
                <a:cxn ang="0">
                  <a:pos x="7" y="41"/>
                </a:cxn>
                <a:cxn ang="0">
                  <a:pos x="14" y="35"/>
                </a:cxn>
                <a:cxn ang="0">
                  <a:pos x="21" y="29"/>
                </a:cxn>
                <a:cxn ang="0">
                  <a:pos x="22" y="26"/>
                </a:cxn>
                <a:cxn ang="0">
                  <a:pos x="21" y="24"/>
                </a:cxn>
                <a:cxn ang="0">
                  <a:pos x="20" y="24"/>
                </a:cxn>
                <a:cxn ang="0">
                  <a:pos x="17" y="23"/>
                </a:cxn>
                <a:cxn ang="0">
                  <a:pos x="16" y="23"/>
                </a:cxn>
                <a:cxn ang="0">
                  <a:pos x="15" y="22"/>
                </a:cxn>
                <a:cxn ang="0">
                  <a:pos x="17" y="11"/>
                </a:cxn>
                <a:cxn ang="0">
                  <a:pos x="17" y="8"/>
                </a:cxn>
                <a:cxn ang="0">
                  <a:pos x="16" y="7"/>
                </a:cxn>
                <a:cxn ang="0">
                  <a:pos x="15" y="7"/>
                </a:cxn>
                <a:cxn ang="0">
                  <a:pos x="18" y="6"/>
                </a:cxn>
                <a:cxn ang="0">
                  <a:pos x="21" y="5"/>
                </a:cxn>
                <a:cxn ang="0">
                  <a:pos x="24" y="5"/>
                </a:cxn>
                <a:cxn ang="0">
                  <a:pos x="30" y="6"/>
                </a:cxn>
                <a:cxn ang="0">
                  <a:pos x="35" y="6"/>
                </a:cxn>
                <a:cxn ang="0">
                  <a:pos x="40" y="4"/>
                </a:cxn>
                <a:cxn ang="0">
                  <a:pos x="45" y="3"/>
                </a:cxn>
                <a:cxn ang="0">
                  <a:pos x="47" y="4"/>
                </a:cxn>
                <a:cxn ang="0">
                  <a:pos x="49" y="5"/>
                </a:cxn>
                <a:cxn ang="0">
                  <a:pos x="51" y="5"/>
                </a:cxn>
                <a:cxn ang="0">
                  <a:pos x="55" y="3"/>
                </a:cxn>
                <a:cxn ang="0">
                  <a:pos x="58" y="0"/>
                </a:cxn>
                <a:cxn ang="0">
                  <a:pos x="60" y="3"/>
                </a:cxn>
                <a:cxn ang="0">
                  <a:pos x="63" y="6"/>
                </a:cxn>
                <a:cxn ang="0">
                  <a:pos x="63" y="7"/>
                </a:cxn>
                <a:cxn ang="0">
                  <a:pos x="63" y="12"/>
                </a:cxn>
                <a:cxn ang="0">
                  <a:pos x="64" y="15"/>
                </a:cxn>
                <a:cxn ang="0">
                  <a:pos x="69" y="21"/>
                </a:cxn>
                <a:cxn ang="0">
                  <a:pos x="70" y="23"/>
                </a:cxn>
                <a:cxn ang="0">
                  <a:pos x="72" y="27"/>
                </a:cxn>
                <a:cxn ang="0">
                  <a:pos x="72" y="31"/>
                </a:cxn>
                <a:cxn ang="0">
                  <a:pos x="71" y="34"/>
                </a:cxn>
                <a:cxn ang="0">
                  <a:pos x="68" y="38"/>
                </a:cxn>
                <a:cxn ang="0">
                  <a:pos x="66" y="41"/>
                </a:cxn>
                <a:cxn ang="0">
                  <a:pos x="60" y="47"/>
                </a:cxn>
                <a:cxn ang="0">
                  <a:pos x="56" y="51"/>
                </a:cxn>
                <a:cxn ang="0">
                  <a:pos x="55" y="53"/>
                </a:cxn>
                <a:cxn ang="0">
                  <a:pos x="49" y="68"/>
                </a:cxn>
                <a:cxn ang="0">
                  <a:pos x="21" y="68"/>
                </a:cxn>
                <a:cxn ang="0">
                  <a:pos x="13" y="68"/>
                </a:cxn>
                <a:cxn ang="0">
                  <a:pos x="12" y="68"/>
                </a:cxn>
                <a:cxn ang="0">
                  <a:pos x="9" y="70"/>
                </a:cxn>
                <a:cxn ang="0">
                  <a:pos x="6" y="73"/>
                </a:cxn>
                <a:cxn ang="0">
                  <a:pos x="3" y="73"/>
                </a:cxn>
                <a:cxn ang="0">
                  <a:pos x="0" y="72"/>
                </a:cxn>
                <a:cxn ang="0">
                  <a:pos x="0" y="71"/>
                </a:cxn>
              </a:cxnLst>
              <a:rect l="0" t="0" r="r" b="b"/>
              <a:pathLst>
                <a:path w="72" h="73">
                  <a:moveTo>
                    <a:pt x="0" y="71"/>
                  </a:moveTo>
                  <a:lnTo>
                    <a:pt x="1" y="70"/>
                  </a:lnTo>
                  <a:lnTo>
                    <a:pt x="1" y="68"/>
                  </a:lnTo>
                  <a:lnTo>
                    <a:pt x="1" y="64"/>
                  </a:lnTo>
                  <a:lnTo>
                    <a:pt x="1" y="59"/>
                  </a:lnTo>
                  <a:lnTo>
                    <a:pt x="1" y="56"/>
                  </a:lnTo>
                  <a:lnTo>
                    <a:pt x="1" y="53"/>
                  </a:lnTo>
                  <a:lnTo>
                    <a:pt x="3" y="47"/>
                  </a:lnTo>
                  <a:lnTo>
                    <a:pt x="5" y="43"/>
                  </a:lnTo>
                  <a:lnTo>
                    <a:pt x="7" y="41"/>
                  </a:lnTo>
                  <a:lnTo>
                    <a:pt x="14" y="35"/>
                  </a:lnTo>
                  <a:lnTo>
                    <a:pt x="21" y="29"/>
                  </a:lnTo>
                  <a:lnTo>
                    <a:pt x="22" y="26"/>
                  </a:lnTo>
                  <a:lnTo>
                    <a:pt x="21" y="24"/>
                  </a:lnTo>
                  <a:lnTo>
                    <a:pt x="20" y="24"/>
                  </a:lnTo>
                  <a:lnTo>
                    <a:pt x="17" y="23"/>
                  </a:lnTo>
                  <a:lnTo>
                    <a:pt x="16" y="23"/>
                  </a:lnTo>
                  <a:lnTo>
                    <a:pt x="15" y="22"/>
                  </a:lnTo>
                  <a:lnTo>
                    <a:pt x="17" y="11"/>
                  </a:lnTo>
                  <a:lnTo>
                    <a:pt x="17" y="8"/>
                  </a:lnTo>
                  <a:lnTo>
                    <a:pt x="16" y="7"/>
                  </a:lnTo>
                  <a:lnTo>
                    <a:pt x="15" y="7"/>
                  </a:lnTo>
                  <a:lnTo>
                    <a:pt x="18" y="6"/>
                  </a:lnTo>
                  <a:lnTo>
                    <a:pt x="21" y="5"/>
                  </a:lnTo>
                  <a:lnTo>
                    <a:pt x="24" y="5"/>
                  </a:lnTo>
                  <a:lnTo>
                    <a:pt x="30" y="6"/>
                  </a:lnTo>
                  <a:lnTo>
                    <a:pt x="35" y="6"/>
                  </a:lnTo>
                  <a:lnTo>
                    <a:pt x="40" y="4"/>
                  </a:lnTo>
                  <a:lnTo>
                    <a:pt x="45" y="3"/>
                  </a:lnTo>
                  <a:lnTo>
                    <a:pt x="47" y="4"/>
                  </a:lnTo>
                  <a:lnTo>
                    <a:pt x="49" y="5"/>
                  </a:lnTo>
                  <a:lnTo>
                    <a:pt x="51" y="5"/>
                  </a:lnTo>
                  <a:lnTo>
                    <a:pt x="55" y="3"/>
                  </a:lnTo>
                  <a:lnTo>
                    <a:pt x="58" y="0"/>
                  </a:lnTo>
                  <a:lnTo>
                    <a:pt x="60" y="3"/>
                  </a:lnTo>
                  <a:lnTo>
                    <a:pt x="63" y="6"/>
                  </a:lnTo>
                  <a:lnTo>
                    <a:pt x="63" y="7"/>
                  </a:lnTo>
                  <a:lnTo>
                    <a:pt x="63" y="12"/>
                  </a:lnTo>
                  <a:lnTo>
                    <a:pt x="64" y="15"/>
                  </a:lnTo>
                  <a:lnTo>
                    <a:pt x="69" y="21"/>
                  </a:lnTo>
                  <a:lnTo>
                    <a:pt x="70" y="23"/>
                  </a:lnTo>
                  <a:lnTo>
                    <a:pt x="72" y="27"/>
                  </a:lnTo>
                  <a:lnTo>
                    <a:pt x="72" y="31"/>
                  </a:lnTo>
                  <a:lnTo>
                    <a:pt x="71" y="34"/>
                  </a:lnTo>
                  <a:lnTo>
                    <a:pt x="68" y="38"/>
                  </a:lnTo>
                  <a:lnTo>
                    <a:pt x="66" y="41"/>
                  </a:lnTo>
                  <a:lnTo>
                    <a:pt x="60" y="47"/>
                  </a:lnTo>
                  <a:lnTo>
                    <a:pt x="56" y="51"/>
                  </a:lnTo>
                  <a:lnTo>
                    <a:pt x="55" y="53"/>
                  </a:lnTo>
                  <a:lnTo>
                    <a:pt x="49" y="68"/>
                  </a:lnTo>
                  <a:lnTo>
                    <a:pt x="21" y="68"/>
                  </a:lnTo>
                  <a:lnTo>
                    <a:pt x="13" y="68"/>
                  </a:lnTo>
                  <a:lnTo>
                    <a:pt x="12" y="68"/>
                  </a:lnTo>
                  <a:lnTo>
                    <a:pt x="9" y="70"/>
                  </a:lnTo>
                  <a:lnTo>
                    <a:pt x="6" y="73"/>
                  </a:lnTo>
                  <a:lnTo>
                    <a:pt x="3" y="73"/>
                  </a:lnTo>
                  <a:lnTo>
                    <a:pt x="0" y="72"/>
                  </a:lnTo>
                  <a:lnTo>
                    <a:pt x="0" y="7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1" name="Freeform 123">
              <a:extLst>
                <a:ext uri="{FF2B5EF4-FFF2-40B4-BE49-F238E27FC236}">
                  <a16:creationId xmlns:a16="http://schemas.microsoft.com/office/drawing/2014/main" id="{7F611EE2-CF23-4CEA-0A0D-FD2F17715D59}"/>
                </a:ext>
              </a:extLst>
            </p:cNvPr>
            <p:cNvSpPr>
              <a:spLocks/>
            </p:cNvSpPr>
            <p:nvPr/>
          </p:nvSpPr>
          <p:spPr bwMode="auto">
            <a:xfrm>
              <a:off x="5881271" y="5262563"/>
              <a:ext cx="44450" cy="36513"/>
            </a:xfrm>
            <a:custGeom>
              <a:avLst/>
              <a:gdLst/>
              <a:ahLst/>
              <a:cxnLst>
                <a:cxn ang="0">
                  <a:pos x="1" y="21"/>
                </a:cxn>
                <a:cxn ang="0">
                  <a:pos x="0" y="19"/>
                </a:cxn>
                <a:cxn ang="0">
                  <a:pos x="3" y="11"/>
                </a:cxn>
                <a:cxn ang="0">
                  <a:pos x="4" y="8"/>
                </a:cxn>
                <a:cxn ang="0">
                  <a:pos x="5" y="7"/>
                </a:cxn>
                <a:cxn ang="0">
                  <a:pos x="7" y="6"/>
                </a:cxn>
                <a:cxn ang="0">
                  <a:pos x="10" y="3"/>
                </a:cxn>
                <a:cxn ang="0">
                  <a:pos x="10" y="4"/>
                </a:cxn>
                <a:cxn ang="0">
                  <a:pos x="13" y="5"/>
                </a:cxn>
                <a:cxn ang="0">
                  <a:pos x="16" y="5"/>
                </a:cxn>
                <a:cxn ang="0">
                  <a:pos x="19" y="2"/>
                </a:cxn>
                <a:cxn ang="0">
                  <a:pos x="22" y="0"/>
                </a:cxn>
                <a:cxn ang="0">
                  <a:pos x="23" y="0"/>
                </a:cxn>
                <a:cxn ang="0">
                  <a:pos x="24" y="4"/>
                </a:cxn>
                <a:cxn ang="0">
                  <a:pos x="26" y="9"/>
                </a:cxn>
                <a:cxn ang="0">
                  <a:pos x="28" y="12"/>
                </a:cxn>
                <a:cxn ang="0">
                  <a:pos x="27" y="15"/>
                </a:cxn>
                <a:cxn ang="0">
                  <a:pos x="26" y="16"/>
                </a:cxn>
                <a:cxn ang="0">
                  <a:pos x="24" y="17"/>
                </a:cxn>
                <a:cxn ang="0">
                  <a:pos x="22" y="17"/>
                </a:cxn>
                <a:cxn ang="0">
                  <a:pos x="19" y="17"/>
                </a:cxn>
                <a:cxn ang="0">
                  <a:pos x="16" y="18"/>
                </a:cxn>
                <a:cxn ang="0">
                  <a:pos x="13" y="22"/>
                </a:cxn>
                <a:cxn ang="0">
                  <a:pos x="13" y="22"/>
                </a:cxn>
                <a:cxn ang="0">
                  <a:pos x="10" y="23"/>
                </a:cxn>
                <a:cxn ang="0">
                  <a:pos x="5" y="21"/>
                </a:cxn>
                <a:cxn ang="0">
                  <a:pos x="1" y="21"/>
                </a:cxn>
              </a:cxnLst>
              <a:rect l="0" t="0" r="r" b="b"/>
              <a:pathLst>
                <a:path w="28" h="23">
                  <a:moveTo>
                    <a:pt x="1" y="21"/>
                  </a:moveTo>
                  <a:lnTo>
                    <a:pt x="0" y="19"/>
                  </a:lnTo>
                  <a:lnTo>
                    <a:pt x="3" y="11"/>
                  </a:lnTo>
                  <a:lnTo>
                    <a:pt x="4" y="8"/>
                  </a:lnTo>
                  <a:lnTo>
                    <a:pt x="5" y="7"/>
                  </a:lnTo>
                  <a:lnTo>
                    <a:pt x="7" y="6"/>
                  </a:lnTo>
                  <a:lnTo>
                    <a:pt x="10" y="3"/>
                  </a:lnTo>
                  <a:lnTo>
                    <a:pt x="10" y="4"/>
                  </a:lnTo>
                  <a:lnTo>
                    <a:pt x="13" y="5"/>
                  </a:lnTo>
                  <a:lnTo>
                    <a:pt x="16" y="5"/>
                  </a:lnTo>
                  <a:lnTo>
                    <a:pt x="19" y="2"/>
                  </a:lnTo>
                  <a:lnTo>
                    <a:pt x="22" y="0"/>
                  </a:lnTo>
                  <a:lnTo>
                    <a:pt x="23" y="0"/>
                  </a:lnTo>
                  <a:lnTo>
                    <a:pt x="24" y="4"/>
                  </a:lnTo>
                  <a:lnTo>
                    <a:pt x="26" y="9"/>
                  </a:lnTo>
                  <a:lnTo>
                    <a:pt x="28" y="12"/>
                  </a:lnTo>
                  <a:lnTo>
                    <a:pt x="27" y="15"/>
                  </a:lnTo>
                  <a:lnTo>
                    <a:pt x="26" y="16"/>
                  </a:lnTo>
                  <a:lnTo>
                    <a:pt x="24" y="17"/>
                  </a:lnTo>
                  <a:lnTo>
                    <a:pt x="22" y="17"/>
                  </a:lnTo>
                  <a:lnTo>
                    <a:pt x="19" y="17"/>
                  </a:lnTo>
                  <a:lnTo>
                    <a:pt x="16" y="18"/>
                  </a:lnTo>
                  <a:lnTo>
                    <a:pt x="13" y="22"/>
                  </a:lnTo>
                  <a:lnTo>
                    <a:pt x="13" y="22"/>
                  </a:lnTo>
                  <a:lnTo>
                    <a:pt x="10" y="23"/>
                  </a:lnTo>
                  <a:lnTo>
                    <a:pt x="5" y="21"/>
                  </a:lnTo>
                  <a:lnTo>
                    <a:pt x="1" y="2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2" name="Freeform 124">
              <a:extLst>
                <a:ext uri="{FF2B5EF4-FFF2-40B4-BE49-F238E27FC236}">
                  <a16:creationId xmlns:a16="http://schemas.microsoft.com/office/drawing/2014/main" id="{509CDF18-3457-976D-1313-EBFAE51D1325}"/>
                </a:ext>
              </a:extLst>
            </p:cNvPr>
            <p:cNvSpPr>
              <a:spLocks/>
            </p:cNvSpPr>
            <p:nvPr/>
          </p:nvSpPr>
          <p:spPr bwMode="auto">
            <a:xfrm>
              <a:off x="5882859" y="5289550"/>
              <a:ext cx="41275" cy="47625"/>
            </a:xfrm>
            <a:custGeom>
              <a:avLst/>
              <a:gdLst/>
              <a:ahLst/>
              <a:cxnLst>
                <a:cxn ang="0">
                  <a:pos x="6" y="30"/>
                </a:cxn>
                <a:cxn ang="0">
                  <a:pos x="6" y="22"/>
                </a:cxn>
                <a:cxn ang="0">
                  <a:pos x="5" y="18"/>
                </a:cxn>
                <a:cxn ang="0">
                  <a:pos x="5" y="14"/>
                </a:cxn>
                <a:cxn ang="0">
                  <a:pos x="5" y="12"/>
                </a:cxn>
                <a:cxn ang="0">
                  <a:pos x="4" y="10"/>
                </a:cxn>
                <a:cxn ang="0">
                  <a:pos x="0" y="4"/>
                </a:cxn>
                <a:cxn ang="0">
                  <a:pos x="4" y="4"/>
                </a:cxn>
                <a:cxn ang="0">
                  <a:pos x="9" y="6"/>
                </a:cxn>
                <a:cxn ang="0">
                  <a:pos x="12" y="5"/>
                </a:cxn>
                <a:cxn ang="0">
                  <a:pos x="12" y="5"/>
                </a:cxn>
                <a:cxn ang="0">
                  <a:pos x="15" y="1"/>
                </a:cxn>
                <a:cxn ang="0">
                  <a:pos x="18" y="0"/>
                </a:cxn>
                <a:cxn ang="0">
                  <a:pos x="21" y="0"/>
                </a:cxn>
                <a:cxn ang="0">
                  <a:pos x="20" y="6"/>
                </a:cxn>
                <a:cxn ang="0">
                  <a:pos x="21" y="7"/>
                </a:cxn>
                <a:cxn ang="0">
                  <a:pos x="24" y="8"/>
                </a:cxn>
                <a:cxn ang="0">
                  <a:pos x="25" y="8"/>
                </a:cxn>
                <a:cxn ang="0">
                  <a:pos x="26" y="10"/>
                </a:cxn>
                <a:cxn ang="0">
                  <a:pos x="26" y="11"/>
                </a:cxn>
                <a:cxn ang="0">
                  <a:pos x="24" y="13"/>
                </a:cxn>
                <a:cxn ang="0">
                  <a:pos x="20" y="17"/>
                </a:cxn>
                <a:cxn ang="0">
                  <a:pos x="16" y="25"/>
                </a:cxn>
                <a:cxn ang="0">
                  <a:pos x="14" y="28"/>
                </a:cxn>
                <a:cxn ang="0">
                  <a:pos x="6" y="30"/>
                </a:cxn>
              </a:cxnLst>
              <a:rect l="0" t="0" r="r" b="b"/>
              <a:pathLst>
                <a:path w="26" h="30">
                  <a:moveTo>
                    <a:pt x="6" y="30"/>
                  </a:moveTo>
                  <a:lnTo>
                    <a:pt x="6" y="22"/>
                  </a:lnTo>
                  <a:lnTo>
                    <a:pt x="5" y="18"/>
                  </a:lnTo>
                  <a:lnTo>
                    <a:pt x="5" y="14"/>
                  </a:lnTo>
                  <a:lnTo>
                    <a:pt x="5" y="12"/>
                  </a:lnTo>
                  <a:lnTo>
                    <a:pt x="4" y="10"/>
                  </a:lnTo>
                  <a:lnTo>
                    <a:pt x="0" y="4"/>
                  </a:lnTo>
                  <a:lnTo>
                    <a:pt x="4" y="4"/>
                  </a:lnTo>
                  <a:lnTo>
                    <a:pt x="9" y="6"/>
                  </a:lnTo>
                  <a:lnTo>
                    <a:pt x="12" y="5"/>
                  </a:lnTo>
                  <a:lnTo>
                    <a:pt x="12" y="5"/>
                  </a:lnTo>
                  <a:lnTo>
                    <a:pt x="15" y="1"/>
                  </a:lnTo>
                  <a:lnTo>
                    <a:pt x="18" y="0"/>
                  </a:lnTo>
                  <a:lnTo>
                    <a:pt x="21" y="0"/>
                  </a:lnTo>
                  <a:lnTo>
                    <a:pt x="20" y="6"/>
                  </a:lnTo>
                  <a:lnTo>
                    <a:pt x="21" y="7"/>
                  </a:lnTo>
                  <a:lnTo>
                    <a:pt x="24" y="8"/>
                  </a:lnTo>
                  <a:lnTo>
                    <a:pt x="25" y="8"/>
                  </a:lnTo>
                  <a:lnTo>
                    <a:pt x="26" y="10"/>
                  </a:lnTo>
                  <a:lnTo>
                    <a:pt x="26" y="11"/>
                  </a:lnTo>
                  <a:lnTo>
                    <a:pt x="24" y="13"/>
                  </a:lnTo>
                  <a:lnTo>
                    <a:pt x="20" y="17"/>
                  </a:lnTo>
                  <a:lnTo>
                    <a:pt x="16" y="25"/>
                  </a:lnTo>
                  <a:lnTo>
                    <a:pt x="14" y="28"/>
                  </a:lnTo>
                  <a:lnTo>
                    <a:pt x="6" y="3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3" name="Freeform 125">
              <a:extLst>
                <a:ext uri="{FF2B5EF4-FFF2-40B4-BE49-F238E27FC236}">
                  <a16:creationId xmlns:a16="http://schemas.microsoft.com/office/drawing/2014/main" id="{A8765B60-C871-FA0C-6D92-0E5DC548056F}"/>
                </a:ext>
              </a:extLst>
            </p:cNvPr>
            <p:cNvSpPr>
              <a:spLocks/>
            </p:cNvSpPr>
            <p:nvPr/>
          </p:nvSpPr>
          <p:spPr bwMode="auto">
            <a:xfrm>
              <a:off x="6170196" y="4837113"/>
              <a:ext cx="214313" cy="136525"/>
            </a:xfrm>
            <a:custGeom>
              <a:avLst/>
              <a:gdLst/>
              <a:ahLst/>
              <a:cxnLst>
                <a:cxn ang="0">
                  <a:pos x="133" y="32"/>
                </a:cxn>
                <a:cxn ang="0">
                  <a:pos x="126" y="38"/>
                </a:cxn>
                <a:cxn ang="0">
                  <a:pos x="123" y="43"/>
                </a:cxn>
                <a:cxn ang="0">
                  <a:pos x="121" y="47"/>
                </a:cxn>
                <a:cxn ang="0">
                  <a:pos x="99" y="55"/>
                </a:cxn>
                <a:cxn ang="0">
                  <a:pos x="86" y="59"/>
                </a:cxn>
                <a:cxn ang="0">
                  <a:pos x="81" y="65"/>
                </a:cxn>
                <a:cxn ang="0">
                  <a:pos x="76" y="67"/>
                </a:cxn>
                <a:cxn ang="0">
                  <a:pos x="69" y="67"/>
                </a:cxn>
                <a:cxn ang="0">
                  <a:pos x="61" y="72"/>
                </a:cxn>
                <a:cxn ang="0">
                  <a:pos x="51" y="76"/>
                </a:cxn>
                <a:cxn ang="0">
                  <a:pos x="41" y="76"/>
                </a:cxn>
                <a:cxn ang="0">
                  <a:pos x="36" y="79"/>
                </a:cxn>
                <a:cxn ang="0">
                  <a:pos x="32" y="82"/>
                </a:cxn>
                <a:cxn ang="0">
                  <a:pos x="27" y="84"/>
                </a:cxn>
                <a:cxn ang="0">
                  <a:pos x="23" y="86"/>
                </a:cxn>
                <a:cxn ang="0">
                  <a:pos x="15" y="86"/>
                </a:cxn>
                <a:cxn ang="0">
                  <a:pos x="10" y="82"/>
                </a:cxn>
                <a:cxn ang="0">
                  <a:pos x="8" y="78"/>
                </a:cxn>
                <a:cxn ang="0">
                  <a:pos x="8" y="70"/>
                </a:cxn>
                <a:cxn ang="0">
                  <a:pos x="5" y="60"/>
                </a:cxn>
                <a:cxn ang="0">
                  <a:pos x="0" y="45"/>
                </a:cxn>
                <a:cxn ang="0">
                  <a:pos x="2" y="37"/>
                </a:cxn>
                <a:cxn ang="0">
                  <a:pos x="6" y="29"/>
                </a:cxn>
                <a:cxn ang="0">
                  <a:pos x="6" y="22"/>
                </a:cxn>
                <a:cxn ang="0">
                  <a:pos x="9" y="20"/>
                </a:cxn>
                <a:cxn ang="0">
                  <a:pos x="15" y="22"/>
                </a:cxn>
                <a:cxn ang="0">
                  <a:pos x="22" y="22"/>
                </a:cxn>
                <a:cxn ang="0">
                  <a:pos x="37" y="53"/>
                </a:cxn>
                <a:cxn ang="0">
                  <a:pos x="60" y="23"/>
                </a:cxn>
                <a:cxn ang="0">
                  <a:pos x="63" y="20"/>
                </a:cxn>
                <a:cxn ang="0">
                  <a:pos x="93" y="9"/>
                </a:cxn>
                <a:cxn ang="0">
                  <a:pos x="118" y="1"/>
                </a:cxn>
                <a:cxn ang="0">
                  <a:pos x="119" y="4"/>
                </a:cxn>
                <a:cxn ang="0">
                  <a:pos x="124" y="14"/>
                </a:cxn>
                <a:cxn ang="0">
                  <a:pos x="131" y="24"/>
                </a:cxn>
                <a:cxn ang="0">
                  <a:pos x="133" y="30"/>
                </a:cxn>
              </a:cxnLst>
              <a:rect l="0" t="0" r="r" b="b"/>
              <a:pathLst>
                <a:path w="135" h="86">
                  <a:moveTo>
                    <a:pt x="135" y="32"/>
                  </a:moveTo>
                  <a:lnTo>
                    <a:pt x="133" y="32"/>
                  </a:lnTo>
                  <a:lnTo>
                    <a:pt x="130" y="34"/>
                  </a:lnTo>
                  <a:lnTo>
                    <a:pt x="126" y="38"/>
                  </a:lnTo>
                  <a:lnTo>
                    <a:pt x="125" y="40"/>
                  </a:lnTo>
                  <a:lnTo>
                    <a:pt x="123" y="43"/>
                  </a:lnTo>
                  <a:lnTo>
                    <a:pt x="123" y="45"/>
                  </a:lnTo>
                  <a:lnTo>
                    <a:pt x="121" y="47"/>
                  </a:lnTo>
                  <a:lnTo>
                    <a:pt x="112" y="51"/>
                  </a:lnTo>
                  <a:lnTo>
                    <a:pt x="99" y="55"/>
                  </a:lnTo>
                  <a:lnTo>
                    <a:pt x="92" y="58"/>
                  </a:lnTo>
                  <a:lnTo>
                    <a:pt x="86" y="59"/>
                  </a:lnTo>
                  <a:lnTo>
                    <a:pt x="84" y="61"/>
                  </a:lnTo>
                  <a:lnTo>
                    <a:pt x="81" y="65"/>
                  </a:lnTo>
                  <a:lnTo>
                    <a:pt x="79" y="67"/>
                  </a:lnTo>
                  <a:lnTo>
                    <a:pt x="76" y="67"/>
                  </a:lnTo>
                  <a:lnTo>
                    <a:pt x="72" y="67"/>
                  </a:lnTo>
                  <a:lnTo>
                    <a:pt x="69" y="67"/>
                  </a:lnTo>
                  <a:lnTo>
                    <a:pt x="65" y="70"/>
                  </a:lnTo>
                  <a:lnTo>
                    <a:pt x="61" y="72"/>
                  </a:lnTo>
                  <a:lnTo>
                    <a:pt x="55" y="75"/>
                  </a:lnTo>
                  <a:lnTo>
                    <a:pt x="51" y="76"/>
                  </a:lnTo>
                  <a:lnTo>
                    <a:pt x="44" y="76"/>
                  </a:lnTo>
                  <a:lnTo>
                    <a:pt x="41" y="76"/>
                  </a:lnTo>
                  <a:lnTo>
                    <a:pt x="39" y="77"/>
                  </a:lnTo>
                  <a:lnTo>
                    <a:pt x="36" y="79"/>
                  </a:lnTo>
                  <a:lnTo>
                    <a:pt x="35" y="80"/>
                  </a:lnTo>
                  <a:lnTo>
                    <a:pt x="32" y="82"/>
                  </a:lnTo>
                  <a:lnTo>
                    <a:pt x="29" y="84"/>
                  </a:lnTo>
                  <a:lnTo>
                    <a:pt x="27" y="84"/>
                  </a:lnTo>
                  <a:lnTo>
                    <a:pt x="26" y="84"/>
                  </a:lnTo>
                  <a:lnTo>
                    <a:pt x="23" y="86"/>
                  </a:lnTo>
                  <a:lnTo>
                    <a:pt x="18" y="86"/>
                  </a:lnTo>
                  <a:lnTo>
                    <a:pt x="15" y="86"/>
                  </a:lnTo>
                  <a:lnTo>
                    <a:pt x="11" y="83"/>
                  </a:lnTo>
                  <a:lnTo>
                    <a:pt x="10" y="82"/>
                  </a:lnTo>
                  <a:lnTo>
                    <a:pt x="8" y="80"/>
                  </a:lnTo>
                  <a:lnTo>
                    <a:pt x="8" y="78"/>
                  </a:lnTo>
                  <a:lnTo>
                    <a:pt x="9" y="74"/>
                  </a:lnTo>
                  <a:lnTo>
                    <a:pt x="8" y="70"/>
                  </a:lnTo>
                  <a:lnTo>
                    <a:pt x="6" y="67"/>
                  </a:lnTo>
                  <a:lnTo>
                    <a:pt x="5" y="60"/>
                  </a:lnTo>
                  <a:lnTo>
                    <a:pt x="1" y="48"/>
                  </a:lnTo>
                  <a:lnTo>
                    <a:pt x="0" y="45"/>
                  </a:lnTo>
                  <a:lnTo>
                    <a:pt x="2" y="41"/>
                  </a:lnTo>
                  <a:lnTo>
                    <a:pt x="2" y="37"/>
                  </a:lnTo>
                  <a:lnTo>
                    <a:pt x="6" y="33"/>
                  </a:lnTo>
                  <a:lnTo>
                    <a:pt x="6" y="29"/>
                  </a:lnTo>
                  <a:lnTo>
                    <a:pt x="6" y="25"/>
                  </a:lnTo>
                  <a:lnTo>
                    <a:pt x="6" y="22"/>
                  </a:lnTo>
                  <a:lnTo>
                    <a:pt x="8" y="21"/>
                  </a:lnTo>
                  <a:lnTo>
                    <a:pt x="9" y="20"/>
                  </a:lnTo>
                  <a:lnTo>
                    <a:pt x="13" y="22"/>
                  </a:lnTo>
                  <a:lnTo>
                    <a:pt x="15" y="22"/>
                  </a:lnTo>
                  <a:lnTo>
                    <a:pt x="20" y="22"/>
                  </a:lnTo>
                  <a:lnTo>
                    <a:pt x="22" y="22"/>
                  </a:lnTo>
                  <a:lnTo>
                    <a:pt x="29" y="37"/>
                  </a:lnTo>
                  <a:lnTo>
                    <a:pt x="37" y="53"/>
                  </a:lnTo>
                  <a:lnTo>
                    <a:pt x="49" y="37"/>
                  </a:lnTo>
                  <a:lnTo>
                    <a:pt x="60" y="23"/>
                  </a:lnTo>
                  <a:lnTo>
                    <a:pt x="63" y="21"/>
                  </a:lnTo>
                  <a:lnTo>
                    <a:pt x="63" y="20"/>
                  </a:lnTo>
                  <a:lnTo>
                    <a:pt x="66" y="19"/>
                  </a:lnTo>
                  <a:lnTo>
                    <a:pt x="93" y="9"/>
                  </a:lnTo>
                  <a:lnTo>
                    <a:pt x="111" y="3"/>
                  </a:lnTo>
                  <a:lnTo>
                    <a:pt x="118" y="1"/>
                  </a:lnTo>
                  <a:lnTo>
                    <a:pt x="119" y="0"/>
                  </a:lnTo>
                  <a:lnTo>
                    <a:pt x="119" y="4"/>
                  </a:lnTo>
                  <a:lnTo>
                    <a:pt x="120" y="8"/>
                  </a:lnTo>
                  <a:lnTo>
                    <a:pt x="124" y="14"/>
                  </a:lnTo>
                  <a:lnTo>
                    <a:pt x="130" y="22"/>
                  </a:lnTo>
                  <a:lnTo>
                    <a:pt x="131" y="24"/>
                  </a:lnTo>
                  <a:lnTo>
                    <a:pt x="130" y="26"/>
                  </a:lnTo>
                  <a:lnTo>
                    <a:pt x="133" y="30"/>
                  </a:lnTo>
                  <a:lnTo>
                    <a:pt x="135" y="3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4" name="Freeform 126">
              <a:extLst>
                <a:ext uri="{FF2B5EF4-FFF2-40B4-BE49-F238E27FC236}">
                  <a16:creationId xmlns:a16="http://schemas.microsoft.com/office/drawing/2014/main" id="{F68D5D32-0A9D-E2B2-FE28-62E95616503C}"/>
                </a:ext>
              </a:extLst>
            </p:cNvPr>
            <p:cNvSpPr>
              <a:spLocks/>
            </p:cNvSpPr>
            <p:nvPr/>
          </p:nvSpPr>
          <p:spPr bwMode="auto">
            <a:xfrm>
              <a:off x="6338471" y="4678363"/>
              <a:ext cx="15875" cy="38100"/>
            </a:xfrm>
            <a:custGeom>
              <a:avLst/>
              <a:gdLst/>
              <a:ahLst/>
              <a:cxnLst>
                <a:cxn ang="0">
                  <a:pos x="6" y="24"/>
                </a:cxn>
                <a:cxn ang="0">
                  <a:pos x="4" y="24"/>
                </a:cxn>
                <a:cxn ang="0">
                  <a:pos x="2" y="23"/>
                </a:cxn>
                <a:cxn ang="0">
                  <a:pos x="2" y="19"/>
                </a:cxn>
                <a:cxn ang="0">
                  <a:pos x="1" y="17"/>
                </a:cxn>
                <a:cxn ang="0">
                  <a:pos x="0" y="11"/>
                </a:cxn>
                <a:cxn ang="0">
                  <a:pos x="1" y="7"/>
                </a:cxn>
                <a:cxn ang="0">
                  <a:pos x="2" y="6"/>
                </a:cxn>
                <a:cxn ang="0">
                  <a:pos x="2" y="5"/>
                </a:cxn>
                <a:cxn ang="0">
                  <a:pos x="3" y="2"/>
                </a:cxn>
                <a:cxn ang="0">
                  <a:pos x="5" y="0"/>
                </a:cxn>
                <a:cxn ang="0">
                  <a:pos x="7" y="0"/>
                </a:cxn>
                <a:cxn ang="0">
                  <a:pos x="7" y="2"/>
                </a:cxn>
                <a:cxn ang="0">
                  <a:pos x="9" y="3"/>
                </a:cxn>
                <a:cxn ang="0">
                  <a:pos x="9" y="4"/>
                </a:cxn>
                <a:cxn ang="0">
                  <a:pos x="10" y="6"/>
                </a:cxn>
                <a:cxn ang="0">
                  <a:pos x="9" y="9"/>
                </a:cxn>
                <a:cxn ang="0">
                  <a:pos x="10" y="14"/>
                </a:cxn>
                <a:cxn ang="0">
                  <a:pos x="10" y="15"/>
                </a:cxn>
                <a:cxn ang="0">
                  <a:pos x="10" y="18"/>
                </a:cxn>
                <a:cxn ang="0">
                  <a:pos x="8" y="21"/>
                </a:cxn>
                <a:cxn ang="0">
                  <a:pos x="6" y="24"/>
                </a:cxn>
              </a:cxnLst>
              <a:rect l="0" t="0" r="r" b="b"/>
              <a:pathLst>
                <a:path w="10" h="24">
                  <a:moveTo>
                    <a:pt x="6" y="24"/>
                  </a:moveTo>
                  <a:lnTo>
                    <a:pt x="4" y="24"/>
                  </a:lnTo>
                  <a:lnTo>
                    <a:pt x="2" y="23"/>
                  </a:lnTo>
                  <a:lnTo>
                    <a:pt x="2" y="19"/>
                  </a:lnTo>
                  <a:lnTo>
                    <a:pt x="1" y="17"/>
                  </a:lnTo>
                  <a:lnTo>
                    <a:pt x="0" y="11"/>
                  </a:lnTo>
                  <a:lnTo>
                    <a:pt x="1" y="7"/>
                  </a:lnTo>
                  <a:lnTo>
                    <a:pt x="2" y="6"/>
                  </a:lnTo>
                  <a:lnTo>
                    <a:pt x="2" y="5"/>
                  </a:lnTo>
                  <a:lnTo>
                    <a:pt x="3" y="2"/>
                  </a:lnTo>
                  <a:lnTo>
                    <a:pt x="5" y="0"/>
                  </a:lnTo>
                  <a:lnTo>
                    <a:pt x="7" y="0"/>
                  </a:lnTo>
                  <a:lnTo>
                    <a:pt x="7" y="2"/>
                  </a:lnTo>
                  <a:lnTo>
                    <a:pt x="9" y="3"/>
                  </a:lnTo>
                  <a:lnTo>
                    <a:pt x="9" y="4"/>
                  </a:lnTo>
                  <a:lnTo>
                    <a:pt x="10" y="6"/>
                  </a:lnTo>
                  <a:lnTo>
                    <a:pt x="9" y="9"/>
                  </a:lnTo>
                  <a:lnTo>
                    <a:pt x="10" y="14"/>
                  </a:lnTo>
                  <a:lnTo>
                    <a:pt x="10" y="15"/>
                  </a:lnTo>
                  <a:lnTo>
                    <a:pt x="10" y="18"/>
                  </a:lnTo>
                  <a:lnTo>
                    <a:pt x="8" y="21"/>
                  </a:lnTo>
                  <a:lnTo>
                    <a:pt x="6"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5" name="Freeform 127">
              <a:extLst>
                <a:ext uri="{FF2B5EF4-FFF2-40B4-BE49-F238E27FC236}">
                  <a16:creationId xmlns:a16="http://schemas.microsoft.com/office/drawing/2014/main" id="{F0ACD11A-F7EA-5DBD-89E9-F6633AF4B6D6}"/>
                </a:ext>
              </a:extLst>
            </p:cNvPr>
            <p:cNvSpPr>
              <a:spLocks/>
            </p:cNvSpPr>
            <p:nvPr/>
          </p:nvSpPr>
          <p:spPr bwMode="auto">
            <a:xfrm>
              <a:off x="6151146" y="4972050"/>
              <a:ext cx="34925" cy="39688"/>
            </a:xfrm>
            <a:custGeom>
              <a:avLst/>
              <a:gdLst/>
              <a:ahLst/>
              <a:cxnLst>
                <a:cxn ang="0">
                  <a:pos x="15" y="24"/>
                </a:cxn>
                <a:cxn ang="0">
                  <a:pos x="11" y="23"/>
                </a:cxn>
                <a:cxn ang="0">
                  <a:pos x="9" y="23"/>
                </a:cxn>
                <a:cxn ang="0">
                  <a:pos x="4" y="25"/>
                </a:cxn>
                <a:cxn ang="0">
                  <a:pos x="1" y="25"/>
                </a:cxn>
                <a:cxn ang="0">
                  <a:pos x="0" y="18"/>
                </a:cxn>
                <a:cxn ang="0">
                  <a:pos x="0" y="16"/>
                </a:cxn>
                <a:cxn ang="0">
                  <a:pos x="0" y="14"/>
                </a:cxn>
                <a:cxn ang="0">
                  <a:pos x="3" y="10"/>
                </a:cxn>
                <a:cxn ang="0">
                  <a:pos x="7" y="5"/>
                </a:cxn>
                <a:cxn ang="0">
                  <a:pos x="7" y="4"/>
                </a:cxn>
                <a:cxn ang="0">
                  <a:pos x="8" y="4"/>
                </a:cxn>
                <a:cxn ang="0">
                  <a:pos x="11" y="4"/>
                </a:cxn>
                <a:cxn ang="0">
                  <a:pos x="13" y="6"/>
                </a:cxn>
                <a:cxn ang="0">
                  <a:pos x="16" y="1"/>
                </a:cxn>
                <a:cxn ang="0">
                  <a:pos x="16" y="0"/>
                </a:cxn>
                <a:cxn ang="0">
                  <a:pos x="20" y="4"/>
                </a:cxn>
                <a:cxn ang="0">
                  <a:pos x="22" y="7"/>
                </a:cxn>
                <a:cxn ang="0">
                  <a:pos x="22" y="9"/>
                </a:cxn>
                <a:cxn ang="0">
                  <a:pos x="21" y="9"/>
                </a:cxn>
                <a:cxn ang="0">
                  <a:pos x="19" y="10"/>
                </a:cxn>
                <a:cxn ang="0">
                  <a:pos x="17" y="11"/>
                </a:cxn>
                <a:cxn ang="0">
                  <a:pos x="13" y="13"/>
                </a:cxn>
                <a:cxn ang="0">
                  <a:pos x="10" y="15"/>
                </a:cxn>
                <a:cxn ang="0">
                  <a:pos x="11" y="16"/>
                </a:cxn>
                <a:cxn ang="0">
                  <a:pos x="15" y="16"/>
                </a:cxn>
                <a:cxn ang="0">
                  <a:pos x="17" y="16"/>
                </a:cxn>
                <a:cxn ang="0">
                  <a:pos x="20" y="17"/>
                </a:cxn>
                <a:cxn ang="0">
                  <a:pos x="19" y="18"/>
                </a:cxn>
                <a:cxn ang="0">
                  <a:pos x="17" y="21"/>
                </a:cxn>
                <a:cxn ang="0">
                  <a:pos x="15" y="24"/>
                </a:cxn>
              </a:cxnLst>
              <a:rect l="0" t="0" r="r" b="b"/>
              <a:pathLst>
                <a:path w="22" h="25">
                  <a:moveTo>
                    <a:pt x="15" y="24"/>
                  </a:moveTo>
                  <a:lnTo>
                    <a:pt x="11" y="23"/>
                  </a:lnTo>
                  <a:lnTo>
                    <a:pt x="9" y="23"/>
                  </a:lnTo>
                  <a:lnTo>
                    <a:pt x="4" y="25"/>
                  </a:lnTo>
                  <a:lnTo>
                    <a:pt x="1" y="25"/>
                  </a:lnTo>
                  <a:lnTo>
                    <a:pt x="0" y="18"/>
                  </a:lnTo>
                  <a:lnTo>
                    <a:pt x="0" y="16"/>
                  </a:lnTo>
                  <a:lnTo>
                    <a:pt x="0" y="14"/>
                  </a:lnTo>
                  <a:lnTo>
                    <a:pt x="3" y="10"/>
                  </a:lnTo>
                  <a:lnTo>
                    <a:pt x="7" y="5"/>
                  </a:lnTo>
                  <a:lnTo>
                    <a:pt x="7" y="4"/>
                  </a:lnTo>
                  <a:lnTo>
                    <a:pt x="8" y="4"/>
                  </a:lnTo>
                  <a:lnTo>
                    <a:pt x="11" y="4"/>
                  </a:lnTo>
                  <a:lnTo>
                    <a:pt x="13" y="6"/>
                  </a:lnTo>
                  <a:lnTo>
                    <a:pt x="16" y="1"/>
                  </a:lnTo>
                  <a:lnTo>
                    <a:pt x="16" y="0"/>
                  </a:lnTo>
                  <a:lnTo>
                    <a:pt x="20" y="4"/>
                  </a:lnTo>
                  <a:lnTo>
                    <a:pt x="22" y="7"/>
                  </a:lnTo>
                  <a:lnTo>
                    <a:pt x="22" y="9"/>
                  </a:lnTo>
                  <a:lnTo>
                    <a:pt x="21" y="9"/>
                  </a:lnTo>
                  <a:lnTo>
                    <a:pt x="19" y="10"/>
                  </a:lnTo>
                  <a:lnTo>
                    <a:pt x="17" y="11"/>
                  </a:lnTo>
                  <a:lnTo>
                    <a:pt x="13" y="13"/>
                  </a:lnTo>
                  <a:lnTo>
                    <a:pt x="10" y="15"/>
                  </a:lnTo>
                  <a:lnTo>
                    <a:pt x="11" y="16"/>
                  </a:lnTo>
                  <a:lnTo>
                    <a:pt x="15" y="16"/>
                  </a:lnTo>
                  <a:lnTo>
                    <a:pt x="17" y="16"/>
                  </a:lnTo>
                  <a:lnTo>
                    <a:pt x="20" y="17"/>
                  </a:lnTo>
                  <a:lnTo>
                    <a:pt x="19" y="18"/>
                  </a:lnTo>
                  <a:lnTo>
                    <a:pt x="17" y="21"/>
                  </a:lnTo>
                  <a:lnTo>
                    <a:pt x="15"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6" name="Freeform 128">
              <a:extLst>
                <a:ext uri="{FF2B5EF4-FFF2-40B4-BE49-F238E27FC236}">
                  <a16:creationId xmlns:a16="http://schemas.microsoft.com/office/drawing/2014/main" id="{C713F57B-C0AB-0885-D56F-CB277BA4C5C7}"/>
                </a:ext>
              </a:extLst>
            </p:cNvPr>
            <p:cNvSpPr>
              <a:spLocks/>
            </p:cNvSpPr>
            <p:nvPr/>
          </p:nvSpPr>
          <p:spPr bwMode="auto">
            <a:xfrm>
              <a:off x="6344821" y="4679950"/>
              <a:ext cx="109538" cy="88900"/>
            </a:xfrm>
            <a:custGeom>
              <a:avLst/>
              <a:gdLst/>
              <a:ahLst/>
              <a:cxnLst>
                <a:cxn ang="0">
                  <a:pos x="0" y="23"/>
                </a:cxn>
                <a:cxn ang="0">
                  <a:pos x="2" y="23"/>
                </a:cxn>
                <a:cxn ang="0">
                  <a:pos x="2" y="25"/>
                </a:cxn>
                <a:cxn ang="0">
                  <a:pos x="4" y="25"/>
                </a:cxn>
                <a:cxn ang="0">
                  <a:pos x="5" y="26"/>
                </a:cxn>
                <a:cxn ang="0">
                  <a:pos x="6" y="26"/>
                </a:cxn>
                <a:cxn ang="0">
                  <a:pos x="6" y="28"/>
                </a:cxn>
                <a:cxn ang="0">
                  <a:pos x="8" y="28"/>
                </a:cxn>
                <a:cxn ang="0">
                  <a:pos x="10" y="29"/>
                </a:cxn>
                <a:cxn ang="0">
                  <a:pos x="15" y="29"/>
                </a:cxn>
                <a:cxn ang="0">
                  <a:pos x="15" y="27"/>
                </a:cxn>
                <a:cxn ang="0">
                  <a:pos x="16" y="27"/>
                </a:cxn>
                <a:cxn ang="0">
                  <a:pos x="18" y="28"/>
                </a:cxn>
                <a:cxn ang="0">
                  <a:pos x="20" y="28"/>
                </a:cxn>
                <a:cxn ang="0">
                  <a:pos x="24" y="28"/>
                </a:cxn>
                <a:cxn ang="0">
                  <a:pos x="25" y="28"/>
                </a:cxn>
                <a:cxn ang="0">
                  <a:pos x="25" y="27"/>
                </a:cxn>
                <a:cxn ang="0">
                  <a:pos x="33" y="29"/>
                </a:cxn>
                <a:cxn ang="0">
                  <a:pos x="38" y="28"/>
                </a:cxn>
                <a:cxn ang="0">
                  <a:pos x="37" y="26"/>
                </a:cxn>
                <a:cxn ang="0">
                  <a:pos x="39" y="27"/>
                </a:cxn>
                <a:cxn ang="0">
                  <a:pos x="41" y="27"/>
                </a:cxn>
                <a:cxn ang="0">
                  <a:pos x="42" y="26"/>
                </a:cxn>
                <a:cxn ang="0">
                  <a:pos x="44" y="23"/>
                </a:cxn>
                <a:cxn ang="0">
                  <a:pos x="45" y="23"/>
                </a:cxn>
                <a:cxn ang="0">
                  <a:pos x="47" y="20"/>
                </a:cxn>
                <a:cxn ang="0">
                  <a:pos x="48" y="18"/>
                </a:cxn>
                <a:cxn ang="0">
                  <a:pos x="52" y="14"/>
                </a:cxn>
                <a:cxn ang="0">
                  <a:pos x="57" y="8"/>
                </a:cxn>
                <a:cxn ang="0">
                  <a:pos x="57" y="9"/>
                </a:cxn>
                <a:cxn ang="0">
                  <a:pos x="59" y="8"/>
                </a:cxn>
                <a:cxn ang="0">
                  <a:pos x="64" y="3"/>
                </a:cxn>
                <a:cxn ang="0">
                  <a:pos x="66" y="0"/>
                </a:cxn>
                <a:cxn ang="0">
                  <a:pos x="66" y="1"/>
                </a:cxn>
                <a:cxn ang="0">
                  <a:pos x="65" y="4"/>
                </a:cxn>
                <a:cxn ang="0">
                  <a:pos x="64" y="6"/>
                </a:cxn>
                <a:cxn ang="0">
                  <a:pos x="64" y="7"/>
                </a:cxn>
                <a:cxn ang="0">
                  <a:pos x="65" y="7"/>
                </a:cxn>
                <a:cxn ang="0">
                  <a:pos x="66" y="7"/>
                </a:cxn>
                <a:cxn ang="0">
                  <a:pos x="68" y="8"/>
                </a:cxn>
                <a:cxn ang="0">
                  <a:pos x="69" y="10"/>
                </a:cxn>
                <a:cxn ang="0">
                  <a:pos x="69" y="13"/>
                </a:cxn>
                <a:cxn ang="0">
                  <a:pos x="69" y="15"/>
                </a:cxn>
                <a:cxn ang="0">
                  <a:pos x="66" y="16"/>
                </a:cxn>
                <a:cxn ang="0">
                  <a:pos x="64" y="15"/>
                </a:cxn>
                <a:cxn ang="0">
                  <a:pos x="63" y="17"/>
                </a:cxn>
                <a:cxn ang="0">
                  <a:pos x="63" y="26"/>
                </a:cxn>
                <a:cxn ang="0">
                  <a:pos x="62" y="28"/>
                </a:cxn>
                <a:cxn ang="0">
                  <a:pos x="59" y="32"/>
                </a:cxn>
                <a:cxn ang="0">
                  <a:pos x="59" y="38"/>
                </a:cxn>
                <a:cxn ang="0">
                  <a:pos x="59" y="52"/>
                </a:cxn>
                <a:cxn ang="0">
                  <a:pos x="60" y="53"/>
                </a:cxn>
                <a:cxn ang="0">
                  <a:pos x="59" y="53"/>
                </a:cxn>
                <a:cxn ang="0">
                  <a:pos x="55" y="56"/>
                </a:cxn>
                <a:cxn ang="0">
                  <a:pos x="50" y="55"/>
                </a:cxn>
                <a:cxn ang="0">
                  <a:pos x="30" y="52"/>
                </a:cxn>
                <a:cxn ang="0">
                  <a:pos x="11" y="50"/>
                </a:cxn>
                <a:cxn ang="0">
                  <a:pos x="9" y="44"/>
                </a:cxn>
                <a:cxn ang="0">
                  <a:pos x="6" y="37"/>
                </a:cxn>
                <a:cxn ang="0">
                  <a:pos x="0" y="23"/>
                </a:cxn>
              </a:cxnLst>
              <a:rect l="0" t="0" r="r" b="b"/>
              <a:pathLst>
                <a:path w="69" h="56">
                  <a:moveTo>
                    <a:pt x="0" y="23"/>
                  </a:moveTo>
                  <a:lnTo>
                    <a:pt x="2" y="23"/>
                  </a:lnTo>
                  <a:lnTo>
                    <a:pt x="2" y="25"/>
                  </a:lnTo>
                  <a:lnTo>
                    <a:pt x="4" y="25"/>
                  </a:lnTo>
                  <a:lnTo>
                    <a:pt x="5" y="26"/>
                  </a:lnTo>
                  <a:lnTo>
                    <a:pt x="6" y="26"/>
                  </a:lnTo>
                  <a:lnTo>
                    <a:pt x="6" y="28"/>
                  </a:lnTo>
                  <a:lnTo>
                    <a:pt x="8" y="28"/>
                  </a:lnTo>
                  <a:lnTo>
                    <a:pt x="10" y="29"/>
                  </a:lnTo>
                  <a:lnTo>
                    <a:pt x="15" y="29"/>
                  </a:lnTo>
                  <a:lnTo>
                    <a:pt x="15" y="27"/>
                  </a:lnTo>
                  <a:lnTo>
                    <a:pt x="16" y="27"/>
                  </a:lnTo>
                  <a:lnTo>
                    <a:pt x="18" y="28"/>
                  </a:lnTo>
                  <a:lnTo>
                    <a:pt x="20" y="28"/>
                  </a:lnTo>
                  <a:lnTo>
                    <a:pt x="24" y="28"/>
                  </a:lnTo>
                  <a:lnTo>
                    <a:pt x="25" y="28"/>
                  </a:lnTo>
                  <a:lnTo>
                    <a:pt x="25" y="27"/>
                  </a:lnTo>
                  <a:lnTo>
                    <a:pt x="33" y="29"/>
                  </a:lnTo>
                  <a:lnTo>
                    <a:pt x="38" y="28"/>
                  </a:lnTo>
                  <a:lnTo>
                    <a:pt x="37" y="26"/>
                  </a:lnTo>
                  <a:lnTo>
                    <a:pt x="39" y="27"/>
                  </a:lnTo>
                  <a:lnTo>
                    <a:pt x="41" y="27"/>
                  </a:lnTo>
                  <a:lnTo>
                    <a:pt x="42" y="26"/>
                  </a:lnTo>
                  <a:lnTo>
                    <a:pt x="44" y="23"/>
                  </a:lnTo>
                  <a:lnTo>
                    <a:pt x="45" y="23"/>
                  </a:lnTo>
                  <a:lnTo>
                    <a:pt x="47" y="20"/>
                  </a:lnTo>
                  <a:lnTo>
                    <a:pt x="48" y="18"/>
                  </a:lnTo>
                  <a:lnTo>
                    <a:pt x="52" y="14"/>
                  </a:lnTo>
                  <a:lnTo>
                    <a:pt x="57" y="8"/>
                  </a:lnTo>
                  <a:lnTo>
                    <a:pt x="57" y="9"/>
                  </a:lnTo>
                  <a:lnTo>
                    <a:pt x="59" y="8"/>
                  </a:lnTo>
                  <a:lnTo>
                    <a:pt x="64" y="3"/>
                  </a:lnTo>
                  <a:lnTo>
                    <a:pt x="66" y="0"/>
                  </a:lnTo>
                  <a:lnTo>
                    <a:pt x="66" y="1"/>
                  </a:lnTo>
                  <a:lnTo>
                    <a:pt x="65" y="4"/>
                  </a:lnTo>
                  <a:lnTo>
                    <a:pt x="64" y="6"/>
                  </a:lnTo>
                  <a:lnTo>
                    <a:pt x="64" y="7"/>
                  </a:lnTo>
                  <a:lnTo>
                    <a:pt x="65" y="7"/>
                  </a:lnTo>
                  <a:lnTo>
                    <a:pt x="66" y="7"/>
                  </a:lnTo>
                  <a:lnTo>
                    <a:pt x="68" y="8"/>
                  </a:lnTo>
                  <a:lnTo>
                    <a:pt x="69" y="10"/>
                  </a:lnTo>
                  <a:lnTo>
                    <a:pt x="69" y="13"/>
                  </a:lnTo>
                  <a:lnTo>
                    <a:pt x="69" y="15"/>
                  </a:lnTo>
                  <a:lnTo>
                    <a:pt x="66" y="16"/>
                  </a:lnTo>
                  <a:lnTo>
                    <a:pt x="64" y="15"/>
                  </a:lnTo>
                  <a:lnTo>
                    <a:pt x="63" y="17"/>
                  </a:lnTo>
                  <a:lnTo>
                    <a:pt x="63" y="26"/>
                  </a:lnTo>
                  <a:lnTo>
                    <a:pt x="62" y="28"/>
                  </a:lnTo>
                  <a:lnTo>
                    <a:pt x="59" y="32"/>
                  </a:lnTo>
                  <a:lnTo>
                    <a:pt x="59" y="38"/>
                  </a:lnTo>
                  <a:lnTo>
                    <a:pt x="59" y="52"/>
                  </a:lnTo>
                  <a:lnTo>
                    <a:pt x="60" y="53"/>
                  </a:lnTo>
                  <a:lnTo>
                    <a:pt x="59" y="53"/>
                  </a:lnTo>
                  <a:lnTo>
                    <a:pt x="55" y="56"/>
                  </a:lnTo>
                  <a:lnTo>
                    <a:pt x="50" y="55"/>
                  </a:lnTo>
                  <a:lnTo>
                    <a:pt x="30" y="52"/>
                  </a:lnTo>
                  <a:lnTo>
                    <a:pt x="11" y="50"/>
                  </a:lnTo>
                  <a:lnTo>
                    <a:pt x="9" y="44"/>
                  </a:lnTo>
                  <a:lnTo>
                    <a:pt x="6" y="37"/>
                  </a:lnTo>
                  <a:lnTo>
                    <a:pt x="0"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7" name="Freeform 129">
              <a:extLst>
                <a:ext uri="{FF2B5EF4-FFF2-40B4-BE49-F238E27FC236}">
                  <a16:creationId xmlns:a16="http://schemas.microsoft.com/office/drawing/2014/main" id="{9B7CCB27-6D22-548F-671D-08A647CBFD5B}"/>
                </a:ext>
              </a:extLst>
            </p:cNvPr>
            <p:cNvSpPr>
              <a:spLocks/>
            </p:cNvSpPr>
            <p:nvPr/>
          </p:nvSpPr>
          <p:spPr bwMode="auto">
            <a:xfrm>
              <a:off x="5974934" y="5143500"/>
              <a:ext cx="176213" cy="195263"/>
            </a:xfrm>
            <a:custGeom>
              <a:avLst/>
              <a:gdLst/>
              <a:ahLst/>
              <a:cxnLst>
                <a:cxn ang="0">
                  <a:pos x="105" y="87"/>
                </a:cxn>
                <a:cxn ang="0">
                  <a:pos x="99" y="87"/>
                </a:cxn>
                <a:cxn ang="0">
                  <a:pos x="97" y="94"/>
                </a:cxn>
                <a:cxn ang="0">
                  <a:pos x="91" y="97"/>
                </a:cxn>
                <a:cxn ang="0">
                  <a:pos x="90" y="102"/>
                </a:cxn>
                <a:cxn ang="0">
                  <a:pos x="83" y="113"/>
                </a:cxn>
                <a:cxn ang="0">
                  <a:pos x="81" y="120"/>
                </a:cxn>
                <a:cxn ang="0">
                  <a:pos x="78" y="122"/>
                </a:cxn>
                <a:cxn ang="0">
                  <a:pos x="71" y="118"/>
                </a:cxn>
                <a:cxn ang="0">
                  <a:pos x="56" y="106"/>
                </a:cxn>
                <a:cxn ang="0">
                  <a:pos x="56" y="101"/>
                </a:cxn>
                <a:cxn ang="0">
                  <a:pos x="8" y="74"/>
                </a:cxn>
                <a:cxn ang="0">
                  <a:pos x="6" y="60"/>
                </a:cxn>
                <a:cxn ang="0">
                  <a:pos x="11" y="54"/>
                </a:cxn>
                <a:cxn ang="0">
                  <a:pos x="19" y="45"/>
                </a:cxn>
                <a:cxn ang="0">
                  <a:pos x="23" y="38"/>
                </a:cxn>
                <a:cxn ang="0">
                  <a:pos x="21" y="30"/>
                </a:cxn>
                <a:cxn ang="0">
                  <a:pos x="15" y="22"/>
                </a:cxn>
                <a:cxn ang="0">
                  <a:pos x="14" y="14"/>
                </a:cxn>
                <a:cxn ang="0">
                  <a:pos x="11" y="10"/>
                </a:cxn>
                <a:cxn ang="0">
                  <a:pos x="13" y="2"/>
                </a:cxn>
                <a:cxn ang="0">
                  <a:pos x="19" y="1"/>
                </a:cxn>
                <a:cxn ang="0">
                  <a:pos x="29" y="0"/>
                </a:cxn>
                <a:cxn ang="0">
                  <a:pos x="33" y="0"/>
                </a:cxn>
                <a:cxn ang="0">
                  <a:pos x="41" y="1"/>
                </a:cxn>
                <a:cxn ang="0">
                  <a:pos x="49" y="4"/>
                </a:cxn>
                <a:cxn ang="0">
                  <a:pos x="65" y="13"/>
                </a:cxn>
                <a:cxn ang="0">
                  <a:pos x="77" y="15"/>
                </a:cxn>
                <a:cxn ang="0">
                  <a:pos x="83" y="15"/>
                </a:cxn>
                <a:cxn ang="0">
                  <a:pos x="88" y="10"/>
                </a:cxn>
                <a:cxn ang="0">
                  <a:pos x="97" y="6"/>
                </a:cxn>
                <a:cxn ang="0">
                  <a:pos x="101" y="8"/>
                </a:cxn>
                <a:cxn ang="0">
                  <a:pos x="111" y="10"/>
                </a:cxn>
                <a:cxn ang="0">
                  <a:pos x="101" y="27"/>
                </a:cxn>
                <a:cxn ang="0">
                  <a:pos x="101" y="39"/>
                </a:cxn>
                <a:cxn ang="0">
                  <a:pos x="101" y="48"/>
                </a:cxn>
                <a:cxn ang="0">
                  <a:pos x="101" y="68"/>
                </a:cxn>
                <a:cxn ang="0">
                  <a:pos x="108" y="84"/>
                </a:cxn>
              </a:cxnLst>
              <a:rect l="0" t="0" r="r" b="b"/>
              <a:pathLst>
                <a:path w="111" h="123">
                  <a:moveTo>
                    <a:pt x="108" y="84"/>
                  </a:moveTo>
                  <a:lnTo>
                    <a:pt x="105" y="87"/>
                  </a:lnTo>
                  <a:lnTo>
                    <a:pt x="102" y="88"/>
                  </a:lnTo>
                  <a:lnTo>
                    <a:pt x="99" y="87"/>
                  </a:lnTo>
                  <a:lnTo>
                    <a:pt x="99" y="91"/>
                  </a:lnTo>
                  <a:lnTo>
                    <a:pt x="97" y="94"/>
                  </a:lnTo>
                  <a:lnTo>
                    <a:pt x="93" y="94"/>
                  </a:lnTo>
                  <a:lnTo>
                    <a:pt x="91" y="97"/>
                  </a:lnTo>
                  <a:lnTo>
                    <a:pt x="90" y="99"/>
                  </a:lnTo>
                  <a:lnTo>
                    <a:pt x="90" y="102"/>
                  </a:lnTo>
                  <a:lnTo>
                    <a:pt x="89" y="105"/>
                  </a:lnTo>
                  <a:lnTo>
                    <a:pt x="83" y="113"/>
                  </a:lnTo>
                  <a:lnTo>
                    <a:pt x="83" y="116"/>
                  </a:lnTo>
                  <a:lnTo>
                    <a:pt x="81" y="120"/>
                  </a:lnTo>
                  <a:lnTo>
                    <a:pt x="80" y="121"/>
                  </a:lnTo>
                  <a:lnTo>
                    <a:pt x="78" y="122"/>
                  </a:lnTo>
                  <a:lnTo>
                    <a:pt x="77" y="123"/>
                  </a:lnTo>
                  <a:lnTo>
                    <a:pt x="71" y="118"/>
                  </a:lnTo>
                  <a:lnTo>
                    <a:pt x="57" y="108"/>
                  </a:lnTo>
                  <a:lnTo>
                    <a:pt x="56" y="106"/>
                  </a:lnTo>
                  <a:lnTo>
                    <a:pt x="57" y="103"/>
                  </a:lnTo>
                  <a:lnTo>
                    <a:pt x="56" y="101"/>
                  </a:lnTo>
                  <a:lnTo>
                    <a:pt x="35" y="90"/>
                  </a:lnTo>
                  <a:lnTo>
                    <a:pt x="8" y="74"/>
                  </a:lnTo>
                  <a:lnTo>
                    <a:pt x="0" y="75"/>
                  </a:lnTo>
                  <a:lnTo>
                    <a:pt x="6" y="60"/>
                  </a:lnTo>
                  <a:lnTo>
                    <a:pt x="7" y="58"/>
                  </a:lnTo>
                  <a:lnTo>
                    <a:pt x="11" y="54"/>
                  </a:lnTo>
                  <a:lnTo>
                    <a:pt x="17" y="48"/>
                  </a:lnTo>
                  <a:lnTo>
                    <a:pt x="19" y="45"/>
                  </a:lnTo>
                  <a:lnTo>
                    <a:pt x="22" y="41"/>
                  </a:lnTo>
                  <a:lnTo>
                    <a:pt x="23" y="38"/>
                  </a:lnTo>
                  <a:lnTo>
                    <a:pt x="23" y="34"/>
                  </a:lnTo>
                  <a:lnTo>
                    <a:pt x="21" y="30"/>
                  </a:lnTo>
                  <a:lnTo>
                    <a:pt x="20" y="28"/>
                  </a:lnTo>
                  <a:lnTo>
                    <a:pt x="15" y="22"/>
                  </a:lnTo>
                  <a:lnTo>
                    <a:pt x="14" y="19"/>
                  </a:lnTo>
                  <a:lnTo>
                    <a:pt x="14" y="14"/>
                  </a:lnTo>
                  <a:lnTo>
                    <a:pt x="14" y="13"/>
                  </a:lnTo>
                  <a:lnTo>
                    <a:pt x="11" y="10"/>
                  </a:lnTo>
                  <a:lnTo>
                    <a:pt x="9" y="7"/>
                  </a:lnTo>
                  <a:lnTo>
                    <a:pt x="13" y="2"/>
                  </a:lnTo>
                  <a:lnTo>
                    <a:pt x="15" y="0"/>
                  </a:lnTo>
                  <a:lnTo>
                    <a:pt x="19" y="1"/>
                  </a:lnTo>
                  <a:lnTo>
                    <a:pt x="24" y="1"/>
                  </a:lnTo>
                  <a:lnTo>
                    <a:pt x="29" y="0"/>
                  </a:lnTo>
                  <a:lnTo>
                    <a:pt x="32" y="0"/>
                  </a:lnTo>
                  <a:lnTo>
                    <a:pt x="33" y="0"/>
                  </a:lnTo>
                  <a:lnTo>
                    <a:pt x="35" y="0"/>
                  </a:lnTo>
                  <a:lnTo>
                    <a:pt x="41" y="1"/>
                  </a:lnTo>
                  <a:lnTo>
                    <a:pt x="45" y="3"/>
                  </a:lnTo>
                  <a:lnTo>
                    <a:pt x="49" y="4"/>
                  </a:lnTo>
                  <a:lnTo>
                    <a:pt x="63" y="13"/>
                  </a:lnTo>
                  <a:lnTo>
                    <a:pt x="65" y="13"/>
                  </a:lnTo>
                  <a:lnTo>
                    <a:pt x="72" y="14"/>
                  </a:lnTo>
                  <a:lnTo>
                    <a:pt x="77" y="15"/>
                  </a:lnTo>
                  <a:lnTo>
                    <a:pt x="81" y="16"/>
                  </a:lnTo>
                  <a:lnTo>
                    <a:pt x="83" y="15"/>
                  </a:lnTo>
                  <a:lnTo>
                    <a:pt x="87" y="11"/>
                  </a:lnTo>
                  <a:lnTo>
                    <a:pt x="88" y="10"/>
                  </a:lnTo>
                  <a:lnTo>
                    <a:pt x="92" y="7"/>
                  </a:lnTo>
                  <a:lnTo>
                    <a:pt x="97" y="6"/>
                  </a:lnTo>
                  <a:lnTo>
                    <a:pt x="99" y="6"/>
                  </a:lnTo>
                  <a:lnTo>
                    <a:pt x="101" y="8"/>
                  </a:lnTo>
                  <a:lnTo>
                    <a:pt x="104" y="9"/>
                  </a:lnTo>
                  <a:lnTo>
                    <a:pt x="111" y="10"/>
                  </a:lnTo>
                  <a:lnTo>
                    <a:pt x="101" y="24"/>
                  </a:lnTo>
                  <a:lnTo>
                    <a:pt x="101" y="27"/>
                  </a:lnTo>
                  <a:lnTo>
                    <a:pt x="101" y="34"/>
                  </a:lnTo>
                  <a:lnTo>
                    <a:pt x="101" y="39"/>
                  </a:lnTo>
                  <a:lnTo>
                    <a:pt x="101" y="42"/>
                  </a:lnTo>
                  <a:lnTo>
                    <a:pt x="101" y="48"/>
                  </a:lnTo>
                  <a:lnTo>
                    <a:pt x="101" y="60"/>
                  </a:lnTo>
                  <a:lnTo>
                    <a:pt x="101" y="68"/>
                  </a:lnTo>
                  <a:lnTo>
                    <a:pt x="101" y="74"/>
                  </a:lnTo>
                  <a:lnTo>
                    <a:pt x="108" y="8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8" name="Freeform 130">
              <a:extLst>
                <a:ext uri="{FF2B5EF4-FFF2-40B4-BE49-F238E27FC236}">
                  <a16:creationId xmlns:a16="http://schemas.microsoft.com/office/drawing/2014/main" id="{603C820A-ABB2-D060-C9AB-2683BA2C9CD5}"/>
                </a:ext>
              </a:extLst>
            </p:cNvPr>
            <p:cNvSpPr>
              <a:spLocks/>
            </p:cNvSpPr>
            <p:nvPr/>
          </p:nvSpPr>
          <p:spPr bwMode="auto">
            <a:xfrm>
              <a:off x="5739984" y="5410200"/>
              <a:ext cx="242888" cy="211138"/>
            </a:xfrm>
            <a:custGeom>
              <a:avLst/>
              <a:gdLst/>
              <a:ahLst/>
              <a:cxnLst>
                <a:cxn ang="0">
                  <a:pos x="5" y="114"/>
                </a:cxn>
                <a:cxn ang="0">
                  <a:pos x="0" y="106"/>
                </a:cxn>
                <a:cxn ang="0">
                  <a:pos x="0" y="78"/>
                </a:cxn>
                <a:cxn ang="0">
                  <a:pos x="20" y="63"/>
                </a:cxn>
                <a:cxn ang="0">
                  <a:pos x="24" y="60"/>
                </a:cxn>
                <a:cxn ang="0">
                  <a:pos x="27" y="53"/>
                </a:cxn>
                <a:cxn ang="0">
                  <a:pos x="26" y="37"/>
                </a:cxn>
                <a:cxn ang="0">
                  <a:pos x="33" y="42"/>
                </a:cxn>
                <a:cxn ang="0">
                  <a:pos x="42" y="40"/>
                </a:cxn>
                <a:cxn ang="0">
                  <a:pos x="54" y="49"/>
                </a:cxn>
                <a:cxn ang="0">
                  <a:pos x="63" y="50"/>
                </a:cxn>
                <a:cxn ang="0">
                  <a:pos x="72" y="52"/>
                </a:cxn>
                <a:cxn ang="0">
                  <a:pos x="82" y="57"/>
                </a:cxn>
                <a:cxn ang="0">
                  <a:pos x="90" y="67"/>
                </a:cxn>
                <a:cxn ang="0">
                  <a:pos x="102" y="69"/>
                </a:cxn>
                <a:cxn ang="0">
                  <a:pos x="102" y="52"/>
                </a:cxn>
                <a:cxn ang="0">
                  <a:pos x="96" y="55"/>
                </a:cxn>
                <a:cxn ang="0">
                  <a:pos x="86" y="49"/>
                </a:cxn>
                <a:cxn ang="0">
                  <a:pos x="85" y="37"/>
                </a:cxn>
                <a:cxn ang="0">
                  <a:pos x="85" y="14"/>
                </a:cxn>
                <a:cxn ang="0">
                  <a:pos x="93" y="4"/>
                </a:cxn>
                <a:cxn ang="0">
                  <a:pos x="118" y="4"/>
                </a:cxn>
                <a:cxn ang="0">
                  <a:pos x="131" y="10"/>
                </a:cxn>
                <a:cxn ang="0">
                  <a:pos x="147" y="18"/>
                </a:cxn>
                <a:cxn ang="0">
                  <a:pos x="153" y="31"/>
                </a:cxn>
                <a:cxn ang="0">
                  <a:pos x="147" y="35"/>
                </a:cxn>
                <a:cxn ang="0">
                  <a:pos x="147" y="51"/>
                </a:cxn>
                <a:cxn ang="0">
                  <a:pos x="152" y="55"/>
                </a:cxn>
                <a:cxn ang="0">
                  <a:pos x="144" y="60"/>
                </a:cxn>
                <a:cxn ang="0">
                  <a:pos x="141" y="71"/>
                </a:cxn>
                <a:cxn ang="0">
                  <a:pos x="145" y="77"/>
                </a:cxn>
                <a:cxn ang="0">
                  <a:pos x="123" y="86"/>
                </a:cxn>
                <a:cxn ang="0">
                  <a:pos x="109" y="94"/>
                </a:cxn>
                <a:cxn ang="0">
                  <a:pos x="107" y="99"/>
                </a:cxn>
                <a:cxn ang="0">
                  <a:pos x="93" y="103"/>
                </a:cxn>
                <a:cxn ang="0">
                  <a:pos x="90" y="112"/>
                </a:cxn>
                <a:cxn ang="0">
                  <a:pos x="79" y="114"/>
                </a:cxn>
                <a:cxn ang="0">
                  <a:pos x="69" y="126"/>
                </a:cxn>
                <a:cxn ang="0">
                  <a:pos x="57" y="132"/>
                </a:cxn>
                <a:cxn ang="0">
                  <a:pos x="50" y="132"/>
                </a:cxn>
                <a:cxn ang="0">
                  <a:pos x="42" y="130"/>
                </a:cxn>
                <a:cxn ang="0">
                  <a:pos x="40" y="128"/>
                </a:cxn>
                <a:cxn ang="0">
                  <a:pos x="29" y="125"/>
                </a:cxn>
                <a:cxn ang="0">
                  <a:pos x="16" y="126"/>
                </a:cxn>
              </a:cxnLst>
              <a:rect l="0" t="0" r="r" b="b"/>
              <a:pathLst>
                <a:path w="153" h="133">
                  <a:moveTo>
                    <a:pt x="16" y="126"/>
                  </a:moveTo>
                  <a:lnTo>
                    <a:pt x="13" y="122"/>
                  </a:lnTo>
                  <a:lnTo>
                    <a:pt x="5" y="114"/>
                  </a:lnTo>
                  <a:lnTo>
                    <a:pt x="2" y="111"/>
                  </a:lnTo>
                  <a:lnTo>
                    <a:pt x="0" y="109"/>
                  </a:lnTo>
                  <a:lnTo>
                    <a:pt x="0" y="106"/>
                  </a:lnTo>
                  <a:lnTo>
                    <a:pt x="0" y="102"/>
                  </a:lnTo>
                  <a:lnTo>
                    <a:pt x="0" y="97"/>
                  </a:lnTo>
                  <a:lnTo>
                    <a:pt x="0" y="78"/>
                  </a:lnTo>
                  <a:lnTo>
                    <a:pt x="0" y="69"/>
                  </a:lnTo>
                  <a:lnTo>
                    <a:pt x="0" y="64"/>
                  </a:lnTo>
                  <a:lnTo>
                    <a:pt x="20" y="63"/>
                  </a:lnTo>
                  <a:lnTo>
                    <a:pt x="23" y="64"/>
                  </a:lnTo>
                  <a:lnTo>
                    <a:pt x="24" y="63"/>
                  </a:lnTo>
                  <a:lnTo>
                    <a:pt x="24" y="60"/>
                  </a:lnTo>
                  <a:lnTo>
                    <a:pt x="27" y="57"/>
                  </a:lnTo>
                  <a:lnTo>
                    <a:pt x="28" y="55"/>
                  </a:lnTo>
                  <a:lnTo>
                    <a:pt x="27" y="53"/>
                  </a:lnTo>
                  <a:lnTo>
                    <a:pt x="25" y="51"/>
                  </a:lnTo>
                  <a:lnTo>
                    <a:pt x="24" y="45"/>
                  </a:lnTo>
                  <a:lnTo>
                    <a:pt x="26" y="37"/>
                  </a:lnTo>
                  <a:lnTo>
                    <a:pt x="30" y="37"/>
                  </a:lnTo>
                  <a:lnTo>
                    <a:pt x="32" y="40"/>
                  </a:lnTo>
                  <a:lnTo>
                    <a:pt x="33" y="42"/>
                  </a:lnTo>
                  <a:lnTo>
                    <a:pt x="34" y="42"/>
                  </a:lnTo>
                  <a:lnTo>
                    <a:pt x="41" y="40"/>
                  </a:lnTo>
                  <a:lnTo>
                    <a:pt x="42" y="40"/>
                  </a:lnTo>
                  <a:lnTo>
                    <a:pt x="45" y="46"/>
                  </a:lnTo>
                  <a:lnTo>
                    <a:pt x="48" y="47"/>
                  </a:lnTo>
                  <a:lnTo>
                    <a:pt x="54" y="49"/>
                  </a:lnTo>
                  <a:lnTo>
                    <a:pt x="59" y="50"/>
                  </a:lnTo>
                  <a:lnTo>
                    <a:pt x="61" y="51"/>
                  </a:lnTo>
                  <a:lnTo>
                    <a:pt x="63" y="50"/>
                  </a:lnTo>
                  <a:lnTo>
                    <a:pt x="66" y="46"/>
                  </a:lnTo>
                  <a:lnTo>
                    <a:pt x="67" y="44"/>
                  </a:lnTo>
                  <a:lnTo>
                    <a:pt x="72" y="52"/>
                  </a:lnTo>
                  <a:lnTo>
                    <a:pt x="74" y="54"/>
                  </a:lnTo>
                  <a:lnTo>
                    <a:pt x="79" y="55"/>
                  </a:lnTo>
                  <a:lnTo>
                    <a:pt x="82" y="57"/>
                  </a:lnTo>
                  <a:lnTo>
                    <a:pt x="84" y="59"/>
                  </a:lnTo>
                  <a:lnTo>
                    <a:pt x="88" y="63"/>
                  </a:lnTo>
                  <a:lnTo>
                    <a:pt x="90" y="67"/>
                  </a:lnTo>
                  <a:lnTo>
                    <a:pt x="92" y="69"/>
                  </a:lnTo>
                  <a:lnTo>
                    <a:pt x="100" y="69"/>
                  </a:lnTo>
                  <a:lnTo>
                    <a:pt x="102" y="69"/>
                  </a:lnTo>
                  <a:lnTo>
                    <a:pt x="102" y="66"/>
                  </a:lnTo>
                  <a:lnTo>
                    <a:pt x="102" y="57"/>
                  </a:lnTo>
                  <a:lnTo>
                    <a:pt x="102" y="52"/>
                  </a:lnTo>
                  <a:lnTo>
                    <a:pt x="101" y="51"/>
                  </a:lnTo>
                  <a:lnTo>
                    <a:pt x="99" y="52"/>
                  </a:lnTo>
                  <a:lnTo>
                    <a:pt x="96" y="55"/>
                  </a:lnTo>
                  <a:lnTo>
                    <a:pt x="93" y="55"/>
                  </a:lnTo>
                  <a:lnTo>
                    <a:pt x="91" y="54"/>
                  </a:lnTo>
                  <a:lnTo>
                    <a:pt x="86" y="49"/>
                  </a:lnTo>
                  <a:lnTo>
                    <a:pt x="83" y="45"/>
                  </a:lnTo>
                  <a:lnTo>
                    <a:pt x="83" y="43"/>
                  </a:lnTo>
                  <a:lnTo>
                    <a:pt x="85" y="37"/>
                  </a:lnTo>
                  <a:lnTo>
                    <a:pt x="87" y="30"/>
                  </a:lnTo>
                  <a:lnTo>
                    <a:pt x="85" y="18"/>
                  </a:lnTo>
                  <a:lnTo>
                    <a:pt x="85" y="14"/>
                  </a:lnTo>
                  <a:lnTo>
                    <a:pt x="90" y="6"/>
                  </a:lnTo>
                  <a:lnTo>
                    <a:pt x="90" y="5"/>
                  </a:lnTo>
                  <a:lnTo>
                    <a:pt x="93" y="4"/>
                  </a:lnTo>
                  <a:lnTo>
                    <a:pt x="110" y="1"/>
                  </a:lnTo>
                  <a:lnTo>
                    <a:pt x="114" y="0"/>
                  </a:lnTo>
                  <a:lnTo>
                    <a:pt x="118" y="4"/>
                  </a:lnTo>
                  <a:lnTo>
                    <a:pt x="119" y="6"/>
                  </a:lnTo>
                  <a:lnTo>
                    <a:pt x="123" y="7"/>
                  </a:lnTo>
                  <a:lnTo>
                    <a:pt x="131" y="10"/>
                  </a:lnTo>
                  <a:lnTo>
                    <a:pt x="140" y="14"/>
                  </a:lnTo>
                  <a:lnTo>
                    <a:pt x="144" y="16"/>
                  </a:lnTo>
                  <a:lnTo>
                    <a:pt x="147" y="18"/>
                  </a:lnTo>
                  <a:lnTo>
                    <a:pt x="150" y="24"/>
                  </a:lnTo>
                  <a:lnTo>
                    <a:pt x="153" y="29"/>
                  </a:lnTo>
                  <a:lnTo>
                    <a:pt x="153" y="31"/>
                  </a:lnTo>
                  <a:lnTo>
                    <a:pt x="151" y="33"/>
                  </a:lnTo>
                  <a:lnTo>
                    <a:pt x="147" y="34"/>
                  </a:lnTo>
                  <a:lnTo>
                    <a:pt x="147" y="35"/>
                  </a:lnTo>
                  <a:lnTo>
                    <a:pt x="148" y="39"/>
                  </a:lnTo>
                  <a:lnTo>
                    <a:pt x="147" y="49"/>
                  </a:lnTo>
                  <a:lnTo>
                    <a:pt x="147" y="51"/>
                  </a:lnTo>
                  <a:lnTo>
                    <a:pt x="149" y="52"/>
                  </a:lnTo>
                  <a:lnTo>
                    <a:pt x="152" y="54"/>
                  </a:lnTo>
                  <a:lnTo>
                    <a:pt x="152" y="55"/>
                  </a:lnTo>
                  <a:lnTo>
                    <a:pt x="151" y="56"/>
                  </a:lnTo>
                  <a:lnTo>
                    <a:pt x="148" y="58"/>
                  </a:lnTo>
                  <a:lnTo>
                    <a:pt x="144" y="60"/>
                  </a:lnTo>
                  <a:lnTo>
                    <a:pt x="143" y="61"/>
                  </a:lnTo>
                  <a:lnTo>
                    <a:pt x="142" y="66"/>
                  </a:lnTo>
                  <a:lnTo>
                    <a:pt x="141" y="71"/>
                  </a:lnTo>
                  <a:lnTo>
                    <a:pt x="142" y="74"/>
                  </a:lnTo>
                  <a:lnTo>
                    <a:pt x="143" y="76"/>
                  </a:lnTo>
                  <a:lnTo>
                    <a:pt x="145" y="77"/>
                  </a:lnTo>
                  <a:lnTo>
                    <a:pt x="138" y="80"/>
                  </a:lnTo>
                  <a:lnTo>
                    <a:pt x="128" y="84"/>
                  </a:lnTo>
                  <a:lnTo>
                    <a:pt x="123" y="86"/>
                  </a:lnTo>
                  <a:lnTo>
                    <a:pt x="110" y="90"/>
                  </a:lnTo>
                  <a:lnTo>
                    <a:pt x="109" y="91"/>
                  </a:lnTo>
                  <a:lnTo>
                    <a:pt x="109" y="94"/>
                  </a:lnTo>
                  <a:lnTo>
                    <a:pt x="109" y="96"/>
                  </a:lnTo>
                  <a:lnTo>
                    <a:pt x="110" y="99"/>
                  </a:lnTo>
                  <a:lnTo>
                    <a:pt x="107" y="99"/>
                  </a:lnTo>
                  <a:lnTo>
                    <a:pt x="101" y="99"/>
                  </a:lnTo>
                  <a:lnTo>
                    <a:pt x="97" y="100"/>
                  </a:lnTo>
                  <a:lnTo>
                    <a:pt x="93" y="103"/>
                  </a:lnTo>
                  <a:lnTo>
                    <a:pt x="91" y="107"/>
                  </a:lnTo>
                  <a:lnTo>
                    <a:pt x="91" y="111"/>
                  </a:lnTo>
                  <a:lnTo>
                    <a:pt x="90" y="112"/>
                  </a:lnTo>
                  <a:lnTo>
                    <a:pt x="88" y="112"/>
                  </a:lnTo>
                  <a:lnTo>
                    <a:pt x="82" y="113"/>
                  </a:lnTo>
                  <a:lnTo>
                    <a:pt x="79" y="114"/>
                  </a:lnTo>
                  <a:lnTo>
                    <a:pt x="77" y="116"/>
                  </a:lnTo>
                  <a:lnTo>
                    <a:pt x="72" y="122"/>
                  </a:lnTo>
                  <a:lnTo>
                    <a:pt x="69" y="126"/>
                  </a:lnTo>
                  <a:lnTo>
                    <a:pt x="64" y="132"/>
                  </a:lnTo>
                  <a:lnTo>
                    <a:pt x="62" y="133"/>
                  </a:lnTo>
                  <a:lnTo>
                    <a:pt x="57" y="132"/>
                  </a:lnTo>
                  <a:lnTo>
                    <a:pt x="55" y="130"/>
                  </a:lnTo>
                  <a:lnTo>
                    <a:pt x="53" y="130"/>
                  </a:lnTo>
                  <a:lnTo>
                    <a:pt x="50" y="132"/>
                  </a:lnTo>
                  <a:lnTo>
                    <a:pt x="48" y="132"/>
                  </a:lnTo>
                  <a:lnTo>
                    <a:pt x="44" y="131"/>
                  </a:lnTo>
                  <a:lnTo>
                    <a:pt x="42" y="130"/>
                  </a:lnTo>
                  <a:lnTo>
                    <a:pt x="42" y="129"/>
                  </a:lnTo>
                  <a:lnTo>
                    <a:pt x="40" y="129"/>
                  </a:lnTo>
                  <a:lnTo>
                    <a:pt x="40" y="128"/>
                  </a:lnTo>
                  <a:lnTo>
                    <a:pt x="37" y="126"/>
                  </a:lnTo>
                  <a:lnTo>
                    <a:pt x="35" y="126"/>
                  </a:lnTo>
                  <a:lnTo>
                    <a:pt x="29" y="125"/>
                  </a:lnTo>
                  <a:lnTo>
                    <a:pt x="28" y="124"/>
                  </a:lnTo>
                  <a:lnTo>
                    <a:pt x="27" y="124"/>
                  </a:lnTo>
                  <a:lnTo>
                    <a:pt x="16" y="1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59" name="Freeform 131">
              <a:extLst>
                <a:ext uri="{FF2B5EF4-FFF2-40B4-BE49-F238E27FC236}">
                  <a16:creationId xmlns:a16="http://schemas.microsoft.com/office/drawing/2014/main" id="{F7D82B35-6785-DEFC-28FA-C2FBFC73C9F4}"/>
                </a:ext>
              </a:extLst>
            </p:cNvPr>
            <p:cNvSpPr>
              <a:spLocks/>
            </p:cNvSpPr>
            <p:nvPr/>
          </p:nvSpPr>
          <p:spPr bwMode="auto">
            <a:xfrm>
              <a:off x="5528846" y="5595938"/>
              <a:ext cx="274638" cy="269875"/>
            </a:xfrm>
            <a:custGeom>
              <a:avLst/>
              <a:gdLst/>
              <a:ahLst/>
              <a:cxnLst>
                <a:cxn ang="0">
                  <a:pos x="105" y="134"/>
                </a:cxn>
                <a:cxn ang="0">
                  <a:pos x="106" y="161"/>
                </a:cxn>
                <a:cxn ang="0">
                  <a:pos x="103" y="165"/>
                </a:cxn>
                <a:cxn ang="0">
                  <a:pos x="96" y="170"/>
                </a:cxn>
                <a:cxn ang="0">
                  <a:pos x="90" y="169"/>
                </a:cxn>
                <a:cxn ang="0">
                  <a:pos x="80" y="169"/>
                </a:cxn>
                <a:cxn ang="0">
                  <a:pos x="76" y="168"/>
                </a:cxn>
                <a:cxn ang="0">
                  <a:pos x="75" y="162"/>
                </a:cxn>
                <a:cxn ang="0">
                  <a:pos x="70" y="158"/>
                </a:cxn>
                <a:cxn ang="0">
                  <a:pos x="66" y="158"/>
                </a:cxn>
                <a:cxn ang="0">
                  <a:pos x="64" y="162"/>
                </a:cxn>
                <a:cxn ang="0">
                  <a:pos x="59" y="164"/>
                </a:cxn>
                <a:cxn ang="0">
                  <a:pos x="50" y="154"/>
                </a:cxn>
                <a:cxn ang="0">
                  <a:pos x="46" y="144"/>
                </a:cxn>
                <a:cxn ang="0">
                  <a:pos x="43" y="136"/>
                </a:cxn>
                <a:cxn ang="0">
                  <a:pos x="44" y="132"/>
                </a:cxn>
                <a:cxn ang="0">
                  <a:pos x="40" y="121"/>
                </a:cxn>
                <a:cxn ang="0">
                  <a:pos x="41" y="112"/>
                </a:cxn>
                <a:cxn ang="0">
                  <a:pos x="35" y="90"/>
                </a:cxn>
                <a:cxn ang="0">
                  <a:pos x="39" y="85"/>
                </a:cxn>
                <a:cxn ang="0">
                  <a:pos x="36" y="80"/>
                </a:cxn>
                <a:cxn ang="0">
                  <a:pos x="36" y="76"/>
                </a:cxn>
                <a:cxn ang="0">
                  <a:pos x="28" y="65"/>
                </a:cxn>
                <a:cxn ang="0">
                  <a:pos x="20" y="48"/>
                </a:cxn>
                <a:cxn ang="0">
                  <a:pos x="10" y="28"/>
                </a:cxn>
                <a:cxn ang="0">
                  <a:pos x="1" y="14"/>
                </a:cxn>
                <a:cxn ang="0">
                  <a:pos x="0" y="8"/>
                </a:cxn>
                <a:cxn ang="0">
                  <a:pos x="1" y="4"/>
                </a:cxn>
                <a:cxn ang="0">
                  <a:pos x="8" y="6"/>
                </a:cxn>
                <a:cxn ang="0">
                  <a:pos x="16" y="1"/>
                </a:cxn>
                <a:cxn ang="0">
                  <a:pos x="20" y="1"/>
                </a:cxn>
                <a:cxn ang="0">
                  <a:pos x="26" y="5"/>
                </a:cxn>
                <a:cxn ang="0">
                  <a:pos x="43" y="6"/>
                </a:cxn>
                <a:cxn ang="0">
                  <a:pos x="54" y="6"/>
                </a:cxn>
                <a:cxn ang="0">
                  <a:pos x="79" y="6"/>
                </a:cxn>
                <a:cxn ang="0">
                  <a:pos x="87" y="7"/>
                </a:cxn>
                <a:cxn ang="0">
                  <a:pos x="91" y="11"/>
                </a:cxn>
                <a:cxn ang="0">
                  <a:pos x="99" y="12"/>
                </a:cxn>
                <a:cxn ang="0">
                  <a:pos x="113" y="13"/>
                </a:cxn>
                <a:cxn ang="0">
                  <a:pos x="122" y="14"/>
                </a:cxn>
                <a:cxn ang="0">
                  <a:pos x="132" y="13"/>
                </a:cxn>
                <a:cxn ang="0">
                  <a:pos x="149" y="9"/>
                </a:cxn>
                <a:cxn ang="0">
                  <a:pos x="161" y="7"/>
                </a:cxn>
                <a:cxn ang="0">
                  <a:pos x="168" y="9"/>
                </a:cxn>
                <a:cxn ang="0">
                  <a:pos x="173" y="11"/>
                </a:cxn>
                <a:cxn ang="0">
                  <a:pos x="163" y="13"/>
                </a:cxn>
                <a:cxn ang="0">
                  <a:pos x="155" y="20"/>
                </a:cxn>
                <a:cxn ang="0">
                  <a:pos x="150" y="15"/>
                </a:cxn>
                <a:cxn ang="0">
                  <a:pos x="127" y="19"/>
                </a:cxn>
                <a:cxn ang="0">
                  <a:pos x="119" y="27"/>
                </a:cxn>
                <a:cxn ang="0">
                  <a:pos x="119" y="40"/>
                </a:cxn>
                <a:cxn ang="0">
                  <a:pos x="119" y="70"/>
                </a:cxn>
                <a:cxn ang="0">
                  <a:pos x="107" y="71"/>
                </a:cxn>
                <a:cxn ang="0">
                  <a:pos x="105" y="88"/>
                </a:cxn>
                <a:cxn ang="0">
                  <a:pos x="105" y="106"/>
                </a:cxn>
              </a:cxnLst>
              <a:rect l="0" t="0" r="r" b="b"/>
              <a:pathLst>
                <a:path w="173" h="170">
                  <a:moveTo>
                    <a:pt x="105" y="111"/>
                  </a:moveTo>
                  <a:lnTo>
                    <a:pt x="105" y="134"/>
                  </a:lnTo>
                  <a:lnTo>
                    <a:pt x="105" y="146"/>
                  </a:lnTo>
                  <a:lnTo>
                    <a:pt x="106" y="161"/>
                  </a:lnTo>
                  <a:lnTo>
                    <a:pt x="105" y="163"/>
                  </a:lnTo>
                  <a:lnTo>
                    <a:pt x="103" y="165"/>
                  </a:lnTo>
                  <a:lnTo>
                    <a:pt x="99" y="167"/>
                  </a:lnTo>
                  <a:lnTo>
                    <a:pt x="96" y="170"/>
                  </a:lnTo>
                  <a:lnTo>
                    <a:pt x="93" y="170"/>
                  </a:lnTo>
                  <a:lnTo>
                    <a:pt x="90" y="169"/>
                  </a:lnTo>
                  <a:lnTo>
                    <a:pt x="85" y="169"/>
                  </a:lnTo>
                  <a:lnTo>
                    <a:pt x="80" y="169"/>
                  </a:lnTo>
                  <a:lnTo>
                    <a:pt x="77" y="169"/>
                  </a:lnTo>
                  <a:lnTo>
                    <a:pt x="76" y="168"/>
                  </a:lnTo>
                  <a:lnTo>
                    <a:pt x="75" y="164"/>
                  </a:lnTo>
                  <a:lnTo>
                    <a:pt x="75" y="162"/>
                  </a:lnTo>
                  <a:lnTo>
                    <a:pt x="74" y="160"/>
                  </a:lnTo>
                  <a:lnTo>
                    <a:pt x="70" y="158"/>
                  </a:lnTo>
                  <a:lnTo>
                    <a:pt x="68" y="157"/>
                  </a:lnTo>
                  <a:lnTo>
                    <a:pt x="66" y="158"/>
                  </a:lnTo>
                  <a:lnTo>
                    <a:pt x="65" y="159"/>
                  </a:lnTo>
                  <a:lnTo>
                    <a:pt x="64" y="162"/>
                  </a:lnTo>
                  <a:lnTo>
                    <a:pt x="60" y="164"/>
                  </a:lnTo>
                  <a:lnTo>
                    <a:pt x="59" y="164"/>
                  </a:lnTo>
                  <a:lnTo>
                    <a:pt x="56" y="161"/>
                  </a:lnTo>
                  <a:lnTo>
                    <a:pt x="50" y="154"/>
                  </a:lnTo>
                  <a:lnTo>
                    <a:pt x="48" y="150"/>
                  </a:lnTo>
                  <a:lnTo>
                    <a:pt x="46" y="144"/>
                  </a:lnTo>
                  <a:lnTo>
                    <a:pt x="44" y="139"/>
                  </a:lnTo>
                  <a:lnTo>
                    <a:pt x="43" y="136"/>
                  </a:lnTo>
                  <a:lnTo>
                    <a:pt x="44" y="134"/>
                  </a:lnTo>
                  <a:lnTo>
                    <a:pt x="44" y="132"/>
                  </a:lnTo>
                  <a:lnTo>
                    <a:pt x="41" y="127"/>
                  </a:lnTo>
                  <a:lnTo>
                    <a:pt x="40" y="121"/>
                  </a:lnTo>
                  <a:lnTo>
                    <a:pt x="41" y="115"/>
                  </a:lnTo>
                  <a:lnTo>
                    <a:pt x="41" y="112"/>
                  </a:lnTo>
                  <a:lnTo>
                    <a:pt x="37" y="104"/>
                  </a:lnTo>
                  <a:lnTo>
                    <a:pt x="35" y="90"/>
                  </a:lnTo>
                  <a:lnTo>
                    <a:pt x="39" y="89"/>
                  </a:lnTo>
                  <a:lnTo>
                    <a:pt x="39" y="85"/>
                  </a:lnTo>
                  <a:lnTo>
                    <a:pt x="39" y="80"/>
                  </a:lnTo>
                  <a:lnTo>
                    <a:pt x="36" y="80"/>
                  </a:lnTo>
                  <a:lnTo>
                    <a:pt x="36" y="80"/>
                  </a:lnTo>
                  <a:lnTo>
                    <a:pt x="36" y="76"/>
                  </a:lnTo>
                  <a:lnTo>
                    <a:pt x="34" y="73"/>
                  </a:lnTo>
                  <a:lnTo>
                    <a:pt x="28" y="65"/>
                  </a:lnTo>
                  <a:lnTo>
                    <a:pt x="26" y="62"/>
                  </a:lnTo>
                  <a:lnTo>
                    <a:pt x="20" y="48"/>
                  </a:lnTo>
                  <a:lnTo>
                    <a:pt x="15" y="38"/>
                  </a:lnTo>
                  <a:lnTo>
                    <a:pt x="10" y="28"/>
                  </a:lnTo>
                  <a:lnTo>
                    <a:pt x="4" y="21"/>
                  </a:lnTo>
                  <a:lnTo>
                    <a:pt x="1" y="14"/>
                  </a:lnTo>
                  <a:lnTo>
                    <a:pt x="0" y="12"/>
                  </a:lnTo>
                  <a:lnTo>
                    <a:pt x="0" y="8"/>
                  </a:lnTo>
                  <a:lnTo>
                    <a:pt x="0" y="5"/>
                  </a:lnTo>
                  <a:lnTo>
                    <a:pt x="1" y="4"/>
                  </a:lnTo>
                  <a:lnTo>
                    <a:pt x="3" y="3"/>
                  </a:lnTo>
                  <a:lnTo>
                    <a:pt x="8" y="6"/>
                  </a:lnTo>
                  <a:lnTo>
                    <a:pt x="12" y="2"/>
                  </a:lnTo>
                  <a:lnTo>
                    <a:pt x="16" y="1"/>
                  </a:lnTo>
                  <a:lnTo>
                    <a:pt x="19" y="0"/>
                  </a:lnTo>
                  <a:lnTo>
                    <a:pt x="20" y="1"/>
                  </a:lnTo>
                  <a:lnTo>
                    <a:pt x="23" y="3"/>
                  </a:lnTo>
                  <a:lnTo>
                    <a:pt x="26" y="5"/>
                  </a:lnTo>
                  <a:lnTo>
                    <a:pt x="29" y="6"/>
                  </a:lnTo>
                  <a:lnTo>
                    <a:pt x="43" y="6"/>
                  </a:lnTo>
                  <a:lnTo>
                    <a:pt x="50" y="6"/>
                  </a:lnTo>
                  <a:lnTo>
                    <a:pt x="54" y="6"/>
                  </a:lnTo>
                  <a:lnTo>
                    <a:pt x="64" y="6"/>
                  </a:lnTo>
                  <a:lnTo>
                    <a:pt x="79" y="6"/>
                  </a:lnTo>
                  <a:lnTo>
                    <a:pt x="85" y="6"/>
                  </a:lnTo>
                  <a:lnTo>
                    <a:pt x="87" y="7"/>
                  </a:lnTo>
                  <a:lnTo>
                    <a:pt x="89" y="9"/>
                  </a:lnTo>
                  <a:lnTo>
                    <a:pt x="91" y="11"/>
                  </a:lnTo>
                  <a:lnTo>
                    <a:pt x="95" y="12"/>
                  </a:lnTo>
                  <a:lnTo>
                    <a:pt x="99" y="12"/>
                  </a:lnTo>
                  <a:lnTo>
                    <a:pt x="111" y="12"/>
                  </a:lnTo>
                  <a:lnTo>
                    <a:pt x="113" y="13"/>
                  </a:lnTo>
                  <a:lnTo>
                    <a:pt x="115" y="14"/>
                  </a:lnTo>
                  <a:lnTo>
                    <a:pt x="122" y="14"/>
                  </a:lnTo>
                  <a:lnTo>
                    <a:pt x="126" y="14"/>
                  </a:lnTo>
                  <a:lnTo>
                    <a:pt x="132" y="13"/>
                  </a:lnTo>
                  <a:lnTo>
                    <a:pt x="144" y="10"/>
                  </a:lnTo>
                  <a:lnTo>
                    <a:pt x="149" y="9"/>
                  </a:lnTo>
                  <a:lnTo>
                    <a:pt x="160" y="7"/>
                  </a:lnTo>
                  <a:lnTo>
                    <a:pt x="161" y="7"/>
                  </a:lnTo>
                  <a:lnTo>
                    <a:pt x="162" y="8"/>
                  </a:lnTo>
                  <a:lnTo>
                    <a:pt x="168" y="9"/>
                  </a:lnTo>
                  <a:lnTo>
                    <a:pt x="170" y="9"/>
                  </a:lnTo>
                  <a:lnTo>
                    <a:pt x="173" y="11"/>
                  </a:lnTo>
                  <a:lnTo>
                    <a:pt x="168" y="13"/>
                  </a:lnTo>
                  <a:lnTo>
                    <a:pt x="163" y="13"/>
                  </a:lnTo>
                  <a:lnTo>
                    <a:pt x="161" y="14"/>
                  </a:lnTo>
                  <a:lnTo>
                    <a:pt x="155" y="20"/>
                  </a:lnTo>
                  <a:lnTo>
                    <a:pt x="154" y="20"/>
                  </a:lnTo>
                  <a:lnTo>
                    <a:pt x="150" y="15"/>
                  </a:lnTo>
                  <a:lnTo>
                    <a:pt x="144" y="16"/>
                  </a:lnTo>
                  <a:lnTo>
                    <a:pt x="127" y="19"/>
                  </a:lnTo>
                  <a:lnTo>
                    <a:pt x="119" y="19"/>
                  </a:lnTo>
                  <a:lnTo>
                    <a:pt x="119" y="27"/>
                  </a:lnTo>
                  <a:lnTo>
                    <a:pt x="119" y="35"/>
                  </a:lnTo>
                  <a:lnTo>
                    <a:pt x="119" y="40"/>
                  </a:lnTo>
                  <a:lnTo>
                    <a:pt x="119" y="48"/>
                  </a:lnTo>
                  <a:lnTo>
                    <a:pt x="119" y="70"/>
                  </a:lnTo>
                  <a:lnTo>
                    <a:pt x="116" y="70"/>
                  </a:lnTo>
                  <a:lnTo>
                    <a:pt x="107" y="71"/>
                  </a:lnTo>
                  <a:lnTo>
                    <a:pt x="106" y="71"/>
                  </a:lnTo>
                  <a:lnTo>
                    <a:pt x="105" y="88"/>
                  </a:lnTo>
                  <a:lnTo>
                    <a:pt x="105" y="96"/>
                  </a:lnTo>
                  <a:lnTo>
                    <a:pt x="105" y="106"/>
                  </a:lnTo>
                  <a:lnTo>
                    <a:pt x="105" y="11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0" name="Freeform 132">
              <a:extLst>
                <a:ext uri="{FF2B5EF4-FFF2-40B4-BE49-F238E27FC236}">
                  <a16:creationId xmlns:a16="http://schemas.microsoft.com/office/drawing/2014/main" id="{3F3B4408-275C-20FF-4DA3-76FB40C3292C}"/>
                </a:ext>
              </a:extLst>
            </p:cNvPr>
            <p:cNvSpPr>
              <a:spLocks/>
            </p:cNvSpPr>
            <p:nvPr/>
          </p:nvSpPr>
          <p:spPr bwMode="auto">
            <a:xfrm>
              <a:off x="5892384" y="5260975"/>
              <a:ext cx="230188" cy="223838"/>
            </a:xfrm>
            <a:custGeom>
              <a:avLst/>
              <a:gdLst/>
              <a:ahLst/>
              <a:cxnLst>
                <a:cxn ang="0">
                  <a:pos x="24" y="1"/>
                </a:cxn>
                <a:cxn ang="0">
                  <a:pos x="60" y="0"/>
                </a:cxn>
                <a:cxn ang="0">
                  <a:pos x="108" y="27"/>
                </a:cxn>
                <a:cxn ang="0">
                  <a:pos x="108" y="32"/>
                </a:cxn>
                <a:cxn ang="0">
                  <a:pos x="123" y="44"/>
                </a:cxn>
                <a:cxn ang="0">
                  <a:pos x="128" y="52"/>
                </a:cxn>
                <a:cxn ang="0">
                  <a:pos x="125" y="65"/>
                </a:cxn>
                <a:cxn ang="0">
                  <a:pos x="129" y="74"/>
                </a:cxn>
                <a:cxn ang="0">
                  <a:pos x="134" y="80"/>
                </a:cxn>
                <a:cxn ang="0">
                  <a:pos x="130" y="88"/>
                </a:cxn>
                <a:cxn ang="0">
                  <a:pos x="132" y="89"/>
                </a:cxn>
                <a:cxn ang="0">
                  <a:pos x="132" y="95"/>
                </a:cxn>
                <a:cxn ang="0">
                  <a:pos x="134" y="111"/>
                </a:cxn>
                <a:cxn ang="0">
                  <a:pos x="138" y="117"/>
                </a:cxn>
                <a:cxn ang="0">
                  <a:pos x="145" y="122"/>
                </a:cxn>
                <a:cxn ang="0">
                  <a:pos x="139" y="128"/>
                </a:cxn>
                <a:cxn ang="0">
                  <a:pos x="129" y="133"/>
                </a:cxn>
                <a:cxn ang="0">
                  <a:pos x="119" y="136"/>
                </a:cxn>
                <a:cxn ang="0">
                  <a:pos x="113" y="133"/>
                </a:cxn>
                <a:cxn ang="0">
                  <a:pos x="109" y="140"/>
                </a:cxn>
                <a:cxn ang="0">
                  <a:pos x="104" y="140"/>
                </a:cxn>
                <a:cxn ang="0">
                  <a:pos x="93" y="140"/>
                </a:cxn>
                <a:cxn ang="0">
                  <a:pos x="88" y="136"/>
                </a:cxn>
                <a:cxn ang="0">
                  <a:pos x="86" y="137"/>
                </a:cxn>
                <a:cxn ang="0">
                  <a:pos x="79" y="139"/>
                </a:cxn>
                <a:cxn ang="0">
                  <a:pos x="67" y="138"/>
                </a:cxn>
                <a:cxn ang="0">
                  <a:pos x="66" y="130"/>
                </a:cxn>
                <a:cxn ang="0">
                  <a:pos x="64" y="121"/>
                </a:cxn>
                <a:cxn ang="0">
                  <a:pos x="58" y="113"/>
                </a:cxn>
                <a:cxn ang="0">
                  <a:pos x="51" y="112"/>
                </a:cxn>
                <a:cxn ang="0">
                  <a:pos x="44" y="108"/>
                </a:cxn>
                <a:cxn ang="0">
                  <a:pos x="27" y="101"/>
                </a:cxn>
                <a:cxn ang="0">
                  <a:pos x="22" y="98"/>
                </a:cxn>
                <a:cxn ang="0">
                  <a:pos x="13" y="84"/>
                </a:cxn>
                <a:cxn ang="0">
                  <a:pos x="6" y="74"/>
                </a:cxn>
                <a:cxn ang="0">
                  <a:pos x="2" y="66"/>
                </a:cxn>
                <a:cxn ang="0">
                  <a:pos x="0" y="52"/>
                </a:cxn>
                <a:cxn ang="0">
                  <a:pos x="8" y="46"/>
                </a:cxn>
                <a:cxn ang="0">
                  <a:pos x="14" y="35"/>
                </a:cxn>
                <a:cxn ang="0">
                  <a:pos x="20" y="29"/>
                </a:cxn>
                <a:cxn ang="0">
                  <a:pos x="19" y="26"/>
                </a:cxn>
                <a:cxn ang="0">
                  <a:pos x="15" y="25"/>
                </a:cxn>
                <a:cxn ang="0">
                  <a:pos x="15" y="18"/>
                </a:cxn>
                <a:cxn ang="0">
                  <a:pos x="19" y="17"/>
                </a:cxn>
                <a:cxn ang="0">
                  <a:pos x="21" y="13"/>
                </a:cxn>
                <a:cxn ang="0">
                  <a:pos x="17" y="5"/>
                </a:cxn>
              </a:cxnLst>
              <a:rect l="0" t="0" r="r" b="b"/>
              <a:pathLst>
                <a:path w="145" h="141">
                  <a:moveTo>
                    <a:pt x="16" y="1"/>
                  </a:moveTo>
                  <a:lnTo>
                    <a:pt x="24" y="1"/>
                  </a:lnTo>
                  <a:lnTo>
                    <a:pt x="52" y="1"/>
                  </a:lnTo>
                  <a:lnTo>
                    <a:pt x="60" y="0"/>
                  </a:lnTo>
                  <a:lnTo>
                    <a:pt x="87" y="16"/>
                  </a:lnTo>
                  <a:lnTo>
                    <a:pt x="108" y="27"/>
                  </a:lnTo>
                  <a:lnTo>
                    <a:pt x="109" y="29"/>
                  </a:lnTo>
                  <a:lnTo>
                    <a:pt x="108" y="32"/>
                  </a:lnTo>
                  <a:lnTo>
                    <a:pt x="109" y="34"/>
                  </a:lnTo>
                  <a:lnTo>
                    <a:pt x="123" y="44"/>
                  </a:lnTo>
                  <a:lnTo>
                    <a:pt x="129" y="49"/>
                  </a:lnTo>
                  <a:lnTo>
                    <a:pt x="128" y="52"/>
                  </a:lnTo>
                  <a:lnTo>
                    <a:pt x="126" y="59"/>
                  </a:lnTo>
                  <a:lnTo>
                    <a:pt x="125" y="65"/>
                  </a:lnTo>
                  <a:lnTo>
                    <a:pt x="126" y="69"/>
                  </a:lnTo>
                  <a:lnTo>
                    <a:pt x="129" y="74"/>
                  </a:lnTo>
                  <a:lnTo>
                    <a:pt x="134" y="78"/>
                  </a:lnTo>
                  <a:lnTo>
                    <a:pt x="134" y="80"/>
                  </a:lnTo>
                  <a:lnTo>
                    <a:pt x="132" y="82"/>
                  </a:lnTo>
                  <a:lnTo>
                    <a:pt x="130" y="88"/>
                  </a:lnTo>
                  <a:lnTo>
                    <a:pt x="130" y="89"/>
                  </a:lnTo>
                  <a:lnTo>
                    <a:pt x="132" y="89"/>
                  </a:lnTo>
                  <a:lnTo>
                    <a:pt x="133" y="91"/>
                  </a:lnTo>
                  <a:lnTo>
                    <a:pt x="132" y="95"/>
                  </a:lnTo>
                  <a:lnTo>
                    <a:pt x="132" y="100"/>
                  </a:lnTo>
                  <a:lnTo>
                    <a:pt x="134" y="111"/>
                  </a:lnTo>
                  <a:lnTo>
                    <a:pt x="135" y="114"/>
                  </a:lnTo>
                  <a:lnTo>
                    <a:pt x="138" y="117"/>
                  </a:lnTo>
                  <a:lnTo>
                    <a:pt x="142" y="120"/>
                  </a:lnTo>
                  <a:lnTo>
                    <a:pt x="145" y="122"/>
                  </a:lnTo>
                  <a:lnTo>
                    <a:pt x="145" y="123"/>
                  </a:lnTo>
                  <a:lnTo>
                    <a:pt x="139" y="128"/>
                  </a:lnTo>
                  <a:lnTo>
                    <a:pt x="136" y="130"/>
                  </a:lnTo>
                  <a:lnTo>
                    <a:pt x="129" y="133"/>
                  </a:lnTo>
                  <a:lnTo>
                    <a:pt x="121" y="136"/>
                  </a:lnTo>
                  <a:lnTo>
                    <a:pt x="119" y="136"/>
                  </a:lnTo>
                  <a:lnTo>
                    <a:pt x="115" y="134"/>
                  </a:lnTo>
                  <a:lnTo>
                    <a:pt x="113" y="133"/>
                  </a:lnTo>
                  <a:lnTo>
                    <a:pt x="112" y="135"/>
                  </a:lnTo>
                  <a:lnTo>
                    <a:pt x="109" y="140"/>
                  </a:lnTo>
                  <a:lnTo>
                    <a:pt x="106" y="141"/>
                  </a:lnTo>
                  <a:lnTo>
                    <a:pt x="104" y="140"/>
                  </a:lnTo>
                  <a:lnTo>
                    <a:pt x="98" y="140"/>
                  </a:lnTo>
                  <a:lnTo>
                    <a:pt x="93" y="140"/>
                  </a:lnTo>
                  <a:lnTo>
                    <a:pt x="90" y="139"/>
                  </a:lnTo>
                  <a:lnTo>
                    <a:pt x="88" y="136"/>
                  </a:lnTo>
                  <a:lnTo>
                    <a:pt x="87" y="136"/>
                  </a:lnTo>
                  <a:lnTo>
                    <a:pt x="86" y="137"/>
                  </a:lnTo>
                  <a:lnTo>
                    <a:pt x="82" y="139"/>
                  </a:lnTo>
                  <a:lnTo>
                    <a:pt x="79" y="139"/>
                  </a:lnTo>
                  <a:lnTo>
                    <a:pt x="73" y="139"/>
                  </a:lnTo>
                  <a:lnTo>
                    <a:pt x="67" y="138"/>
                  </a:lnTo>
                  <a:lnTo>
                    <a:pt x="66" y="135"/>
                  </a:lnTo>
                  <a:lnTo>
                    <a:pt x="66" y="130"/>
                  </a:lnTo>
                  <a:lnTo>
                    <a:pt x="65" y="127"/>
                  </a:lnTo>
                  <a:lnTo>
                    <a:pt x="64" y="121"/>
                  </a:lnTo>
                  <a:lnTo>
                    <a:pt x="62" y="116"/>
                  </a:lnTo>
                  <a:lnTo>
                    <a:pt x="58" y="113"/>
                  </a:lnTo>
                  <a:lnTo>
                    <a:pt x="52" y="112"/>
                  </a:lnTo>
                  <a:lnTo>
                    <a:pt x="51" y="112"/>
                  </a:lnTo>
                  <a:lnTo>
                    <a:pt x="48" y="110"/>
                  </a:lnTo>
                  <a:lnTo>
                    <a:pt x="44" y="108"/>
                  </a:lnTo>
                  <a:lnTo>
                    <a:pt x="35" y="104"/>
                  </a:lnTo>
                  <a:lnTo>
                    <a:pt x="27" y="101"/>
                  </a:lnTo>
                  <a:lnTo>
                    <a:pt x="23" y="100"/>
                  </a:lnTo>
                  <a:lnTo>
                    <a:pt x="22" y="98"/>
                  </a:lnTo>
                  <a:lnTo>
                    <a:pt x="18" y="94"/>
                  </a:lnTo>
                  <a:lnTo>
                    <a:pt x="13" y="84"/>
                  </a:lnTo>
                  <a:lnTo>
                    <a:pt x="11" y="79"/>
                  </a:lnTo>
                  <a:lnTo>
                    <a:pt x="6" y="74"/>
                  </a:lnTo>
                  <a:lnTo>
                    <a:pt x="3" y="70"/>
                  </a:lnTo>
                  <a:lnTo>
                    <a:pt x="2" y="66"/>
                  </a:lnTo>
                  <a:lnTo>
                    <a:pt x="3" y="61"/>
                  </a:lnTo>
                  <a:lnTo>
                    <a:pt x="0" y="52"/>
                  </a:lnTo>
                  <a:lnTo>
                    <a:pt x="0" y="48"/>
                  </a:lnTo>
                  <a:lnTo>
                    <a:pt x="8" y="46"/>
                  </a:lnTo>
                  <a:lnTo>
                    <a:pt x="10" y="43"/>
                  </a:lnTo>
                  <a:lnTo>
                    <a:pt x="14" y="35"/>
                  </a:lnTo>
                  <a:lnTo>
                    <a:pt x="18" y="31"/>
                  </a:lnTo>
                  <a:lnTo>
                    <a:pt x="20" y="29"/>
                  </a:lnTo>
                  <a:lnTo>
                    <a:pt x="20" y="28"/>
                  </a:lnTo>
                  <a:lnTo>
                    <a:pt x="19" y="26"/>
                  </a:lnTo>
                  <a:lnTo>
                    <a:pt x="18" y="26"/>
                  </a:lnTo>
                  <a:lnTo>
                    <a:pt x="15" y="25"/>
                  </a:lnTo>
                  <a:lnTo>
                    <a:pt x="14" y="24"/>
                  </a:lnTo>
                  <a:lnTo>
                    <a:pt x="15" y="18"/>
                  </a:lnTo>
                  <a:lnTo>
                    <a:pt x="17" y="18"/>
                  </a:lnTo>
                  <a:lnTo>
                    <a:pt x="19" y="17"/>
                  </a:lnTo>
                  <a:lnTo>
                    <a:pt x="20" y="16"/>
                  </a:lnTo>
                  <a:lnTo>
                    <a:pt x="21" y="13"/>
                  </a:lnTo>
                  <a:lnTo>
                    <a:pt x="19" y="10"/>
                  </a:lnTo>
                  <a:lnTo>
                    <a:pt x="17" y="5"/>
                  </a:lnTo>
                  <a:lnTo>
                    <a:pt x="16" y="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1" name="Freeform 133">
              <a:extLst>
                <a:ext uri="{FF2B5EF4-FFF2-40B4-BE49-F238E27FC236}">
                  <a16:creationId xmlns:a16="http://schemas.microsoft.com/office/drawing/2014/main" id="{5814E3BF-E637-BF8E-CE71-1B68EDFD0648}"/>
                </a:ext>
              </a:extLst>
            </p:cNvPr>
            <p:cNvSpPr>
              <a:spLocks noEditPoints="1"/>
            </p:cNvSpPr>
            <p:nvPr/>
          </p:nvSpPr>
          <p:spPr bwMode="auto">
            <a:xfrm>
              <a:off x="6359109" y="4673600"/>
              <a:ext cx="166688" cy="214313"/>
            </a:xfrm>
            <a:custGeom>
              <a:avLst/>
              <a:gdLst/>
              <a:ahLst/>
              <a:cxnLst>
                <a:cxn ang="0">
                  <a:pos x="58" y="1"/>
                </a:cxn>
                <a:cxn ang="0">
                  <a:pos x="60" y="6"/>
                </a:cxn>
                <a:cxn ang="0">
                  <a:pos x="57" y="11"/>
                </a:cxn>
                <a:cxn ang="0">
                  <a:pos x="55" y="11"/>
                </a:cxn>
                <a:cxn ang="0">
                  <a:pos x="56" y="8"/>
                </a:cxn>
                <a:cxn ang="0">
                  <a:pos x="57" y="4"/>
                </a:cxn>
                <a:cxn ang="0">
                  <a:pos x="60" y="21"/>
                </a:cxn>
                <a:cxn ang="0">
                  <a:pos x="65" y="29"/>
                </a:cxn>
                <a:cxn ang="0">
                  <a:pos x="73" y="35"/>
                </a:cxn>
                <a:cxn ang="0">
                  <a:pos x="82" y="39"/>
                </a:cxn>
                <a:cxn ang="0">
                  <a:pos x="87" y="39"/>
                </a:cxn>
                <a:cxn ang="0">
                  <a:pos x="94" y="47"/>
                </a:cxn>
                <a:cxn ang="0">
                  <a:pos x="100" y="53"/>
                </a:cxn>
                <a:cxn ang="0">
                  <a:pos x="105" y="57"/>
                </a:cxn>
                <a:cxn ang="0">
                  <a:pos x="97" y="68"/>
                </a:cxn>
                <a:cxn ang="0">
                  <a:pos x="87" y="83"/>
                </a:cxn>
                <a:cxn ang="0">
                  <a:pos x="83" y="83"/>
                </a:cxn>
                <a:cxn ang="0">
                  <a:pos x="80" y="83"/>
                </a:cxn>
                <a:cxn ang="0">
                  <a:pos x="78" y="93"/>
                </a:cxn>
                <a:cxn ang="0">
                  <a:pos x="79" y="102"/>
                </a:cxn>
                <a:cxn ang="0">
                  <a:pos x="70" y="104"/>
                </a:cxn>
                <a:cxn ang="0">
                  <a:pos x="64" y="107"/>
                </a:cxn>
                <a:cxn ang="0">
                  <a:pos x="62" y="114"/>
                </a:cxn>
                <a:cxn ang="0">
                  <a:pos x="58" y="117"/>
                </a:cxn>
                <a:cxn ang="0">
                  <a:pos x="53" y="117"/>
                </a:cxn>
                <a:cxn ang="0">
                  <a:pos x="49" y="117"/>
                </a:cxn>
                <a:cxn ang="0">
                  <a:pos x="45" y="121"/>
                </a:cxn>
                <a:cxn ang="0">
                  <a:pos x="45" y="126"/>
                </a:cxn>
                <a:cxn ang="0">
                  <a:pos x="40" y="131"/>
                </a:cxn>
                <a:cxn ang="0">
                  <a:pos x="34" y="129"/>
                </a:cxn>
                <a:cxn ang="0">
                  <a:pos x="24" y="132"/>
                </a:cxn>
                <a:cxn ang="0">
                  <a:pos x="18" y="134"/>
                </a:cxn>
                <a:cxn ang="0">
                  <a:pos x="14" y="133"/>
                </a:cxn>
                <a:cxn ang="0">
                  <a:pos x="12" y="127"/>
                </a:cxn>
                <a:cxn ang="0">
                  <a:pos x="5" y="117"/>
                </a:cxn>
                <a:cxn ang="0">
                  <a:pos x="0" y="107"/>
                </a:cxn>
                <a:cxn ang="0">
                  <a:pos x="10" y="98"/>
                </a:cxn>
                <a:cxn ang="0">
                  <a:pos x="55" y="72"/>
                </a:cxn>
                <a:cxn ang="0">
                  <a:pos x="51" y="57"/>
                </a:cxn>
                <a:cxn ang="0">
                  <a:pos x="50" y="42"/>
                </a:cxn>
                <a:cxn ang="0">
                  <a:pos x="53" y="32"/>
                </a:cxn>
                <a:cxn ang="0">
                  <a:pos x="54" y="21"/>
                </a:cxn>
                <a:cxn ang="0">
                  <a:pos x="57" y="20"/>
                </a:cxn>
              </a:cxnLst>
              <a:rect l="0" t="0" r="r" b="b"/>
              <a:pathLst>
                <a:path w="105" h="135">
                  <a:moveTo>
                    <a:pt x="57" y="4"/>
                  </a:moveTo>
                  <a:lnTo>
                    <a:pt x="58" y="1"/>
                  </a:lnTo>
                  <a:lnTo>
                    <a:pt x="59" y="0"/>
                  </a:lnTo>
                  <a:lnTo>
                    <a:pt x="60" y="6"/>
                  </a:lnTo>
                  <a:lnTo>
                    <a:pt x="57" y="10"/>
                  </a:lnTo>
                  <a:lnTo>
                    <a:pt x="57" y="11"/>
                  </a:lnTo>
                  <a:lnTo>
                    <a:pt x="56" y="11"/>
                  </a:lnTo>
                  <a:lnTo>
                    <a:pt x="55" y="11"/>
                  </a:lnTo>
                  <a:lnTo>
                    <a:pt x="55" y="10"/>
                  </a:lnTo>
                  <a:lnTo>
                    <a:pt x="56" y="8"/>
                  </a:lnTo>
                  <a:lnTo>
                    <a:pt x="57" y="5"/>
                  </a:lnTo>
                  <a:lnTo>
                    <a:pt x="57" y="4"/>
                  </a:lnTo>
                  <a:close/>
                  <a:moveTo>
                    <a:pt x="60" y="19"/>
                  </a:moveTo>
                  <a:lnTo>
                    <a:pt x="60" y="21"/>
                  </a:lnTo>
                  <a:lnTo>
                    <a:pt x="63" y="26"/>
                  </a:lnTo>
                  <a:lnTo>
                    <a:pt x="65" y="29"/>
                  </a:lnTo>
                  <a:lnTo>
                    <a:pt x="70" y="33"/>
                  </a:lnTo>
                  <a:lnTo>
                    <a:pt x="73" y="35"/>
                  </a:lnTo>
                  <a:lnTo>
                    <a:pt x="79" y="39"/>
                  </a:lnTo>
                  <a:lnTo>
                    <a:pt x="82" y="39"/>
                  </a:lnTo>
                  <a:lnTo>
                    <a:pt x="83" y="40"/>
                  </a:lnTo>
                  <a:lnTo>
                    <a:pt x="87" y="39"/>
                  </a:lnTo>
                  <a:lnTo>
                    <a:pt x="89" y="40"/>
                  </a:lnTo>
                  <a:lnTo>
                    <a:pt x="94" y="47"/>
                  </a:lnTo>
                  <a:lnTo>
                    <a:pt x="97" y="51"/>
                  </a:lnTo>
                  <a:lnTo>
                    <a:pt x="100" y="53"/>
                  </a:lnTo>
                  <a:lnTo>
                    <a:pt x="105" y="56"/>
                  </a:lnTo>
                  <a:lnTo>
                    <a:pt x="105" y="57"/>
                  </a:lnTo>
                  <a:lnTo>
                    <a:pt x="101" y="64"/>
                  </a:lnTo>
                  <a:lnTo>
                    <a:pt x="97" y="68"/>
                  </a:lnTo>
                  <a:lnTo>
                    <a:pt x="92" y="73"/>
                  </a:lnTo>
                  <a:lnTo>
                    <a:pt x="87" y="83"/>
                  </a:lnTo>
                  <a:lnTo>
                    <a:pt x="86" y="84"/>
                  </a:lnTo>
                  <a:lnTo>
                    <a:pt x="83" y="83"/>
                  </a:lnTo>
                  <a:lnTo>
                    <a:pt x="81" y="83"/>
                  </a:lnTo>
                  <a:lnTo>
                    <a:pt x="80" y="83"/>
                  </a:lnTo>
                  <a:lnTo>
                    <a:pt x="78" y="86"/>
                  </a:lnTo>
                  <a:lnTo>
                    <a:pt x="78" y="93"/>
                  </a:lnTo>
                  <a:lnTo>
                    <a:pt x="78" y="98"/>
                  </a:lnTo>
                  <a:lnTo>
                    <a:pt x="79" y="102"/>
                  </a:lnTo>
                  <a:lnTo>
                    <a:pt x="76" y="103"/>
                  </a:lnTo>
                  <a:lnTo>
                    <a:pt x="70" y="104"/>
                  </a:lnTo>
                  <a:lnTo>
                    <a:pt x="66" y="105"/>
                  </a:lnTo>
                  <a:lnTo>
                    <a:pt x="64" y="107"/>
                  </a:lnTo>
                  <a:lnTo>
                    <a:pt x="63" y="110"/>
                  </a:lnTo>
                  <a:lnTo>
                    <a:pt x="62" y="114"/>
                  </a:lnTo>
                  <a:lnTo>
                    <a:pt x="61" y="115"/>
                  </a:lnTo>
                  <a:lnTo>
                    <a:pt x="58" y="117"/>
                  </a:lnTo>
                  <a:lnTo>
                    <a:pt x="55" y="117"/>
                  </a:lnTo>
                  <a:lnTo>
                    <a:pt x="53" y="117"/>
                  </a:lnTo>
                  <a:lnTo>
                    <a:pt x="51" y="117"/>
                  </a:lnTo>
                  <a:lnTo>
                    <a:pt x="49" y="117"/>
                  </a:lnTo>
                  <a:lnTo>
                    <a:pt x="46" y="119"/>
                  </a:lnTo>
                  <a:lnTo>
                    <a:pt x="45" y="121"/>
                  </a:lnTo>
                  <a:lnTo>
                    <a:pt x="45" y="124"/>
                  </a:lnTo>
                  <a:lnTo>
                    <a:pt x="45" y="126"/>
                  </a:lnTo>
                  <a:lnTo>
                    <a:pt x="44" y="128"/>
                  </a:lnTo>
                  <a:lnTo>
                    <a:pt x="40" y="131"/>
                  </a:lnTo>
                  <a:lnTo>
                    <a:pt x="38" y="131"/>
                  </a:lnTo>
                  <a:lnTo>
                    <a:pt x="34" y="129"/>
                  </a:lnTo>
                  <a:lnTo>
                    <a:pt x="30" y="130"/>
                  </a:lnTo>
                  <a:lnTo>
                    <a:pt x="24" y="132"/>
                  </a:lnTo>
                  <a:lnTo>
                    <a:pt x="20" y="134"/>
                  </a:lnTo>
                  <a:lnTo>
                    <a:pt x="18" y="134"/>
                  </a:lnTo>
                  <a:lnTo>
                    <a:pt x="16" y="135"/>
                  </a:lnTo>
                  <a:lnTo>
                    <a:pt x="14" y="133"/>
                  </a:lnTo>
                  <a:lnTo>
                    <a:pt x="11" y="129"/>
                  </a:lnTo>
                  <a:lnTo>
                    <a:pt x="12" y="127"/>
                  </a:lnTo>
                  <a:lnTo>
                    <a:pt x="11" y="125"/>
                  </a:lnTo>
                  <a:lnTo>
                    <a:pt x="5" y="117"/>
                  </a:lnTo>
                  <a:lnTo>
                    <a:pt x="1" y="111"/>
                  </a:lnTo>
                  <a:lnTo>
                    <a:pt x="0" y="107"/>
                  </a:lnTo>
                  <a:lnTo>
                    <a:pt x="0" y="103"/>
                  </a:lnTo>
                  <a:lnTo>
                    <a:pt x="10" y="98"/>
                  </a:lnTo>
                  <a:lnTo>
                    <a:pt x="24" y="90"/>
                  </a:lnTo>
                  <a:lnTo>
                    <a:pt x="55" y="72"/>
                  </a:lnTo>
                  <a:lnTo>
                    <a:pt x="54" y="62"/>
                  </a:lnTo>
                  <a:lnTo>
                    <a:pt x="51" y="57"/>
                  </a:lnTo>
                  <a:lnTo>
                    <a:pt x="50" y="56"/>
                  </a:lnTo>
                  <a:lnTo>
                    <a:pt x="50" y="42"/>
                  </a:lnTo>
                  <a:lnTo>
                    <a:pt x="50" y="36"/>
                  </a:lnTo>
                  <a:lnTo>
                    <a:pt x="53" y="32"/>
                  </a:lnTo>
                  <a:lnTo>
                    <a:pt x="54" y="30"/>
                  </a:lnTo>
                  <a:lnTo>
                    <a:pt x="54" y="21"/>
                  </a:lnTo>
                  <a:lnTo>
                    <a:pt x="55" y="19"/>
                  </a:lnTo>
                  <a:lnTo>
                    <a:pt x="57" y="20"/>
                  </a:lnTo>
                  <a:lnTo>
                    <a:pt x="60" y="1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2" name="Freeform 134">
              <a:extLst>
                <a:ext uri="{FF2B5EF4-FFF2-40B4-BE49-F238E27FC236}">
                  <a16:creationId xmlns:a16="http://schemas.microsoft.com/office/drawing/2014/main" id="{14DB2BBF-2054-7588-737B-AC42260E48DE}"/>
                </a:ext>
              </a:extLst>
            </p:cNvPr>
            <p:cNvSpPr>
              <a:spLocks/>
            </p:cNvSpPr>
            <p:nvPr/>
          </p:nvSpPr>
          <p:spPr bwMode="auto">
            <a:xfrm>
              <a:off x="6536909" y="4375150"/>
              <a:ext cx="296863" cy="225425"/>
            </a:xfrm>
            <a:custGeom>
              <a:avLst/>
              <a:gdLst/>
              <a:ahLst/>
              <a:cxnLst>
                <a:cxn ang="0">
                  <a:pos x="15" y="122"/>
                </a:cxn>
                <a:cxn ang="0">
                  <a:pos x="17" y="113"/>
                </a:cxn>
                <a:cxn ang="0">
                  <a:pos x="6" y="110"/>
                </a:cxn>
                <a:cxn ang="0">
                  <a:pos x="3" y="94"/>
                </a:cxn>
                <a:cxn ang="0">
                  <a:pos x="6" y="79"/>
                </a:cxn>
                <a:cxn ang="0">
                  <a:pos x="1" y="75"/>
                </a:cxn>
                <a:cxn ang="0">
                  <a:pos x="4" y="67"/>
                </a:cxn>
                <a:cxn ang="0">
                  <a:pos x="9" y="50"/>
                </a:cxn>
                <a:cxn ang="0">
                  <a:pos x="12" y="46"/>
                </a:cxn>
                <a:cxn ang="0">
                  <a:pos x="27" y="51"/>
                </a:cxn>
                <a:cxn ang="0">
                  <a:pos x="35" y="47"/>
                </a:cxn>
                <a:cxn ang="0">
                  <a:pos x="39" y="41"/>
                </a:cxn>
                <a:cxn ang="0">
                  <a:pos x="54" y="33"/>
                </a:cxn>
                <a:cxn ang="0">
                  <a:pos x="65" y="19"/>
                </a:cxn>
                <a:cxn ang="0">
                  <a:pos x="73" y="17"/>
                </a:cxn>
                <a:cxn ang="0">
                  <a:pos x="86" y="19"/>
                </a:cxn>
                <a:cxn ang="0">
                  <a:pos x="96" y="23"/>
                </a:cxn>
                <a:cxn ang="0">
                  <a:pos x="99" y="25"/>
                </a:cxn>
                <a:cxn ang="0">
                  <a:pos x="108" y="20"/>
                </a:cxn>
                <a:cxn ang="0">
                  <a:pos x="116" y="21"/>
                </a:cxn>
                <a:cxn ang="0">
                  <a:pos x="119" y="16"/>
                </a:cxn>
                <a:cxn ang="0">
                  <a:pos x="125" y="15"/>
                </a:cxn>
                <a:cxn ang="0">
                  <a:pos x="129" y="12"/>
                </a:cxn>
                <a:cxn ang="0">
                  <a:pos x="132" y="4"/>
                </a:cxn>
                <a:cxn ang="0">
                  <a:pos x="137" y="0"/>
                </a:cxn>
                <a:cxn ang="0">
                  <a:pos x="141" y="8"/>
                </a:cxn>
                <a:cxn ang="0">
                  <a:pos x="144" y="11"/>
                </a:cxn>
                <a:cxn ang="0">
                  <a:pos x="144" y="23"/>
                </a:cxn>
                <a:cxn ang="0">
                  <a:pos x="147" y="28"/>
                </a:cxn>
                <a:cxn ang="0">
                  <a:pos x="158" y="23"/>
                </a:cxn>
                <a:cxn ang="0">
                  <a:pos x="169" y="17"/>
                </a:cxn>
                <a:cxn ang="0">
                  <a:pos x="170" y="19"/>
                </a:cxn>
                <a:cxn ang="0">
                  <a:pos x="181" y="18"/>
                </a:cxn>
                <a:cxn ang="0">
                  <a:pos x="186" y="20"/>
                </a:cxn>
                <a:cxn ang="0">
                  <a:pos x="184" y="22"/>
                </a:cxn>
                <a:cxn ang="0">
                  <a:pos x="182" y="23"/>
                </a:cxn>
                <a:cxn ang="0">
                  <a:pos x="175" y="27"/>
                </a:cxn>
                <a:cxn ang="0">
                  <a:pos x="156" y="27"/>
                </a:cxn>
                <a:cxn ang="0">
                  <a:pos x="149" y="34"/>
                </a:cxn>
                <a:cxn ang="0">
                  <a:pos x="143" y="38"/>
                </a:cxn>
                <a:cxn ang="0">
                  <a:pos x="145" y="45"/>
                </a:cxn>
                <a:cxn ang="0">
                  <a:pos x="147" y="53"/>
                </a:cxn>
                <a:cxn ang="0">
                  <a:pos x="140" y="61"/>
                </a:cxn>
                <a:cxn ang="0">
                  <a:pos x="141" y="68"/>
                </a:cxn>
                <a:cxn ang="0">
                  <a:pos x="132" y="72"/>
                </a:cxn>
                <a:cxn ang="0">
                  <a:pos x="126" y="74"/>
                </a:cxn>
                <a:cxn ang="0">
                  <a:pos x="129" y="82"/>
                </a:cxn>
                <a:cxn ang="0">
                  <a:pos x="123" y="85"/>
                </a:cxn>
                <a:cxn ang="0">
                  <a:pos x="118" y="90"/>
                </a:cxn>
                <a:cxn ang="0">
                  <a:pos x="115" y="105"/>
                </a:cxn>
                <a:cxn ang="0">
                  <a:pos x="106" y="106"/>
                </a:cxn>
                <a:cxn ang="0">
                  <a:pos x="97" y="109"/>
                </a:cxn>
                <a:cxn ang="0">
                  <a:pos x="91" y="114"/>
                </a:cxn>
                <a:cxn ang="0">
                  <a:pos x="82" y="117"/>
                </a:cxn>
                <a:cxn ang="0">
                  <a:pos x="77" y="128"/>
                </a:cxn>
                <a:cxn ang="0">
                  <a:pos x="74" y="136"/>
                </a:cxn>
                <a:cxn ang="0">
                  <a:pos x="56" y="141"/>
                </a:cxn>
                <a:cxn ang="0">
                  <a:pos x="40" y="140"/>
                </a:cxn>
                <a:cxn ang="0">
                  <a:pos x="26" y="142"/>
                </a:cxn>
                <a:cxn ang="0">
                  <a:pos x="11" y="137"/>
                </a:cxn>
              </a:cxnLst>
              <a:rect l="0" t="0" r="r" b="b"/>
              <a:pathLst>
                <a:path w="187" h="142">
                  <a:moveTo>
                    <a:pt x="6" y="135"/>
                  </a:moveTo>
                  <a:lnTo>
                    <a:pt x="11" y="128"/>
                  </a:lnTo>
                  <a:lnTo>
                    <a:pt x="15" y="122"/>
                  </a:lnTo>
                  <a:lnTo>
                    <a:pt x="18" y="119"/>
                  </a:lnTo>
                  <a:lnTo>
                    <a:pt x="18" y="116"/>
                  </a:lnTo>
                  <a:lnTo>
                    <a:pt x="17" y="113"/>
                  </a:lnTo>
                  <a:lnTo>
                    <a:pt x="15" y="112"/>
                  </a:lnTo>
                  <a:lnTo>
                    <a:pt x="8" y="110"/>
                  </a:lnTo>
                  <a:lnTo>
                    <a:pt x="6" y="110"/>
                  </a:lnTo>
                  <a:lnTo>
                    <a:pt x="5" y="109"/>
                  </a:lnTo>
                  <a:lnTo>
                    <a:pt x="4" y="103"/>
                  </a:lnTo>
                  <a:lnTo>
                    <a:pt x="3" y="94"/>
                  </a:lnTo>
                  <a:lnTo>
                    <a:pt x="2" y="86"/>
                  </a:lnTo>
                  <a:lnTo>
                    <a:pt x="2" y="85"/>
                  </a:lnTo>
                  <a:lnTo>
                    <a:pt x="6" y="79"/>
                  </a:lnTo>
                  <a:lnTo>
                    <a:pt x="6" y="77"/>
                  </a:lnTo>
                  <a:lnTo>
                    <a:pt x="2" y="76"/>
                  </a:lnTo>
                  <a:lnTo>
                    <a:pt x="1" y="75"/>
                  </a:lnTo>
                  <a:lnTo>
                    <a:pt x="0" y="71"/>
                  </a:lnTo>
                  <a:lnTo>
                    <a:pt x="0" y="70"/>
                  </a:lnTo>
                  <a:lnTo>
                    <a:pt x="4" y="67"/>
                  </a:lnTo>
                  <a:lnTo>
                    <a:pt x="5" y="65"/>
                  </a:lnTo>
                  <a:lnTo>
                    <a:pt x="8" y="56"/>
                  </a:lnTo>
                  <a:lnTo>
                    <a:pt x="9" y="50"/>
                  </a:lnTo>
                  <a:lnTo>
                    <a:pt x="10" y="47"/>
                  </a:lnTo>
                  <a:lnTo>
                    <a:pt x="11" y="46"/>
                  </a:lnTo>
                  <a:lnTo>
                    <a:pt x="12" y="46"/>
                  </a:lnTo>
                  <a:lnTo>
                    <a:pt x="17" y="48"/>
                  </a:lnTo>
                  <a:lnTo>
                    <a:pt x="23" y="50"/>
                  </a:lnTo>
                  <a:lnTo>
                    <a:pt x="27" y="51"/>
                  </a:lnTo>
                  <a:lnTo>
                    <a:pt x="30" y="51"/>
                  </a:lnTo>
                  <a:lnTo>
                    <a:pt x="33" y="49"/>
                  </a:lnTo>
                  <a:lnTo>
                    <a:pt x="35" y="47"/>
                  </a:lnTo>
                  <a:lnTo>
                    <a:pt x="35" y="44"/>
                  </a:lnTo>
                  <a:lnTo>
                    <a:pt x="36" y="42"/>
                  </a:lnTo>
                  <a:lnTo>
                    <a:pt x="39" y="41"/>
                  </a:lnTo>
                  <a:lnTo>
                    <a:pt x="51" y="36"/>
                  </a:lnTo>
                  <a:lnTo>
                    <a:pt x="54" y="34"/>
                  </a:lnTo>
                  <a:lnTo>
                    <a:pt x="54" y="33"/>
                  </a:lnTo>
                  <a:lnTo>
                    <a:pt x="55" y="26"/>
                  </a:lnTo>
                  <a:lnTo>
                    <a:pt x="58" y="20"/>
                  </a:lnTo>
                  <a:lnTo>
                    <a:pt x="65" y="19"/>
                  </a:lnTo>
                  <a:lnTo>
                    <a:pt x="67" y="17"/>
                  </a:lnTo>
                  <a:lnTo>
                    <a:pt x="69" y="14"/>
                  </a:lnTo>
                  <a:lnTo>
                    <a:pt x="73" y="17"/>
                  </a:lnTo>
                  <a:lnTo>
                    <a:pt x="81" y="19"/>
                  </a:lnTo>
                  <a:lnTo>
                    <a:pt x="82" y="19"/>
                  </a:lnTo>
                  <a:lnTo>
                    <a:pt x="86" y="19"/>
                  </a:lnTo>
                  <a:lnTo>
                    <a:pt x="93" y="19"/>
                  </a:lnTo>
                  <a:lnTo>
                    <a:pt x="95" y="20"/>
                  </a:lnTo>
                  <a:lnTo>
                    <a:pt x="96" y="23"/>
                  </a:lnTo>
                  <a:lnTo>
                    <a:pt x="97" y="24"/>
                  </a:lnTo>
                  <a:lnTo>
                    <a:pt x="98" y="25"/>
                  </a:lnTo>
                  <a:lnTo>
                    <a:pt x="99" y="25"/>
                  </a:lnTo>
                  <a:lnTo>
                    <a:pt x="102" y="24"/>
                  </a:lnTo>
                  <a:lnTo>
                    <a:pt x="105" y="22"/>
                  </a:lnTo>
                  <a:lnTo>
                    <a:pt x="108" y="20"/>
                  </a:lnTo>
                  <a:lnTo>
                    <a:pt x="110" y="20"/>
                  </a:lnTo>
                  <a:lnTo>
                    <a:pt x="114" y="21"/>
                  </a:lnTo>
                  <a:lnTo>
                    <a:pt x="116" y="21"/>
                  </a:lnTo>
                  <a:lnTo>
                    <a:pt x="118" y="20"/>
                  </a:lnTo>
                  <a:lnTo>
                    <a:pt x="119" y="18"/>
                  </a:lnTo>
                  <a:lnTo>
                    <a:pt x="119" y="16"/>
                  </a:lnTo>
                  <a:lnTo>
                    <a:pt x="120" y="14"/>
                  </a:lnTo>
                  <a:lnTo>
                    <a:pt x="122" y="14"/>
                  </a:lnTo>
                  <a:lnTo>
                    <a:pt x="125" y="15"/>
                  </a:lnTo>
                  <a:lnTo>
                    <a:pt x="126" y="15"/>
                  </a:lnTo>
                  <a:lnTo>
                    <a:pt x="128" y="14"/>
                  </a:lnTo>
                  <a:lnTo>
                    <a:pt x="129" y="12"/>
                  </a:lnTo>
                  <a:lnTo>
                    <a:pt x="129" y="10"/>
                  </a:lnTo>
                  <a:lnTo>
                    <a:pt x="130" y="7"/>
                  </a:lnTo>
                  <a:lnTo>
                    <a:pt x="132" y="4"/>
                  </a:lnTo>
                  <a:lnTo>
                    <a:pt x="133" y="1"/>
                  </a:lnTo>
                  <a:lnTo>
                    <a:pt x="135" y="0"/>
                  </a:lnTo>
                  <a:lnTo>
                    <a:pt x="137" y="0"/>
                  </a:lnTo>
                  <a:lnTo>
                    <a:pt x="138" y="0"/>
                  </a:lnTo>
                  <a:lnTo>
                    <a:pt x="141" y="4"/>
                  </a:lnTo>
                  <a:lnTo>
                    <a:pt x="141" y="8"/>
                  </a:lnTo>
                  <a:lnTo>
                    <a:pt x="143" y="7"/>
                  </a:lnTo>
                  <a:lnTo>
                    <a:pt x="144" y="9"/>
                  </a:lnTo>
                  <a:lnTo>
                    <a:pt x="144" y="11"/>
                  </a:lnTo>
                  <a:lnTo>
                    <a:pt x="144" y="17"/>
                  </a:lnTo>
                  <a:lnTo>
                    <a:pt x="143" y="20"/>
                  </a:lnTo>
                  <a:lnTo>
                    <a:pt x="144" y="23"/>
                  </a:lnTo>
                  <a:lnTo>
                    <a:pt x="145" y="27"/>
                  </a:lnTo>
                  <a:lnTo>
                    <a:pt x="146" y="27"/>
                  </a:lnTo>
                  <a:lnTo>
                    <a:pt x="147" y="28"/>
                  </a:lnTo>
                  <a:lnTo>
                    <a:pt x="150" y="27"/>
                  </a:lnTo>
                  <a:lnTo>
                    <a:pt x="154" y="23"/>
                  </a:lnTo>
                  <a:lnTo>
                    <a:pt x="158" y="23"/>
                  </a:lnTo>
                  <a:lnTo>
                    <a:pt x="161" y="20"/>
                  </a:lnTo>
                  <a:lnTo>
                    <a:pt x="165" y="17"/>
                  </a:lnTo>
                  <a:lnTo>
                    <a:pt x="169" y="17"/>
                  </a:lnTo>
                  <a:lnTo>
                    <a:pt x="170" y="17"/>
                  </a:lnTo>
                  <a:lnTo>
                    <a:pt x="170" y="19"/>
                  </a:lnTo>
                  <a:lnTo>
                    <a:pt x="170" y="19"/>
                  </a:lnTo>
                  <a:lnTo>
                    <a:pt x="176" y="18"/>
                  </a:lnTo>
                  <a:lnTo>
                    <a:pt x="180" y="17"/>
                  </a:lnTo>
                  <a:lnTo>
                    <a:pt x="181" y="18"/>
                  </a:lnTo>
                  <a:lnTo>
                    <a:pt x="184" y="18"/>
                  </a:lnTo>
                  <a:lnTo>
                    <a:pt x="187" y="19"/>
                  </a:lnTo>
                  <a:lnTo>
                    <a:pt x="186" y="20"/>
                  </a:lnTo>
                  <a:lnTo>
                    <a:pt x="183" y="20"/>
                  </a:lnTo>
                  <a:lnTo>
                    <a:pt x="183" y="22"/>
                  </a:lnTo>
                  <a:lnTo>
                    <a:pt x="184" y="22"/>
                  </a:lnTo>
                  <a:lnTo>
                    <a:pt x="185" y="23"/>
                  </a:lnTo>
                  <a:lnTo>
                    <a:pt x="184" y="23"/>
                  </a:lnTo>
                  <a:lnTo>
                    <a:pt x="182" y="23"/>
                  </a:lnTo>
                  <a:lnTo>
                    <a:pt x="179" y="26"/>
                  </a:lnTo>
                  <a:lnTo>
                    <a:pt x="177" y="26"/>
                  </a:lnTo>
                  <a:lnTo>
                    <a:pt x="175" y="27"/>
                  </a:lnTo>
                  <a:lnTo>
                    <a:pt x="171" y="26"/>
                  </a:lnTo>
                  <a:lnTo>
                    <a:pt x="163" y="26"/>
                  </a:lnTo>
                  <a:lnTo>
                    <a:pt x="156" y="27"/>
                  </a:lnTo>
                  <a:lnTo>
                    <a:pt x="153" y="29"/>
                  </a:lnTo>
                  <a:lnTo>
                    <a:pt x="152" y="31"/>
                  </a:lnTo>
                  <a:lnTo>
                    <a:pt x="149" y="34"/>
                  </a:lnTo>
                  <a:lnTo>
                    <a:pt x="147" y="34"/>
                  </a:lnTo>
                  <a:lnTo>
                    <a:pt x="146" y="35"/>
                  </a:lnTo>
                  <a:lnTo>
                    <a:pt x="143" y="38"/>
                  </a:lnTo>
                  <a:lnTo>
                    <a:pt x="143" y="40"/>
                  </a:lnTo>
                  <a:lnTo>
                    <a:pt x="145" y="42"/>
                  </a:lnTo>
                  <a:lnTo>
                    <a:pt x="145" y="45"/>
                  </a:lnTo>
                  <a:lnTo>
                    <a:pt x="147" y="46"/>
                  </a:lnTo>
                  <a:lnTo>
                    <a:pt x="146" y="49"/>
                  </a:lnTo>
                  <a:lnTo>
                    <a:pt x="147" y="53"/>
                  </a:lnTo>
                  <a:lnTo>
                    <a:pt x="145" y="56"/>
                  </a:lnTo>
                  <a:lnTo>
                    <a:pt x="142" y="58"/>
                  </a:lnTo>
                  <a:lnTo>
                    <a:pt x="140" y="61"/>
                  </a:lnTo>
                  <a:lnTo>
                    <a:pt x="139" y="63"/>
                  </a:lnTo>
                  <a:lnTo>
                    <a:pt x="140" y="66"/>
                  </a:lnTo>
                  <a:lnTo>
                    <a:pt x="141" y="68"/>
                  </a:lnTo>
                  <a:lnTo>
                    <a:pt x="139" y="70"/>
                  </a:lnTo>
                  <a:lnTo>
                    <a:pt x="136" y="72"/>
                  </a:lnTo>
                  <a:lnTo>
                    <a:pt x="132" y="72"/>
                  </a:lnTo>
                  <a:lnTo>
                    <a:pt x="126" y="71"/>
                  </a:lnTo>
                  <a:lnTo>
                    <a:pt x="124" y="72"/>
                  </a:lnTo>
                  <a:lnTo>
                    <a:pt x="126" y="74"/>
                  </a:lnTo>
                  <a:lnTo>
                    <a:pt x="128" y="77"/>
                  </a:lnTo>
                  <a:lnTo>
                    <a:pt x="129" y="79"/>
                  </a:lnTo>
                  <a:lnTo>
                    <a:pt x="129" y="82"/>
                  </a:lnTo>
                  <a:lnTo>
                    <a:pt x="128" y="84"/>
                  </a:lnTo>
                  <a:lnTo>
                    <a:pt x="126" y="85"/>
                  </a:lnTo>
                  <a:lnTo>
                    <a:pt x="123" y="85"/>
                  </a:lnTo>
                  <a:lnTo>
                    <a:pt x="121" y="86"/>
                  </a:lnTo>
                  <a:lnTo>
                    <a:pt x="119" y="87"/>
                  </a:lnTo>
                  <a:lnTo>
                    <a:pt x="118" y="90"/>
                  </a:lnTo>
                  <a:lnTo>
                    <a:pt x="116" y="96"/>
                  </a:lnTo>
                  <a:lnTo>
                    <a:pt x="115" y="104"/>
                  </a:lnTo>
                  <a:lnTo>
                    <a:pt x="115" y="105"/>
                  </a:lnTo>
                  <a:lnTo>
                    <a:pt x="113" y="108"/>
                  </a:lnTo>
                  <a:lnTo>
                    <a:pt x="112" y="108"/>
                  </a:lnTo>
                  <a:lnTo>
                    <a:pt x="106" y="106"/>
                  </a:lnTo>
                  <a:lnTo>
                    <a:pt x="102" y="106"/>
                  </a:lnTo>
                  <a:lnTo>
                    <a:pt x="99" y="107"/>
                  </a:lnTo>
                  <a:lnTo>
                    <a:pt x="97" y="109"/>
                  </a:lnTo>
                  <a:lnTo>
                    <a:pt x="95" y="114"/>
                  </a:lnTo>
                  <a:lnTo>
                    <a:pt x="94" y="115"/>
                  </a:lnTo>
                  <a:lnTo>
                    <a:pt x="91" y="114"/>
                  </a:lnTo>
                  <a:lnTo>
                    <a:pt x="87" y="113"/>
                  </a:lnTo>
                  <a:lnTo>
                    <a:pt x="85" y="114"/>
                  </a:lnTo>
                  <a:lnTo>
                    <a:pt x="82" y="117"/>
                  </a:lnTo>
                  <a:lnTo>
                    <a:pt x="79" y="120"/>
                  </a:lnTo>
                  <a:lnTo>
                    <a:pt x="78" y="122"/>
                  </a:lnTo>
                  <a:lnTo>
                    <a:pt x="77" y="128"/>
                  </a:lnTo>
                  <a:lnTo>
                    <a:pt x="76" y="134"/>
                  </a:lnTo>
                  <a:lnTo>
                    <a:pt x="76" y="135"/>
                  </a:lnTo>
                  <a:lnTo>
                    <a:pt x="74" y="136"/>
                  </a:lnTo>
                  <a:lnTo>
                    <a:pt x="68" y="138"/>
                  </a:lnTo>
                  <a:lnTo>
                    <a:pt x="61" y="140"/>
                  </a:lnTo>
                  <a:lnTo>
                    <a:pt x="56" y="141"/>
                  </a:lnTo>
                  <a:lnTo>
                    <a:pt x="48" y="142"/>
                  </a:lnTo>
                  <a:lnTo>
                    <a:pt x="42" y="140"/>
                  </a:lnTo>
                  <a:lnTo>
                    <a:pt x="40" y="140"/>
                  </a:lnTo>
                  <a:lnTo>
                    <a:pt x="33" y="142"/>
                  </a:lnTo>
                  <a:lnTo>
                    <a:pt x="29" y="142"/>
                  </a:lnTo>
                  <a:lnTo>
                    <a:pt x="26" y="142"/>
                  </a:lnTo>
                  <a:lnTo>
                    <a:pt x="21" y="140"/>
                  </a:lnTo>
                  <a:lnTo>
                    <a:pt x="14" y="139"/>
                  </a:lnTo>
                  <a:lnTo>
                    <a:pt x="11" y="137"/>
                  </a:lnTo>
                  <a:lnTo>
                    <a:pt x="6" y="13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3" name="Freeform 135">
              <a:extLst>
                <a:ext uri="{FF2B5EF4-FFF2-40B4-BE49-F238E27FC236}">
                  <a16:creationId xmlns:a16="http://schemas.microsoft.com/office/drawing/2014/main" id="{C972B2A8-0067-09D3-21C3-A6B0A46C1307}"/>
                </a:ext>
              </a:extLst>
            </p:cNvPr>
            <p:cNvSpPr>
              <a:spLocks/>
            </p:cNvSpPr>
            <p:nvPr/>
          </p:nvSpPr>
          <p:spPr bwMode="auto">
            <a:xfrm>
              <a:off x="6135271" y="4987925"/>
              <a:ext cx="211138" cy="288925"/>
            </a:xfrm>
            <a:custGeom>
              <a:avLst/>
              <a:gdLst/>
              <a:ahLst/>
              <a:cxnLst>
                <a:cxn ang="0">
                  <a:pos x="0" y="172"/>
                </a:cxn>
                <a:cxn ang="0">
                  <a:pos x="0" y="158"/>
                </a:cxn>
                <a:cxn ang="0">
                  <a:pos x="0" y="140"/>
                </a:cxn>
                <a:cxn ang="0">
                  <a:pos x="0" y="132"/>
                </a:cxn>
                <a:cxn ang="0">
                  <a:pos x="0" y="122"/>
                </a:cxn>
                <a:cxn ang="0">
                  <a:pos x="12" y="105"/>
                </a:cxn>
                <a:cxn ang="0">
                  <a:pos x="21" y="104"/>
                </a:cxn>
                <a:cxn ang="0">
                  <a:pos x="25" y="101"/>
                </a:cxn>
                <a:cxn ang="0">
                  <a:pos x="30" y="96"/>
                </a:cxn>
                <a:cxn ang="0">
                  <a:pos x="37" y="95"/>
                </a:cxn>
                <a:cxn ang="0">
                  <a:pos x="52" y="95"/>
                </a:cxn>
                <a:cxn ang="0">
                  <a:pos x="66" y="79"/>
                </a:cxn>
                <a:cxn ang="0">
                  <a:pos x="88" y="54"/>
                </a:cxn>
                <a:cxn ang="0">
                  <a:pos x="69" y="51"/>
                </a:cxn>
                <a:cxn ang="0">
                  <a:pos x="40" y="41"/>
                </a:cxn>
                <a:cxn ang="0">
                  <a:pos x="33" y="36"/>
                </a:cxn>
                <a:cxn ang="0">
                  <a:pos x="25" y="26"/>
                </a:cxn>
                <a:cxn ang="0">
                  <a:pos x="22" y="19"/>
                </a:cxn>
                <a:cxn ang="0">
                  <a:pos x="27" y="11"/>
                </a:cxn>
                <a:cxn ang="0">
                  <a:pos x="30" y="7"/>
                </a:cxn>
                <a:cxn ang="0">
                  <a:pos x="36" y="14"/>
                </a:cxn>
                <a:cxn ang="0">
                  <a:pos x="41" y="20"/>
                </a:cxn>
                <a:cxn ang="0">
                  <a:pos x="45" y="21"/>
                </a:cxn>
                <a:cxn ang="0">
                  <a:pos x="50" y="21"/>
                </a:cxn>
                <a:cxn ang="0">
                  <a:pos x="55" y="19"/>
                </a:cxn>
                <a:cxn ang="0">
                  <a:pos x="64" y="15"/>
                </a:cxn>
                <a:cxn ang="0">
                  <a:pos x="70" y="17"/>
                </a:cxn>
                <a:cxn ang="0">
                  <a:pos x="77" y="15"/>
                </a:cxn>
                <a:cxn ang="0">
                  <a:pos x="83" y="11"/>
                </a:cxn>
                <a:cxn ang="0">
                  <a:pos x="88" y="12"/>
                </a:cxn>
                <a:cxn ang="0">
                  <a:pos x="98" y="9"/>
                </a:cxn>
                <a:cxn ang="0">
                  <a:pos x="104" y="10"/>
                </a:cxn>
                <a:cxn ang="0">
                  <a:pos x="112" y="9"/>
                </a:cxn>
                <a:cxn ang="0">
                  <a:pos x="124" y="3"/>
                </a:cxn>
                <a:cxn ang="0">
                  <a:pos x="130" y="1"/>
                </a:cxn>
                <a:cxn ang="0">
                  <a:pos x="133" y="3"/>
                </a:cxn>
                <a:cxn ang="0">
                  <a:pos x="131" y="10"/>
                </a:cxn>
                <a:cxn ang="0">
                  <a:pos x="132" y="17"/>
                </a:cxn>
                <a:cxn ang="0">
                  <a:pos x="129" y="23"/>
                </a:cxn>
                <a:cxn ang="0">
                  <a:pos x="128" y="32"/>
                </a:cxn>
                <a:cxn ang="0">
                  <a:pos x="120" y="48"/>
                </a:cxn>
                <a:cxn ang="0">
                  <a:pos x="114" y="55"/>
                </a:cxn>
                <a:cxn ang="0">
                  <a:pos x="109" y="66"/>
                </a:cxn>
                <a:cxn ang="0">
                  <a:pos x="103" y="79"/>
                </a:cxn>
                <a:cxn ang="0">
                  <a:pos x="97" y="90"/>
                </a:cxn>
                <a:cxn ang="0">
                  <a:pos x="85" y="105"/>
                </a:cxn>
                <a:cxn ang="0">
                  <a:pos x="70" y="123"/>
                </a:cxn>
                <a:cxn ang="0">
                  <a:pos x="46" y="138"/>
                </a:cxn>
                <a:cxn ang="0">
                  <a:pos x="35" y="147"/>
                </a:cxn>
                <a:cxn ang="0">
                  <a:pos x="25" y="158"/>
                </a:cxn>
                <a:cxn ang="0">
                  <a:pos x="11" y="174"/>
                </a:cxn>
                <a:cxn ang="0">
                  <a:pos x="8" y="180"/>
                </a:cxn>
              </a:cxnLst>
              <a:rect l="0" t="0" r="r" b="b"/>
              <a:pathLst>
                <a:path w="133" h="182">
                  <a:moveTo>
                    <a:pt x="7" y="182"/>
                  </a:moveTo>
                  <a:lnTo>
                    <a:pt x="0" y="172"/>
                  </a:lnTo>
                  <a:lnTo>
                    <a:pt x="0" y="166"/>
                  </a:lnTo>
                  <a:lnTo>
                    <a:pt x="0" y="158"/>
                  </a:lnTo>
                  <a:lnTo>
                    <a:pt x="0" y="146"/>
                  </a:lnTo>
                  <a:lnTo>
                    <a:pt x="0" y="140"/>
                  </a:lnTo>
                  <a:lnTo>
                    <a:pt x="0" y="137"/>
                  </a:lnTo>
                  <a:lnTo>
                    <a:pt x="0" y="132"/>
                  </a:lnTo>
                  <a:lnTo>
                    <a:pt x="0" y="125"/>
                  </a:lnTo>
                  <a:lnTo>
                    <a:pt x="0" y="122"/>
                  </a:lnTo>
                  <a:lnTo>
                    <a:pt x="10" y="108"/>
                  </a:lnTo>
                  <a:lnTo>
                    <a:pt x="12" y="105"/>
                  </a:lnTo>
                  <a:lnTo>
                    <a:pt x="14" y="104"/>
                  </a:lnTo>
                  <a:lnTo>
                    <a:pt x="21" y="104"/>
                  </a:lnTo>
                  <a:lnTo>
                    <a:pt x="23" y="103"/>
                  </a:lnTo>
                  <a:lnTo>
                    <a:pt x="25" y="101"/>
                  </a:lnTo>
                  <a:lnTo>
                    <a:pt x="28" y="98"/>
                  </a:lnTo>
                  <a:lnTo>
                    <a:pt x="30" y="96"/>
                  </a:lnTo>
                  <a:lnTo>
                    <a:pt x="33" y="95"/>
                  </a:lnTo>
                  <a:lnTo>
                    <a:pt x="37" y="95"/>
                  </a:lnTo>
                  <a:lnTo>
                    <a:pt x="47" y="95"/>
                  </a:lnTo>
                  <a:lnTo>
                    <a:pt x="52" y="95"/>
                  </a:lnTo>
                  <a:lnTo>
                    <a:pt x="57" y="89"/>
                  </a:lnTo>
                  <a:lnTo>
                    <a:pt x="66" y="79"/>
                  </a:lnTo>
                  <a:lnTo>
                    <a:pt x="90" y="54"/>
                  </a:lnTo>
                  <a:lnTo>
                    <a:pt x="88" y="54"/>
                  </a:lnTo>
                  <a:lnTo>
                    <a:pt x="77" y="54"/>
                  </a:lnTo>
                  <a:lnTo>
                    <a:pt x="69" y="51"/>
                  </a:lnTo>
                  <a:lnTo>
                    <a:pt x="44" y="42"/>
                  </a:lnTo>
                  <a:lnTo>
                    <a:pt x="40" y="41"/>
                  </a:lnTo>
                  <a:lnTo>
                    <a:pt x="37" y="39"/>
                  </a:lnTo>
                  <a:lnTo>
                    <a:pt x="33" y="36"/>
                  </a:lnTo>
                  <a:lnTo>
                    <a:pt x="29" y="31"/>
                  </a:lnTo>
                  <a:lnTo>
                    <a:pt x="25" y="26"/>
                  </a:lnTo>
                  <a:lnTo>
                    <a:pt x="23" y="22"/>
                  </a:lnTo>
                  <a:lnTo>
                    <a:pt x="22" y="19"/>
                  </a:lnTo>
                  <a:lnTo>
                    <a:pt x="25" y="14"/>
                  </a:lnTo>
                  <a:lnTo>
                    <a:pt x="27" y="11"/>
                  </a:lnTo>
                  <a:lnTo>
                    <a:pt x="29" y="8"/>
                  </a:lnTo>
                  <a:lnTo>
                    <a:pt x="30" y="7"/>
                  </a:lnTo>
                  <a:lnTo>
                    <a:pt x="31" y="7"/>
                  </a:lnTo>
                  <a:lnTo>
                    <a:pt x="36" y="14"/>
                  </a:lnTo>
                  <a:lnTo>
                    <a:pt x="39" y="18"/>
                  </a:lnTo>
                  <a:lnTo>
                    <a:pt x="41" y="20"/>
                  </a:lnTo>
                  <a:lnTo>
                    <a:pt x="42" y="21"/>
                  </a:lnTo>
                  <a:lnTo>
                    <a:pt x="45" y="21"/>
                  </a:lnTo>
                  <a:lnTo>
                    <a:pt x="47" y="21"/>
                  </a:lnTo>
                  <a:lnTo>
                    <a:pt x="50" y="21"/>
                  </a:lnTo>
                  <a:lnTo>
                    <a:pt x="52" y="20"/>
                  </a:lnTo>
                  <a:lnTo>
                    <a:pt x="55" y="19"/>
                  </a:lnTo>
                  <a:lnTo>
                    <a:pt x="60" y="16"/>
                  </a:lnTo>
                  <a:lnTo>
                    <a:pt x="64" y="15"/>
                  </a:lnTo>
                  <a:lnTo>
                    <a:pt x="66" y="16"/>
                  </a:lnTo>
                  <a:lnTo>
                    <a:pt x="70" y="17"/>
                  </a:lnTo>
                  <a:lnTo>
                    <a:pt x="74" y="17"/>
                  </a:lnTo>
                  <a:lnTo>
                    <a:pt x="77" y="15"/>
                  </a:lnTo>
                  <a:lnTo>
                    <a:pt x="82" y="12"/>
                  </a:lnTo>
                  <a:lnTo>
                    <a:pt x="83" y="11"/>
                  </a:lnTo>
                  <a:lnTo>
                    <a:pt x="86" y="11"/>
                  </a:lnTo>
                  <a:lnTo>
                    <a:pt x="88" y="12"/>
                  </a:lnTo>
                  <a:lnTo>
                    <a:pt x="91" y="12"/>
                  </a:lnTo>
                  <a:lnTo>
                    <a:pt x="98" y="9"/>
                  </a:lnTo>
                  <a:lnTo>
                    <a:pt x="100" y="9"/>
                  </a:lnTo>
                  <a:lnTo>
                    <a:pt x="104" y="10"/>
                  </a:lnTo>
                  <a:lnTo>
                    <a:pt x="108" y="10"/>
                  </a:lnTo>
                  <a:lnTo>
                    <a:pt x="112" y="9"/>
                  </a:lnTo>
                  <a:lnTo>
                    <a:pt x="118" y="7"/>
                  </a:lnTo>
                  <a:lnTo>
                    <a:pt x="124" y="3"/>
                  </a:lnTo>
                  <a:lnTo>
                    <a:pt x="126" y="0"/>
                  </a:lnTo>
                  <a:lnTo>
                    <a:pt x="130" y="1"/>
                  </a:lnTo>
                  <a:lnTo>
                    <a:pt x="132" y="3"/>
                  </a:lnTo>
                  <a:lnTo>
                    <a:pt x="133" y="3"/>
                  </a:lnTo>
                  <a:lnTo>
                    <a:pt x="133" y="4"/>
                  </a:lnTo>
                  <a:lnTo>
                    <a:pt x="131" y="10"/>
                  </a:lnTo>
                  <a:lnTo>
                    <a:pt x="131" y="13"/>
                  </a:lnTo>
                  <a:lnTo>
                    <a:pt x="132" y="17"/>
                  </a:lnTo>
                  <a:lnTo>
                    <a:pt x="131" y="20"/>
                  </a:lnTo>
                  <a:lnTo>
                    <a:pt x="129" y="23"/>
                  </a:lnTo>
                  <a:lnTo>
                    <a:pt x="129" y="27"/>
                  </a:lnTo>
                  <a:lnTo>
                    <a:pt x="128" y="32"/>
                  </a:lnTo>
                  <a:lnTo>
                    <a:pt x="127" y="35"/>
                  </a:lnTo>
                  <a:lnTo>
                    <a:pt x="120" y="48"/>
                  </a:lnTo>
                  <a:lnTo>
                    <a:pt x="115" y="53"/>
                  </a:lnTo>
                  <a:lnTo>
                    <a:pt x="114" y="55"/>
                  </a:lnTo>
                  <a:lnTo>
                    <a:pt x="115" y="57"/>
                  </a:lnTo>
                  <a:lnTo>
                    <a:pt x="109" y="66"/>
                  </a:lnTo>
                  <a:lnTo>
                    <a:pt x="105" y="74"/>
                  </a:lnTo>
                  <a:lnTo>
                    <a:pt x="103" y="79"/>
                  </a:lnTo>
                  <a:lnTo>
                    <a:pt x="101" y="83"/>
                  </a:lnTo>
                  <a:lnTo>
                    <a:pt x="97" y="90"/>
                  </a:lnTo>
                  <a:lnTo>
                    <a:pt x="92" y="97"/>
                  </a:lnTo>
                  <a:lnTo>
                    <a:pt x="85" y="105"/>
                  </a:lnTo>
                  <a:lnTo>
                    <a:pt x="83" y="108"/>
                  </a:lnTo>
                  <a:lnTo>
                    <a:pt x="70" y="123"/>
                  </a:lnTo>
                  <a:lnTo>
                    <a:pt x="59" y="132"/>
                  </a:lnTo>
                  <a:lnTo>
                    <a:pt x="46" y="138"/>
                  </a:lnTo>
                  <a:lnTo>
                    <a:pt x="43" y="141"/>
                  </a:lnTo>
                  <a:lnTo>
                    <a:pt x="35" y="147"/>
                  </a:lnTo>
                  <a:lnTo>
                    <a:pt x="25" y="158"/>
                  </a:lnTo>
                  <a:lnTo>
                    <a:pt x="25" y="158"/>
                  </a:lnTo>
                  <a:lnTo>
                    <a:pt x="18" y="164"/>
                  </a:lnTo>
                  <a:lnTo>
                    <a:pt x="11" y="174"/>
                  </a:lnTo>
                  <a:lnTo>
                    <a:pt x="7" y="179"/>
                  </a:lnTo>
                  <a:lnTo>
                    <a:pt x="8" y="180"/>
                  </a:lnTo>
                  <a:lnTo>
                    <a:pt x="7" y="18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4" name="Freeform 136">
              <a:extLst>
                <a:ext uri="{FF2B5EF4-FFF2-40B4-BE49-F238E27FC236}">
                  <a16:creationId xmlns:a16="http://schemas.microsoft.com/office/drawing/2014/main" id="{F2057944-0AF3-83A6-8493-E9A9765E45F0}"/>
                </a:ext>
              </a:extLst>
            </p:cNvPr>
            <p:cNvSpPr>
              <a:spLocks/>
            </p:cNvSpPr>
            <p:nvPr/>
          </p:nvSpPr>
          <p:spPr bwMode="auto">
            <a:xfrm>
              <a:off x="6684546" y="4302125"/>
              <a:ext cx="155575" cy="117475"/>
            </a:xfrm>
            <a:custGeom>
              <a:avLst/>
              <a:gdLst/>
              <a:ahLst/>
              <a:cxnLst>
                <a:cxn ang="0">
                  <a:pos x="88" y="64"/>
                </a:cxn>
                <a:cxn ang="0">
                  <a:pos x="77" y="65"/>
                </a:cxn>
                <a:cxn ang="0">
                  <a:pos x="76" y="63"/>
                </a:cxn>
                <a:cxn ang="0">
                  <a:pos x="65" y="69"/>
                </a:cxn>
                <a:cxn ang="0">
                  <a:pos x="54" y="74"/>
                </a:cxn>
                <a:cxn ang="0">
                  <a:pos x="51" y="69"/>
                </a:cxn>
                <a:cxn ang="0">
                  <a:pos x="51" y="57"/>
                </a:cxn>
                <a:cxn ang="0">
                  <a:pos x="48" y="54"/>
                </a:cxn>
                <a:cxn ang="0">
                  <a:pos x="44" y="46"/>
                </a:cxn>
                <a:cxn ang="0">
                  <a:pos x="39" y="50"/>
                </a:cxn>
                <a:cxn ang="0">
                  <a:pos x="36" y="58"/>
                </a:cxn>
                <a:cxn ang="0">
                  <a:pos x="32" y="61"/>
                </a:cxn>
                <a:cxn ang="0">
                  <a:pos x="26" y="62"/>
                </a:cxn>
                <a:cxn ang="0">
                  <a:pos x="23" y="67"/>
                </a:cxn>
                <a:cxn ang="0">
                  <a:pos x="15" y="66"/>
                </a:cxn>
                <a:cxn ang="0">
                  <a:pos x="6" y="71"/>
                </a:cxn>
                <a:cxn ang="0">
                  <a:pos x="3" y="69"/>
                </a:cxn>
                <a:cxn ang="0">
                  <a:pos x="8" y="58"/>
                </a:cxn>
                <a:cxn ang="0">
                  <a:pos x="13" y="50"/>
                </a:cxn>
                <a:cxn ang="0">
                  <a:pos x="9" y="42"/>
                </a:cxn>
                <a:cxn ang="0">
                  <a:pos x="9" y="35"/>
                </a:cxn>
                <a:cxn ang="0">
                  <a:pos x="3" y="34"/>
                </a:cxn>
                <a:cxn ang="0">
                  <a:pos x="1" y="27"/>
                </a:cxn>
                <a:cxn ang="0">
                  <a:pos x="14" y="26"/>
                </a:cxn>
                <a:cxn ang="0">
                  <a:pos x="17" y="21"/>
                </a:cxn>
                <a:cxn ang="0">
                  <a:pos x="19" y="17"/>
                </a:cxn>
                <a:cxn ang="0">
                  <a:pos x="17" y="17"/>
                </a:cxn>
                <a:cxn ang="0">
                  <a:pos x="22" y="14"/>
                </a:cxn>
                <a:cxn ang="0">
                  <a:pos x="25" y="11"/>
                </a:cxn>
                <a:cxn ang="0">
                  <a:pos x="26" y="5"/>
                </a:cxn>
                <a:cxn ang="0">
                  <a:pos x="30" y="8"/>
                </a:cxn>
                <a:cxn ang="0">
                  <a:pos x="38" y="2"/>
                </a:cxn>
                <a:cxn ang="0">
                  <a:pos x="44" y="5"/>
                </a:cxn>
                <a:cxn ang="0">
                  <a:pos x="39" y="10"/>
                </a:cxn>
                <a:cxn ang="0">
                  <a:pos x="42" y="14"/>
                </a:cxn>
                <a:cxn ang="0">
                  <a:pos x="45" y="15"/>
                </a:cxn>
                <a:cxn ang="0">
                  <a:pos x="41" y="19"/>
                </a:cxn>
                <a:cxn ang="0">
                  <a:pos x="34" y="15"/>
                </a:cxn>
                <a:cxn ang="0">
                  <a:pos x="27" y="18"/>
                </a:cxn>
                <a:cxn ang="0">
                  <a:pos x="26" y="19"/>
                </a:cxn>
                <a:cxn ang="0">
                  <a:pos x="24" y="24"/>
                </a:cxn>
                <a:cxn ang="0">
                  <a:pos x="29" y="26"/>
                </a:cxn>
                <a:cxn ang="0">
                  <a:pos x="38" y="26"/>
                </a:cxn>
                <a:cxn ang="0">
                  <a:pos x="44" y="27"/>
                </a:cxn>
                <a:cxn ang="0">
                  <a:pos x="48" y="29"/>
                </a:cxn>
                <a:cxn ang="0">
                  <a:pos x="53" y="26"/>
                </a:cxn>
                <a:cxn ang="0">
                  <a:pos x="56" y="28"/>
                </a:cxn>
                <a:cxn ang="0">
                  <a:pos x="57" y="30"/>
                </a:cxn>
                <a:cxn ang="0">
                  <a:pos x="62" y="32"/>
                </a:cxn>
                <a:cxn ang="0">
                  <a:pos x="69" y="29"/>
                </a:cxn>
                <a:cxn ang="0">
                  <a:pos x="78" y="28"/>
                </a:cxn>
                <a:cxn ang="0">
                  <a:pos x="81" y="28"/>
                </a:cxn>
                <a:cxn ang="0">
                  <a:pos x="81" y="40"/>
                </a:cxn>
                <a:cxn ang="0">
                  <a:pos x="87" y="42"/>
                </a:cxn>
                <a:cxn ang="0">
                  <a:pos x="94" y="44"/>
                </a:cxn>
                <a:cxn ang="0">
                  <a:pos x="96" y="51"/>
                </a:cxn>
                <a:cxn ang="0">
                  <a:pos x="96" y="55"/>
                </a:cxn>
                <a:cxn ang="0">
                  <a:pos x="98" y="61"/>
                </a:cxn>
                <a:cxn ang="0">
                  <a:pos x="94" y="65"/>
                </a:cxn>
              </a:cxnLst>
              <a:rect l="0" t="0" r="r" b="b"/>
              <a:pathLst>
                <a:path w="98" h="74">
                  <a:moveTo>
                    <a:pt x="94" y="65"/>
                  </a:moveTo>
                  <a:lnTo>
                    <a:pt x="91" y="64"/>
                  </a:lnTo>
                  <a:lnTo>
                    <a:pt x="88" y="64"/>
                  </a:lnTo>
                  <a:lnTo>
                    <a:pt x="87" y="63"/>
                  </a:lnTo>
                  <a:lnTo>
                    <a:pt x="83" y="64"/>
                  </a:lnTo>
                  <a:lnTo>
                    <a:pt x="77" y="65"/>
                  </a:lnTo>
                  <a:lnTo>
                    <a:pt x="77" y="65"/>
                  </a:lnTo>
                  <a:lnTo>
                    <a:pt x="77" y="63"/>
                  </a:lnTo>
                  <a:lnTo>
                    <a:pt x="76" y="63"/>
                  </a:lnTo>
                  <a:lnTo>
                    <a:pt x="72" y="63"/>
                  </a:lnTo>
                  <a:lnTo>
                    <a:pt x="68" y="66"/>
                  </a:lnTo>
                  <a:lnTo>
                    <a:pt x="65" y="69"/>
                  </a:lnTo>
                  <a:lnTo>
                    <a:pt x="61" y="69"/>
                  </a:lnTo>
                  <a:lnTo>
                    <a:pt x="57" y="73"/>
                  </a:lnTo>
                  <a:lnTo>
                    <a:pt x="54" y="74"/>
                  </a:lnTo>
                  <a:lnTo>
                    <a:pt x="53" y="73"/>
                  </a:lnTo>
                  <a:lnTo>
                    <a:pt x="52" y="73"/>
                  </a:lnTo>
                  <a:lnTo>
                    <a:pt x="51" y="69"/>
                  </a:lnTo>
                  <a:lnTo>
                    <a:pt x="50" y="66"/>
                  </a:lnTo>
                  <a:lnTo>
                    <a:pt x="51" y="63"/>
                  </a:lnTo>
                  <a:lnTo>
                    <a:pt x="51" y="57"/>
                  </a:lnTo>
                  <a:lnTo>
                    <a:pt x="51" y="55"/>
                  </a:lnTo>
                  <a:lnTo>
                    <a:pt x="50" y="53"/>
                  </a:lnTo>
                  <a:lnTo>
                    <a:pt x="48" y="54"/>
                  </a:lnTo>
                  <a:lnTo>
                    <a:pt x="48" y="50"/>
                  </a:lnTo>
                  <a:lnTo>
                    <a:pt x="45" y="46"/>
                  </a:lnTo>
                  <a:lnTo>
                    <a:pt x="44" y="46"/>
                  </a:lnTo>
                  <a:lnTo>
                    <a:pt x="42" y="46"/>
                  </a:lnTo>
                  <a:lnTo>
                    <a:pt x="40" y="47"/>
                  </a:lnTo>
                  <a:lnTo>
                    <a:pt x="39" y="50"/>
                  </a:lnTo>
                  <a:lnTo>
                    <a:pt x="37" y="53"/>
                  </a:lnTo>
                  <a:lnTo>
                    <a:pt x="36" y="56"/>
                  </a:lnTo>
                  <a:lnTo>
                    <a:pt x="36" y="58"/>
                  </a:lnTo>
                  <a:lnTo>
                    <a:pt x="35" y="60"/>
                  </a:lnTo>
                  <a:lnTo>
                    <a:pt x="33" y="61"/>
                  </a:lnTo>
                  <a:lnTo>
                    <a:pt x="32" y="61"/>
                  </a:lnTo>
                  <a:lnTo>
                    <a:pt x="29" y="60"/>
                  </a:lnTo>
                  <a:lnTo>
                    <a:pt x="27" y="60"/>
                  </a:lnTo>
                  <a:lnTo>
                    <a:pt x="26" y="62"/>
                  </a:lnTo>
                  <a:lnTo>
                    <a:pt x="26" y="64"/>
                  </a:lnTo>
                  <a:lnTo>
                    <a:pt x="25" y="66"/>
                  </a:lnTo>
                  <a:lnTo>
                    <a:pt x="23" y="67"/>
                  </a:lnTo>
                  <a:lnTo>
                    <a:pt x="21" y="67"/>
                  </a:lnTo>
                  <a:lnTo>
                    <a:pt x="17" y="66"/>
                  </a:lnTo>
                  <a:lnTo>
                    <a:pt x="15" y="66"/>
                  </a:lnTo>
                  <a:lnTo>
                    <a:pt x="12" y="68"/>
                  </a:lnTo>
                  <a:lnTo>
                    <a:pt x="9" y="70"/>
                  </a:lnTo>
                  <a:lnTo>
                    <a:pt x="6" y="71"/>
                  </a:lnTo>
                  <a:lnTo>
                    <a:pt x="5" y="71"/>
                  </a:lnTo>
                  <a:lnTo>
                    <a:pt x="4" y="70"/>
                  </a:lnTo>
                  <a:lnTo>
                    <a:pt x="3" y="69"/>
                  </a:lnTo>
                  <a:lnTo>
                    <a:pt x="6" y="63"/>
                  </a:lnTo>
                  <a:lnTo>
                    <a:pt x="5" y="60"/>
                  </a:lnTo>
                  <a:lnTo>
                    <a:pt x="8" y="58"/>
                  </a:lnTo>
                  <a:lnTo>
                    <a:pt x="9" y="54"/>
                  </a:lnTo>
                  <a:lnTo>
                    <a:pt x="12" y="51"/>
                  </a:lnTo>
                  <a:lnTo>
                    <a:pt x="13" y="50"/>
                  </a:lnTo>
                  <a:lnTo>
                    <a:pt x="12" y="48"/>
                  </a:lnTo>
                  <a:lnTo>
                    <a:pt x="9" y="45"/>
                  </a:lnTo>
                  <a:lnTo>
                    <a:pt x="9" y="42"/>
                  </a:lnTo>
                  <a:lnTo>
                    <a:pt x="9" y="39"/>
                  </a:lnTo>
                  <a:lnTo>
                    <a:pt x="10" y="37"/>
                  </a:lnTo>
                  <a:lnTo>
                    <a:pt x="9" y="35"/>
                  </a:lnTo>
                  <a:lnTo>
                    <a:pt x="7" y="35"/>
                  </a:lnTo>
                  <a:lnTo>
                    <a:pt x="5" y="35"/>
                  </a:lnTo>
                  <a:lnTo>
                    <a:pt x="3" y="34"/>
                  </a:lnTo>
                  <a:lnTo>
                    <a:pt x="2" y="32"/>
                  </a:lnTo>
                  <a:lnTo>
                    <a:pt x="0" y="30"/>
                  </a:lnTo>
                  <a:lnTo>
                    <a:pt x="1" y="27"/>
                  </a:lnTo>
                  <a:lnTo>
                    <a:pt x="3" y="24"/>
                  </a:lnTo>
                  <a:lnTo>
                    <a:pt x="7" y="26"/>
                  </a:lnTo>
                  <a:lnTo>
                    <a:pt x="14" y="26"/>
                  </a:lnTo>
                  <a:lnTo>
                    <a:pt x="15" y="25"/>
                  </a:lnTo>
                  <a:lnTo>
                    <a:pt x="15" y="22"/>
                  </a:lnTo>
                  <a:lnTo>
                    <a:pt x="17" y="21"/>
                  </a:lnTo>
                  <a:lnTo>
                    <a:pt x="18" y="21"/>
                  </a:lnTo>
                  <a:lnTo>
                    <a:pt x="18" y="18"/>
                  </a:lnTo>
                  <a:lnTo>
                    <a:pt x="19" y="17"/>
                  </a:lnTo>
                  <a:lnTo>
                    <a:pt x="21" y="17"/>
                  </a:lnTo>
                  <a:lnTo>
                    <a:pt x="20" y="16"/>
                  </a:lnTo>
                  <a:lnTo>
                    <a:pt x="17" y="17"/>
                  </a:lnTo>
                  <a:lnTo>
                    <a:pt x="15" y="15"/>
                  </a:lnTo>
                  <a:lnTo>
                    <a:pt x="18" y="15"/>
                  </a:lnTo>
                  <a:lnTo>
                    <a:pt x="22" y="14"/>
                  </a:lnTo>
                  <a:lnTo>
                    <a:pt x="24" y="15"/>
                  </a:lnTo>
                  <a:lnTo>
                    <a:pt x="25" y="14"/>
                  </a:lnTo>
                  <a:lnTo>
                    <a:pt x="25" y="11"/>
                  </a:lnTo>
                  <a:lnTo>
                    <a:pt x="24" y="9"/>
                  </a:lnTo>
                  <a:lnTo>
                    <a:pt x="26" y="6"/>
                  </a:lnTo>
                  <a:lnTo>
                    <a:pt x="26" y="5"/>
                  </a:lnTo>
                  <a:lnTo>
                    <a:pt x="27" y="5"/>
                  </a:lnTo>
                  <a:lnTo>
                    <a:pt x="29" y="6"/>
                  </a:lnTo>
                  <a:lnTo>
                    <a:pt x="30" y="8"/>
                  </a:lnTo>
                  <a:lnTo>
                    <a:pt x="32" y="6"/>
                  </a:lnTo>
                  <a:lnTo>
                    <a:pt x="36" y="5"/>
                  </a:lnTo>
                  <a:lnTo>
                    <a:pt x="38" y="2"/>
                  </a:lnTo>
                  <a:lnTo>
                    <a:pt x="40" y="0"/>
                  </a:lnTo>
                  <a:lnTo>
                    <a:pt x="42" y="3"/>
                  </a:lnTo>
                  <a:lnTo>
                    <a:pt x="44" y="5"/>
                  </a:lnTo>
                  <a:lnTo>
                    <a:pt x="43" y="7"/>
                  </a:lnTo>
                  <a:lnTo>
                    <a:pt x="40" y="9"/>
                  </a:lnTo>
                  <a:lnTo>
                    <a:pt x="39" y="10"/>
                  </a:lnTo>
                  <a:lnTo>
                    <a:pt x="39" y="12"/>
                  </a:lnTo>
                  <a:lnTo>
                    <a:pt x="41" y="12"/>
                  </a:lnTo>
                  <a:lnTo>
                    <a:pt x="42" y="14"/>
                  </a:lnTo>
                  <a:lnTo>
                    <a:pt x="44" y="14"/>
                  </a:lnTo>
                  <a:lnTo>
                    <a:pt x="47" y="14"/>
                  </a:lnTo>
                  <a:lnTo>
                    <a:pt x="45" y="15"/>
                  </a:lnTo>
                  <a:lnTo>
                    <a:pt x="42" y="17"/>
                  </a:lnTo>
                  <a:lnTo>
                    <a:pt x="42" y="19"/>
                  </a:lnTo>
                  <a:lnTo>
                    <a:pt x="41" y="19"/>
                  </a:lnTo>
                  <a:lnTo>
                    <a:pt x="40" y="17"/>
                  </a:lnTo>
                  <a:lnTo>
                    <a:pt x="37" y="16"/>
                  </a:lnTo>
                  <a:lnTo>
                    <a:pt x="34" y="15"/>
                  </a:lnTo>
                  <a:lnTo>
                    <a:pt x="29" y="16"/>
                  </a:lnTo>
                  <a:lnTo>
                    <a:pt x="28" y="16"/>
                  </a:lnTo>
                  <a:lnTo>
                    <a:pt x="27" y="18"/>
                  </a:lnTo>
                  <a:lnTo>
                    <a:pt x="27" y="20"/>
                  </a:lnTo>
                  <a:lnTo>
                    <a:pt x="26" y="20"/>
                  </a:lnTo>
                  <a:lnTo>
                    <a:pt x="26" y="19"/>
                  </a:lnTo>
                  <a:lnTo>
                    <a:pt x="24" y="20"/>
                  </a:lnTo>
                  <a:lnTo>
                    <a:pt x="24" y="22"/>
                  </a:lnTo>
                  <a:lnTo>
                    <a:pt x="24" y="24"/>
                  </a:lnTo>
                  <a:lnTo>
                    <a:pt x="25" y="25"/>
                  </a:lnTo>
                  <a:lnTo>
                    <a:pt x="26" y="26"/>
                  </a:lnTo>
                  <a:lnTo>
                    <a:pt x="29" y="26"/>
                  </a:lnTo>
                  <a:lnTo>
                    <a:pt x="32" y="26"/>
                  </a:lnTo>
                  <a:lnTo>
                    <a:pt x="36" y="26"/>
                  </a:lnTo>
                  <a:lnTo>
                    <a:pt x="38" y="26"/>
                  </a:lnTo>
                  <a:lnTo>
                    <a:pt x="41" y="25"/>
                  </a:lnTo>
                  <a:lnTo>
                    <a:pt x="42" y="26"/>
                  </a:lnTo>
                  <a:lnTo>
                    <a:pt x="44" y="27"/>
                  </a:lnTo>
                  <a:lnTo>
                    <a:pt x="44" y="28"/>
                  </a:lnTo>
                  <a:lnTo>
                    <a:pt x="46" y="29"/>
                  </a:lnTo>
                  <a:lnTo>
                    <a:pt x="48" y="29"/>
                  </a:lnTo>
                  <a:lnTo>
                    <a:pt x="48" y="27"/>
                  </a:lnTo>
                  <a:lnTo>
                    <a:pt x="50" y="26"/>
                  </a:lnTo>
                  <a:lnTo>
                    <a:pt x="53" y="26"/>
                  </a:lnTo>
                  <a:lnTo>
                    <a:pt x="54" y="26"/>
                  </a:lnTo>
                  <a:lnTo>
                    <a:pt x="54" y="27"/>
                  </a:lnTo>
                  <a:lnTo>
                    <a:pt x="56" y="28"/>
                  </a:lnTo>
                  <a:lnTo>
                    <a:pt x="57" y="27"/>
                  </a:lnTo>
                  <a:lnTo>
                    <a:pt x="57" y="29"/>
                  </a:lnTo>
                  <a:lnTo>
                    <a:pt x="57" y="30"/>
                  </a:lnTo>
                  <a:lnTo>
                    <a:pt x="59" y="29"/>
                  </a:lnTo>
                  <a:lnTo>
                    <a:pt x="61" y="29"/>
                  </a:lnTo>
                  <a:lnTo>
                    <a:pt x="62" y="32"/>
                  </a:lnTo>
                  <a:lnTo>
                    <a:pt x="63" y="32"/>
                  </a:lnTo>
                  <a:lnTo>
                    <a:pt x="65" y="30"/>
                  </a:lnTo>
                  <a:lnTo>
                    <a:pt x="69" y="29"/>
                  </a:lnTo>
                  <a:lnTo>
                    <a:pt x="73" y="29"/>
                  </a:lnTo>
                  <a:lnTo>
                    <a:pt x="77" y="29"/>
                  </a:lnTo>
                  <a:lnTo>
                    <a:pt x="78" y="28"/>
                  </a:lnTo>
                  <a:lnTo>
                    <a:pt x="81" y="27"/>
                  </a:lnTo>
                  <a:lnTo>
                    <a:pt x="82" y="28"/>
                  </a:lnTo>
                  <a:lnTo>
                    <a:pt x="81" y="28"/>
                  </a:lnTo>
                  <a:lnTo>
                    <a:pt x="82" y="36"/>
                  </a:lnTo>
                  <a:lnTo>
                    <a:pt x="81" y="38"/>
                  </a:lnTo>
                  <a:lnTo>
                    <a:pt x="81" y="40"/>
                  </a:lnTo>
                  <a:lnTo>
                    <a:pt x="83" y="43"/>
                  </a:lnTo>
                  <a:lnTo>
                    <a:pt x="86" y="43"/>
                  </a:lnTo>
                  <a:lnTo>
                    <a:pt x="87" y="42"/>
                  </a:lnTo>
                  <a:lnTo>
                    <a:pt x="88" y="42"/>
                  </a:lnTo>
                  <a:lnTo>
                    <a:pt x="92" y="42"/>
                  </a:lnTo>
                  <a:lnTo>
                    <a:pt x="94" y="44"/>
                  </a:lnTo>
                  <a:lnTo>
                    <a:pt x="96" y="47"/>
                  </a:lnTo>
                  <a:lnTo>
                    <a:pt x="96" y="49"/>
                  </a:lnTo>
                  <a:lnTo>
                    <a:pt x="96" y="51"/>
                  </a:lnTo>
                  <a:lnTo>
                    <a:pt x="97" y="51"/>
                  </a:lnTo>
                  <a:lnTo>
                    <a:pt x="97" y="52"/>
                  </a:lnTo>
                  <a:lnTo>
                    <a:pt x="96" y="55"/>
                  </a:lnTo>
                  <a:lnTo>
                    <a:pt x="98" y="57"/>
                  </a:lnTo>
                  <a:lnTo>
                    <a:pt x="97" y="60"/>
                  </a:lnTo>
                  <a:lnTo>
                    <a:pt x="98" y="61"/>
                  </a:lnTo>
                  <a:lnTo>
                    <a:pt x="97" y="62"/>
                  </a:lnTo>
                  <a:lnTo>
                    <a:pt x="96" y="64"/>
                  </a:lnTo>
                  <a:lnTo>
                    <a:pt x="94" y="6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5" name="Freeform 137">
              <a:extLst>
                <a:ext uri="{FF2B5EF4-FFF2-40B4-BE49-F238E27FC236}">
                  <a16:creationId xmlns:a16="http://schemas.microsoft.com/office/drawing/2014/main" id="{7E5DCED3-7C1F-207D-CD77-72BD04B19EA7}"/>
                </a:ext>
              </a:extLst>
            </p:cNvPr>
            <p:cNvSpPr>
              <a:spLocks/>
            </p:cNvSpPr>
            <p:nvPr/>
          </p:nvSpPr>
          <p:spPr bwMode="auto">
            <a:xfrm>
              <a:off x="6722646" y="4243388"/>
              <a:ext cx="227013" cy="109538"/>
            </a:xfrm>
            <a:custGeom>
              <a:avLst/>
              <a:gdLst/>
              <a:ahLst/>
              <a:cxnLst>
                <a:cxn ang="0">
                  <a:pos x="25" y="51"/>
                </a:cxn>
                <a:cxn ang="0">
                  <a:pos x="29" y="51"/>
                </a:cxn>
                <a:cxn ang="0">
                  <a:pos x="34" y="51"/>
                </a:cxn>
                <a:cxn ang="0">
                  <a:pos x="39" y="48"/>
                </a:cxn>
                <a:cxn ang="0">
                  <a:pos x="42" y="46"/>
                </a:cxn>
                <a:cxn ang="0">
                  <a:pos x="45" y="46"/>
                </a:cxn>
                <a:cxn ang="0">
                  <a:pos x="51" y="42"/>
                </a:cxn>
                <a:cxn ang="0">
                  <a:pos x="44" y="40"/>
                </a:cxn>
                <a:cxn ang="0">
                  <a:pos x="39" y="37"/>
                </a:cxn>
                <a:cxn ang="0">
                  <a:pos x="37" y="35"/>
                </a:cxn>
                <a:cxn ang="0">
                  <a:pos x="34" y="31"/>
                </a:cxn>
                <a:cxn ang="0">
                  <a:pos x="31" y="31"/>
                </a:cxn>
                <a:cxn ang="0">
                  <a:pos x="29" y="36"/>
                </a:cxn>
                <a:cxn ang="0">
                  <a:pos x="21" y="33"/>
                </a:cxn>
                <a:cxn ang="0">
                  <a:pos x="17" y="31"/>
                </a:cxn>
                <a:cxn ang="0">
                  <a:pos x="12" y="29"/>
                </a:cxn>
                <a:cxn ang="0">
                  <a:pos x="16" y="25"/>
                </a:cxn>
                <a:cxn ang="0">
                  <a:pos x="21" y="22"/>
                </a:cxn>
                <a:cxn ang="0">
                  <a:pos x="24" y="19"/>
                </a:cxn>
                <a:cxn ang="0">
                  <a:pos x="22" y="16"/>
                </a:cxn>
                <a:cxn ang="0">
                  <a:pos x="26" y="8"/>
                </a:cxn>
                <a:cxn ang="0">
                  <a:pos x="39" y="7"/>
                </a:cxn>
                <a:cxn ang="0">
                  <a:pos x="53" y="12"/>
                </a:cxn>
                <a:cxn ang="0">
                  <a:pos x="57" y="3"/>
                </a:cxn>
                <a:cxn ang="0">
                  <a:pos x="67" y="0"/>
                </a:cxn>
                <a:cxn ang="0">
                  <a:pos x="81" y="6"/>
                </a:cxn>
                <a:cxn ang="0">
                  <a:pos x="92" y="4"/>
                </a:cxn>
                <a:cxn ang="0">
                  <a:pos x="105" y="5"/>
                </a:cxn>
                <a:cxn ang="0">
                  <a:pos x="121" y="5"/>
                </a:cxn>
                <a:cxn ang="0">
                  <a:pos x="131" y="9"/>
                </a:cxn>
                <a:cxn ang="0">
                  <a:pos x="137" y="13"/>
                </a:cxn>
                <a:cxn ang="0">
                  <a:pos x="143" y="18"/>
                </a:cxn>
                <a:cxn ang="0">
                  <a:pos x="135" y="22"/>
                </a:cxn>
                <a:cxn ang="0">
                  <a:pos x="122" y="29"/>
                </a:cxn>
                <a:cxn ang="0">
                  <a:pos x="112" y="38"/>
                </a:cxn>
                <a:cxn ang="0">
                  <a:pos x="100" y="36"/>
                </a:cxn>
                <a:cxn ang="0">
                  <a:pos x="93" y="48"/>
                </a:cxn>
                <a:cxn ang="0">
                  <a:pos x="83" y="50"/>
                </a:cxn>
                <a:cxn ang="0">
                  <a:pos x="80" y="45"/>
                </a:cxn>
                <a:cxn ang="0">
                  <a:pos x="59" y="58"/>
                </a:cxn>
                <a:cxn ang="0">
                  <a:pos x="57" y="64"/>
                </a:cxn>
                <a:cxn ang="0">
                  <a:pos x="49" y="66"/>
                </a:cxn>
                <a:cxn ang="0">
                  <a:pos x="39" y="69"/>
                </a:cxn>
                <a:cxn ang="0">
                  <a:pos x="35" y="66"/>
                </a:cxn>
                <a:cxn ang="0">
                  <a:pos x="33" y="64"/>
                </a:cxn>
                <a:cxn ang="0">
                  <a:pos x="30" y="63"/>
                </a:cxn>
                <a:cxn ang="0">
                  <a:pos x="24" y="64"/>
                </a:cxn>
                <a:cxn ang="0">
                  <a:pos x="20" y="65"/>
                </a:cxn>
                <a:cxn ang="0">
                  <a:pos x="17" y="62"/>
                </a:cxn>
                <a:cxn ang="0">
                  <a:pos x="8" y="63"/>
                </a:cxn>
                <a:cxn ang="0">
                  <a:pos x="1" y="62"/>
                </a:cxn>
                <a:cxn ang="0">
                  <a:pos x="0" y="57"/>
                </a:cxn>
                <a:cxn ang="0">
                  <a:pos x="3" y="57"/>
                </a:cxn>
                <a:cxn ang="0">
                  <a:pos x="5" y="53"/>
                </a:cxn>
                <a:cxn ang="0">
                  <a:pos x="16" y="54"/>
                </a:cxn>
                <a:cxn ang="0">
                  <a:pos x="18" y="54"/>
                </a:cxn>
              </a:cxnLst>
              <a:rect l="0" t="0" r="r" b="b"/>
              <a:pathLst>
                <a:path w="143" h="69">
                  <a:moveTo>
                    <a:pt x="23" y="51"/>
                  </a:moveTo>
                  <a:lnTo>
                    <a:pt x="23" y="51"/>
                  </a:lnTo>
                  <a:lnTo>
                    <a:pt x="25" y="51"/>
                  </a:lnTo>
                  <a:lnTo>
                    <a:pt x="26" y="51"/>
                  </a:lnTo>
                  <a:lnTo>
                    <a:pt x="27" y="50"/>
                  </a:lnTo>
                  <a:lnTo>
                    <a:pt x="29" y="51"/>
                  </a:lnTo>
                  <a:lnTo>
                    <a:pt x="31" y="52"/>
                  </a:lnTo>
                  <a:lnTo>
                    <a:pt x="32" y="53"/>
                  </a:lnTo>
                  <a:lnTo>
                    <a:pt x="34" y="51"/>
                  </a:lnTo>
                  <a:lnTo>
                    <a:pt x="35" y="51"/>
                  </a:lnTo>
                  <a:lnTo>
                    <a:pt x="36" y="49"/>
                  </a:lnTo>
                  <a:lnTo>
                    <a:pt x="39" y="48"/>
                  </a:lnTo>
                  <a:lnTo>
                    <a:pt x="40" y="48"/>
                  </a:lnTo>
                  <a:lnTo>
                    <a:pt x="42" y="48"/>
                  </a:lnTo>
                  <a:lnTo>
                    <a:pt x="42" y="46"/>
                  </a:lnTo>
                  <a:lnTo>
                    <a:pt x="41" y="45"/>
                  </a:lnTo>
                  <a:lnTo>
                    <a:pt x="43" y="46"/>
                  </a:lnTo>
                  <a:lnTo>
                    <a:pt x="45" y="46"/>
                  </a:lnTo>
                  <a:lnTo>
                    <a:pt x="47" y="45"/>
                  </a:lnTo>
                  <a:lnTo>
                    <a:pt x="48" y="43"/>
                  </a:lnTo>
                  <a:lnTo>
                    <a:pt x="51" y="42"/>
                  </a:lnTo>
                  <a:lnTo>
                    <a:pt x="50" y="41"/>
                  </a:lnTo>
                  <a:lnTo>
                    <a:pt x="47" y="41"/>
                  </a:lnTo>
                  <a:lnTo>
                    <a:pt x="44" y="40"/>
                  </a:lnTo>
                  <a:lnTo>
                    <a:pt x="43" y="39"/>
                  </a:lnTo>
                  <a:lnTo>
                    <a:pt x="41" y="37"/>
                  </a:lnTo>
                  <a:lnTo>
                    <a:pt x="39" y="37"/>
                  </a:lnTo>
                  <a:lnTo>
                    <a:pt x="39" y="37"/>
                  </a:lnTo>
                  <a:lnTo>
                    <a:pt x="38" y="35"/>
                  </a:lnTo>
                  <a:lnTo>
                    <a:pt x="37" y="35"/>
                  </a:lnTo>
                  <a:lnTo>
                    <a:pt x="35" y="35"/>
                  </a:lnTo>
                  <a:lnTo>
                    <a:pt x="35" y="34"/>
                  </a:lnTo>
                  <a:lnTo>
                    <a:pt x="34" y="31"/>
                  </a:lnTo>
                  <a:lnTo>
                    <a:pt x="33" y="30"/>
                  </a:lnTo>
                  <a:lnTo>
                    <a:pt x="32" y="29"/>
                  </a:lnTo>
                  <a:lnTo>
                    <a:pt x="31" y="31"/>
                  </a:lnTo>
                  <a:lnTo>
                    <a:pt x="30" y="33"/>
                  </a:lnTo>
                  <a:lnTo>
                    <a:pt x="29" y="33"/>
                  </a:lnTo>
                  <a:lnTo>
                    <a:pt x="29" y="36"/>
                  </a:lnTo>
                  <a:lnTo>
                    <a:pt x="26" y="36"/>
                  </a:lnTo>
                  <a:lnTo>
                    <a:pt x="23" y="36"/>
                  </a:lnTo>
                  <a:lnTo>
                    <a:pt x="21" y="33"/>
                  </a:lnTo>
                  <a:lnTo>
                    <a:pt x="20" y="31"/>
                  </a:lnTo>
                  <a:lnTo>
                    <a:pt x="19" y="30"/>
                  </a:lnTo>
                  <a:lnTo>
                    <a:pt x="17" y="31"/>
                  </a:lnTo>
                  <a:lnTo>
                    <a:pt x="16" y="30"/>
                  </a:lnTo>
                  <a:lnTo>
                    <a:pt x="14" y="30"/>
                  </a:lnTo>
                  <a:lnTo>
                    <a:pt x="12" y="29"/>
                  </a:lnTo>
                  <a:lnTo>
                    <a:pt x="12" y="28"/>
                  </a:lnTo>
                  <a:lnTo>
                    <a:pt x="14" y="27"/>
                  </a:lnTo>
                  <a:lnTo>
                    <a:pt x="16" y="25"/>
                  </a:lnTo>
                  <a:lnTo>
                    <a:pt x="17" y="24"/>
                  </a:lnTo>
                  <a:lnTo>
                    <a:pt x="19" y="22"/>
                  </a:lnTo>
                  <a:lnTo>
                    <a:pt x="21" y="22"/>
                  </a:lnTo>
                  <a:lnTo>
                    <a:pt x="21" y="21"/>
                  </a:lnTo>
                  <a:lnTo>
                    <a:pt x="22" y="20"/>
                  </a:lnTo>
                  <a:lnTo>
                    <a:pt x="24" y="19"/>
                  </a:lnTo>
                  <a:lnTo>
                    <a:pt x="27" y="18"/>
                  </a:lnTo>
                  <a:lnTo>
                    <a:pt x="24" y="16"/>
                  </a:lnTo>
                  <a:lnTo>
                    <a:pt x="22" y="16"/>
                  </a:lnTo>
                  <a:lnTo>
                    <a:pt x="22" y="14"/>
                  </a:lnTo>
                  <a:lnTo>
                    <a:pt x="24" y="11"/>
                  </a:lnTo>
                  <a:lnTo>
                    <a:pt x="26" y="8"/>
                  </a:lnTo>
                  <a:lnTo>
                    <a:pt x="30" y="7"/>
                  </a:lnTo>
                  <a:lnTo>
                    <a:pt x="34" y="6"/>
                  </a:lnTo>
                  <a:lnTo>
                    <a:pt x="39" y="7"/>
                  </a:lnTo>
                  <a:lnTo>
                    <a:pt x="45" y="9"/>
                  </a:lnTo>
                  <a:lnTo>
                    <a:pt x="48" y="11"/>
                  </a:lnTo>
                  <a:lnTo>
                    <a:pt x="53" y="12"/>
                  </a:lnTo>
                  <a:lnTo>
                    <a:pt x="55" y="13"/>
                  </a:lnTo>
                  <a:lnTo>
                    <a:pt x="55" y="9"/>
                  </a:lnTo>
                  <a:lnTo>
                    <a:pt x="57" y="3"/>
                  </a:lnTo>
                  <a:lnTo>
                    <a:pt x="59" y="0"/>
                  </a:lnTo>
                  <a:lnTo>
                    <a:pt x="63" y="0"/>
                  </a:lnTo>
                  <a:lnTo>
                    <a:pt x="67" y="0"/>
                  </a:lnTo>
                  <a:lnTo>
                    <a:pt x="71" y="2"/>
                  </a:lnTo>
                  <a:lnTo>
                    <a:pt x="76" y="4"/>
                  </a:lnTo>
                  <a:lnTo>
                    <a:pt x="81" y="6"/>
                  </a:lnTo>
                  <a:lnTo>
                    <a:pt x="84" y="7"/>
                  </a:lnTo>
                  <a:lnTo>
                    <a:pt x="87" y="4"/>
                  </a:lnTo>
                  <a:lnTo>
                    <a:pt x="92" y="4"/>
                  </a:lnTo>
                  <a:lnTo>
                    <a:pt x="96" y="4"/>
                  </a:lnTo>
                  <a:lnTo>
                    <a:pt x="101" y="3"/>
                  </a:lnTo>
                  <a:lnTo>
                    <a:pt x="105" y="5"/>
                  </a:lnTo>
                  <a:lnTo>
                    <a:pt x="109" y="6"/>
                  </a:lnTo>
                  <a:lnTo>
                    <a:pt x="117" y="6"/>
                  </a:lnTo>
                  <a:lnTo>
                    <a:pt x="121" y="5"/>
                  </a:lnTo>
                  <a:lnTo>
                    <a:pt x="127" y="7"/>
                  </a:lnTo>
                  <a:lnTo>
                    <a:pt x="130" y="7"/>
                  </a:lnTo>
                  <a:lnTo>
                    <a:pt x="131" y="9"/>
                  </a:lnTo>
                  <a:lnTo>
                    <a:pt x="132" y="11"/>
                  </a:lnTo>
                  <a:lnTo>
                    <a:pt x="134" y="13"/>
                  </a:lnTo>
                  <a:lnTo>
                    <a:pt x="137" y="13"/>
                  </a:lnTo>
                  <a:lnTo>
                    <a:pt x="140" y="13"/>
                  </a:lnTo>
                  <a:lnTo>
                    <a:pt x="143" y="16"/>
                  </a:lnTo>
                  <a:lnTo>
                    <a:pt x="143" y="18"/>
                  </a:lnTo>
                  <a:lnTo>
                    <a:pt x="143" y="19"/>
                  </a:lnTo>
                  <a:lnTo>
                    <a:pt x="141" y="21"/>
                  </a:lnTo>
                  <a:lnTo>
                    <a:pt x="135" y="22"/>
                  </a:lnTo>
                  <a:lnTo>
                    <a:pt x="127" y="25"/>
                  </a:lnTo>
                  <a:lnTo>
                    <a:pt x="125" y="27"/>
                  </a:lnTo>
                  <a:lnTo>
                    <a:pt x="122" y="29"/>
                  </a:lnTo>
                  <a:lnTo>
                    <a:pt x="118" y="34"/>
                  </a:lnTo>
                  <a:lnTo>
                    <a:pt x="114" y="37"/>
                  </a:lnTo>
                  <a:lnTo>
                    <a:pt x="112" y="38"/>
                  </a:lnTo>
                  <a:lnTo>
                    <a:pt x="109" y="38"/>
                  </a:lnTo>
                  <a:lnTo>
                    <a:pt x="102" y="36"/>
                  </a:lnTo>
                  <a:lnTo>
                    <a:pt x="100" y="36"/>
                  </a:lnTo>
                  <a:lnTo>
                    <a:pt x="98" y="40"/>
                  </a:lnTo>
                  <a:lnTo>
                    <a:pt x="95" y="46"/>
                  </a:lnTo>
                  <a:lnTo>
                    <a:pt x="93" y="48"/>
                  </a:lnTo>
                  <a:lnTo>
                    <a:pt x="88" y="49"/>
                  </a:lnTo>
                  <a:lnTo>
                    <a:pt x="85" y="50"/>
                  </a:lnTo>
                  <a:lnTo>
                    <a:pt x="83" y="50"/>
                  </a:lnTo>
                  <a:lnTo>
                    <a:pt x="82" y="45"/>
                  </a:lnTo>
                  <a:lnTo>
                    <a:pt x="81" y="45"/>
                  </a:lnTo>
                  <a:lnTo>
                    <a:pt x="80" y="45"/>
                  </a:lnTo>
                  <a:lnTo>
                    <a:pt x="69" y="51"/>
                  </a:lnTo>
                  <a:lnTo>
                    <a:pt x="61" y="56"/>
                  </a:lnTo>
                  <a:lnTo>
                    <a:pt x="59" y="58"/>
                  </a:lnTo>
                  <a:lnTo>
                    <a:pt x="59" y="59"/>
                  </a:lnTo>
                  <a:lnTo>
                    <a:pt x="58" y="65"/>
                  </a:lnTo>
                  <a:lnTo>
                    <a:pt x="57" y="64"/>
                  </a:lnTo>
                  <a:lnTo>
                    <a:pt x="54" y="65"/>
                  </a:lnTo>
                  <a:lnTo>
                    <a:pt x="53" y="66"/>
                  </a:lnTo>
                  <a:lnTo>
                    <a:pt x="49" y="66"/>
                  </a:lnTo>
                  <a:lnTo>
                    <a:pt x="45" y="66"/>
                  </a:lnTo>
                  <a:lnTo>
                    <a:pt x="41" y="67"/>
                  </a:lnTo>
                  <a:lnTo>
                    <a:pt x="39" y="69"/>
                  </a:lnTo>
                  <a:lnTo>
                    <a:pt x="38" y="69"/>
                  </a:lnTo>
                  <a:lnTo>
                    <a:pt x="37" y="66"/>
                  </a:lnTo>
                  <a:lnTo>
                    <a:pt x="35" y="66"/>
                  </a:lnTo>
                  <a:lnTo>
                    <a:pt x="33" y="67"/>
                  </a:lnTo>
                  <a:lnTo>
                    <a:pt x="33" y="66"/>
                  </a:lnTo>
                  <a:lnTo>
                    <a:pt x="33" y="64"/>
                  </a:lnTo>
                  <a:lnTo>
                    <a:pt x="32" y="65"/>
                  </a:lnTo>
                  <a:lnTo>
                    <a:pt x="30" y="64"/>
                  </a:lnTo>
                  <a:lnTo>
                    <a:pt x="30" y="63"/>
                  </a:lnTo>
                  <a:lnTo>
                    <a:pt x="29" y="63"/>
                  </a:lnTo>
                  <a:lnTo>
                    <a:pt x="26" y="63"/>
                  </a:lnTo>
                  <a:lnTo>
                    <a:pt x="24" y="64"/>
                  </a:lnTo>
                  <a:lnTo>
                    <a:pt x="24" y="66"/>
                  </a:lnTo>
                  <a:lnTo>
                    <a:pt x="22" y="66"/>
                  </a:lnTo>
                  <a:lnTo>
                    <a:pt x="20" y="65"/>
                  </a:lnTo>
                  <a:lnTo>
                    <a:pt x="20" y="64"/>
                  </a:lnTo>
                  <a:lnTo>
                    <a:pt x="18" y="63"/>
                  </a:lnTo>
                  <a:lnTo>
                    <a:pt x="17" y="62"/>
                  </a:lnTo>
                  <a:lnTo>
                    <a:pt x="14" y="63"/>
                  </a:lnTo>
                  <a:lnTo>
                    <a:pt x="12" y="63"/>
                  </a:lnTo>
                  <a:lnTo>
                    <a:pt x="8" y="63"/>
                  </a:lnTo>
                  <a:lnTo>
                    <a:pt x="5" y="63"/>
                  </a:lnTo>
                  <a:lnTo>
                    <a:pt x="2" y="63"/>
                  </a:lnTo>
                  <a:lnTo>
                    <a:pt x="1" y="62"/>
                  </a:lnTo>
                  <a:lnTo>
                    <a:pt x="0" y="61"/>
                  </a:lnTo>
                  <a:lnTo>
                    <a:pt x="0" y="59"/>
                  </a:lnTo>
                  <a:lnTo>
                    <a:pt x="0" y="57"/>
                  </a:lnTo>
                  <a:lnTo>
                    <a:pt x="2" y="56"/>
                  </a:lnTo>
                  <a:lnTo>
                    <a:pt x="2" y="57"/>
                  </a:lnTo>
                  <a:lnTo>
                    <a:pt x="3" y="57"/>
                  </a:lnTo>
                  <a:lnTo>
                    <a:pt x="3" y="55"/>
                  </a:lnTo>
                  <a:lnTo>
                    <a:pt x="4" y="53"/>
                  </a:lnTo>
                  <a:lnTo>
                    <a:pt x="5" y="53"/>
                  </a:lnTo>
                  <a:lnTo>
                    <a:pt x="10" y="52"/>
                  </a:lnTo>
                  <a:lnTo>
                    <a:pt x="13" y="53"/>
                  </a:lnTo>
                  <a:lnTo>
                    <a:pt x="16" y="54"/>
                  </a:lnTo>
                  <a:lnTo>
                    <a:pt x="17" y="56"/>
                  </a:lnTo>
                  <a:lnTo>
                    <a:pt x="18" y="56"/>
                  </a:lnTo>
                  <a:lnTo>
                    <a:pt x="18" y="54"/>
                  </a:lnTo>
                  <a:lnTo>
                    <a:pt x="21" y="52"/>
                  </a:lnTo>
                  <a:lnTo>
                    <a:pt x="23" y="5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6" name="Freeform 138">
              <a:extLst>
                <a:ext uri="{FF2B5EF4-FFF2-40B4-BE49-F238E27FC236}">
                  <a16:creationId xmlns:a16="http://schemas.microsoft.com/office/drawing/2014/main" id="{DA87AE3A-29DC-1E6D-BD83-BDD33A39C2F1}"/>
                </a:ext>
              </a:extLst>
            </p:cNvPr>
            <p:cNvSpPr>
              <a:spLocks/>
            </p:cNvSpPr>
            <p:nvPr/>
          </p:nvSpPr>
          <p:spPr bwMode="auto">
            <a:xfrm>
              <a:off x="5695534" y="5613400"/>
              <a:ext cx="195263" cy="206375"/>
            </a:xfrm>
            <a:custGeom>
              <a:avLst/>
              <a:gdLst/>
              <a:ahLst/>
              <a:cxnLst>
                <a:cxn ang="0">
                  <a:pos x="68" y="1"/>
                </a:cxn>
                <a:cxn ang="0">
                  <a:pos x="70" y="2"/>
                </a:cxn>
                <a:cxn ang="0">
                  <a:pos x="71" y="4"/>
                </a:cxn>
                <a:cxn ang="0">
                  <a:pos x="76" y="10"/>
                </a:cxn>
                <a:cxn ang="0">
                  <a:pos x="80" y="20"/>
                </a:cxn>
                <a:cxn ang="0">
                  <a:pos x="85" y="27"/>
                </a:cxn>
                <a:cxn ang="0">
                  <a:pos x="92" y="31"/>
                </a:cxn>
                <a:cxn ang="0">
                  <a:pos x="95" y="33"/>
                </a:cxn>
                <a:cxn ang="0">
                  <a:pos x="96" y="38"/>
                </a:cxn>
                <a:cxn ang="0">
                  <a:pos x="102" y="38"/>
                </a:cxn>
                <a:cxn ang="0">
                  <a:pos x="102" y="43"/>
                </a:cxn>
                <a:cxn ang="0">
                  <a:pos x="106" y="53"/>
                </a:cxn>
                <a:cxn ang="0">
                  <a:pos x="114" y="54"/>
                </a:cxn>
                <a:cxn ang="0">
                  <a:pos x="120" y="58"/>
                </a:cxn>
                <a:cxn ang="0">
                  <a:pos x="123" y="61"/>
                </a:cxn>
                <a:cxn ang="0">
                  <a:pos x="119" y="66"/>
                </a:cxn>
                <a:cxn ang="0">
                  <a:pos x="111" y="68"/>
                </a:cxn>
                <a:cxn ang="0">
                  <a:pos x="106" y="74"/>
                </a:cxn>
                <a:cxn ang="0">
                  <a:pos x="100" y="79"/>
                </a:cxn>
                <a:cxn ang="0">
                  <a:pos x="93" y="83"/>
                </a:cxn>
                <a:cxn ang="0">
                  <a:pos x="91" y="92"/>
                </a:cxn>
                <a:cxn ang="0">
                  <a:pos x="86" y="96"/>
                </a:cxn>
                <a:cxn ang="0">
                  <a:pos x="79" y="99"/>
                </a:cxn>
                <a:cxn ang="0">
                  <a:pos x="76" y="110"/>
                </a:cxn>
                <a:cxn ang="0">
                  <a:pos x="73" y="113"/>
                </a:cxn>
                <a:cxn ang="0">
                  <a:pos x="67" y="114"/>
                </a:cxn>
                <a:cxn ang="0">
                  <a:pos x="61" y="114"/>
                </a:cxn>
                <a:cxn ang="0">
                  <a:pos x="52" y="111"/>
                </a:cxn>
                <a:cxn ang="0">
                  <a:pos x="43" y="106"/>
                </a:cxn>
                <a:cxn ang="0">
                  <a:pos x="40" y="109"/>
                </a:cxn>
                <a:cxn ang="0">
                  <a:pos x="34" y="120"/>
                </a:cxn>
                <a:cxn ang="0">
                  <a:pos x="27" y="127"/>
                </a:cxn>
                <a:cxn ang="0">
                  <a:pos x="17" y="129"/>
                </a:cxn>
                <a:cxn ang="0">
                  <a:pos x="10" y="129"/>
                </a:cxn>
                <a:cxn ang="0">
                  <a:pos x="10" y="125"/>
                </a:cxn>
                <a:cxn ang="0">
                  <a:pos x="12" y="117"/>
                </a:cxn>
                <a:cxn ang="0">
                  <a:pos x="7" y="106"/>
                </a:cxn>
                <a:cxn ang="0">
                  <a:pos x="0" y="100"/>
                </a:cxn>
                <a:cxn ang="0">
                  <a:pos x="0" y="85"/>
                </a:cxn>
                <a:cxn ang="0">
                  <a:pos x="1" y="60"/>
                </a:cxn>
                <a:cxn ang="0">
                  <a:pos x="11" y="59"/>
                </a:cxn>
                <a:cxn ang="0">
                  <a:pos x="14" y="37"/>
                </a:cxn>
                <a:cxn ang="0">
                  <a:pos x="14" y="24"/>
                </a:cxn>
                <a:cxn ang="0">
                  <a:pos x="14" y="8"/>
                </a:cxn>
                <a:cxn ang="0">
                  <a:pos x="39" y="5"/>
                </a:cxn>
                <a:cxn ang="0">
                  <a:pos x="49" y="9"/>
                </a:cxn>
                <a:cxn ang="0">
                  <a:pos x="56" y="3"/>
                </a:cxn>
                <a:cxn ang="0">
                  <a:pos x="63" y="2"/>
                </a:cxn>
              </a:cxnLst>
              <a:rect l="0" t="0" r="r" b="b"/>
              <a:pathLst>
                <a:path w="123" h="130">
                  <a:moveTo>
                    <a:pt x="68" y="0"/>
                  </a:moveTo>
                  <a:lnTo>
                    <a:pt x="68" y="1"/>
                  </a:lnTo>
                  <a:lnTo>
                    <a:pt x="70" y="1"/>
                  </a:lnTo>
                  <a:lnTo>
                    <a:pt x="70" y="2"/>
                  </a:lnTo>
                  <a:lnTo>
                    <a:pt x="72" y="3"/>
                  </a:lnTo>
                  <a:lnTo>
                    <a:pt x="71" y="4"/>
                  </a:lnTo>
                  <a:lnTo>
                    <a:pt x="73" y="7"/>
                  </a:lnTo>
                  <a:lnTo>
                    <a:pt x="76" y="10"/>
                  </a:lnTo>
                  <a:lnTo>
                    <a:pt x="78" y="14"/>
                  </a:lnTo>
                  <a:lnTo>
                    <a:pt x="80" y="20"/>
                  </a:lnTo>
                  <a:lnTo>
                    <a:pt x="82" y="24"/>
                  </a:lnTo>
                  <a:lnTo>
                    <a:pt x="85" y="27"/>
                  </a:lnTo>
                  <a:lnTo>
                    <a:pt x="89" y="29"/>
                  </a:lnTo>
                  <a:lnTo>
                    <a:pt x="92" y="31"/>
                  </a:lnTo>
                  <a:lnTo>
                    <a:pt x="95" y="32"/>
                  </a:lnTo>
                  <a:lnTo>
                    <a:pt x="95" y="33"/>
                  </a:lnTo>
                  <a:lnTo>
                    <a:pt x="95" y="37"/>
                  </a:lnTo>
                  <a:lnTo>
                    <a:pt x="96" y="38"/>
                  </a:lnTo>
                  <a:lnTo>
                    <a:pt x="97" y="38"/>
                  </a:lnTo>
                  <a:lnTo>
                    <a:pt x="102" y="38"/>
                  </a:lnTo>
                  <a:lnTo>
                    <a:pt x="103" y="40"/>
                  </a:lnTo>
                  <a:lnTo>
                    <a:pt x="102" y="43"/>
                  </a:lnTo>
                  <a:lnTo>
                    <a:pt x="103" y="47"/>
                  </a:lnTo>
                  <a:lnTo>
                    <a:pt x="106" y="53"/>
                  </a:lnTo>
                  <a:lnTo>
                    <a:pt x="109" y="53"/>
                  </a:lnTo>
                  <a:lnTo>
                    <a:pt x="114" y="54"/>
                  </a:lnTo>
                  <a:lnTo>
                    <a:pt x="117" y="55"/>
                  </a:lnTo>
                  <a:lnTo>
                    <a:pt x="120" y="58"/>
                  </a:lnTo>
                  <a:lnTo>
                    <a:pt x="122" y="61"/>
                  </a:lnTo>
                  <a:lnTo>
                    <a:pt x="123" y="61"/>
                  </a:lnTo>
                  <a:lnTo>
                    <a:pt x="121" y="64"/>
                  </a:lnTo>
                  <a:lnTo>
                    <a:pt x="119" y="66"/>
                  </a:lnTo>
                  <a:lnTo>
                    <a:pt x="116" y="67"/>
                  </a:lnTo>
                  <a:lnTo>
                    <a:pt x="111" y="68"/>
                  </a:lnTo>
                  <a:lnTo>
                    <a:pt x="110" y="68"/>
                  </a:lnTo>
                  <a:lnTo>
                    <a:pt x="106" y="74"/>
                  </a:lnTo>
                  <a:lnTo>
                    <a:pt x="102" y="77"/>
                  </a:lnTo>
                  <a:lnTo>
                    <a:pt x="100" y="79"/>
                  </a:lnTo>
                  <a:lnTo>
                    <a:pt x="95" y="81"/>
                  </a:lnTo>
                  <a:lnTo>
                    <a:pt x="93" y="83"/>
                  </a:lnTo>
                  <a:lnTo>
                    <a:pt x="92" y="88"/>
                  </a:lnTo>
                  <a:lnTo>
                    <a:pt x="91" y="92"/>
                  </a:lnTo>
                  <a:lnTo>
                    <a:pt x="90" y="94"/>
                  </a:lnTo>
                  <a:lnTo>
                    <a:pt x="86" y="96"/>
                  </a:lnTo>
                  <a:lnTo>
                    <a:pt x="80" y="98"/>
                  </a:lnTo>
                  <a:lnTo>
                    <a:pt x="79" y="99"/>
                  </a:lnTo>
                  <a:lnTo>
                    <a:pt x="77" y="104"/>
                  </a:lnTo>
                  <a:lnTo>
                    <a:pt x="76" y="110"/>
                  </a:lnTo>
                  <a:lnTo>
                    <a:pt x="74" y="113"/>
                  </a:lnTo>
                  <a:lnTo>
                    <a:pt x="73" y="113"/>
                  </a:lnTo>
                  <a:lnTo>
                    <a:pt x="69" y="114"/>
                  </a:lnTo>
                  <a:lnTo>
                    <a:pt x="67" y="114"/>
                  </a:lnTo>
                  <a:lnTo>
                    <a:pt x="64" y="114"/>
                  </a:lnTo>
                  <a:lnTo>
                    <a:pt x="61" y="114"/>
                  </a:lnTo>
                  <a:lnTo>
                    <a:pt x="56" y="113"/>
                  </a:lnTo>
                  <a:lnTo>
                    <a:pt x="52" y="111"/>
                  </a:lnTo>
                  <a:lnTo>
                    <a:pt x="46" y="107"/>
                  </a:lnTo>
                  <a:lnTo>
                    <a:pt x="43" y="106"/>
                  </a:lnTo>
                  <a:lnTo>
                    <a:pt x="41" y="108"/>
                  </a:lnTo>
                  <a:lnTo>
                    <a:pt x="40" y="109"/>
                  </a:lnTo>
                  <a:lnTo>
                    <a:pt x="37" y="117"/>
                  </a:lnTo>
                  <a:lnTo>
                    <a:pt x="34" y="120"/>
                  </a:lnTo>
                  <a:lnTo>
                    <a:pt x="31" y="124"/>
                  </a:lnTo>
                  <a:lnTo>
                    <a:pt x="27" y="127"/>
                  </a:lnTo>
                  <a:lnTo>
                    <a:pt x="22" y="129"/>
                  </a:lnTo>
                  <a:lnTo>
                    <a:pt x="17" y="129"/>
                  </a:lnTo>
                  <a:lnTo>
                    <a:pt x="12" y="130"/>
                  </a:lnTo>
                  <a:lnTo>
                    <a:pt x="10" y="129"/>
                  </a:lnTo>
                  <a:lnTo>
                    <a:pt x="10" y="128"/>
                  </a:lnTo>
                  <a:lnTo>
                    <a:pt x="10" y="125"/>
                  </a:lnTo>
                  <a:lnTo>
                    <a:pt x="11" y="121"/>
                  </a:lnTo>
                  <a:lnTo>
                    <a:pt x="12" y="117"/>
                  </a:lnTo>
                  <a:lnTo>
                    <a:pt x="11" y="112"/>
                  </a:lnTo>
                  <a:lnTo>
                    <a:pt x="7" y="106"/>
                  </a:lnTo>
                  <a:lnTo>
                    <a:pt x="3" y="101"/>
                  </a:lnTo>
                  <a:lnTo>
                    <a:pt x="0" y="100"/>
                  </a:lnTo>
                  <a:lnTo>
                    <a:pt x="0" y="95"/>
                  </a:lnTo>
                  <a:lnTo>
                    <a:pt x="0" y="85"/>
                  </a:lnTo>
                  <a:lnTo>
                    <a:pt x="0" y="77"/>
                  </a:lnTo>
                  <a:lnTo>
                    <a:pt x="1" y="60"/>
                  </a:lnTo>
                  <a:lnTo>
                    <a:pt x="2" y="60"/>
                  </a:lnTo>
                  <a:lnTo>
                    <a:pt x="11" y="59"/>
                  </a:lnTo>
                  <a:lnTo>
                    <a:pt x="14" y="59"/>
                  </a:lnTo>
                  <a:lnTo>
                    <a:pt x="14" y="37"/>
                  </a:lnTo>
                  <a:lnTo>
                    <a:pt x="14" y="29"/>
                  </a:lnTo>
                  <a:lnTo>
                    <a:pt x="14" y="24"/>
                  </a:lnTo>
                  <a:lnTo>
                    <a:pt x="14" y="16"/>
                  </a:lnTo>
                  <a:lnTo>
                    <a:pt x="14" y="8"/>
                  </a:lnTo>
                  <a:lnTo>
                    <a:pt x="22" y="8"/>
                  </a:lnTo>
                  <a:lnTo>
                    <a:pt x="39" y="5"/>
                  </a:lnTo>
                  <a:lnTo>
                    <a:pt x="45" y="4"/>
                  </a:lnTo>
                  <a:lnTo>
                    <a:pt x="49" y="9"/>
                  </a:lnTo>
                  <a:lnTo>
                    <a:pt x="50" y="9"/>
                  </a:lnTo>
                  <a:lnTo>
                    <a:pt x="56" y="3"/>
                  </a:lnTo>
                  <a:lnTo>
                    <a:pt x="58" y="2"/>
                  </a:lnTo>
                  <a:lnTo>
                    <a:pt x="63" y="2"/>
                  </a:lnTo>
                  <a:lnTo>
                    <a:pt x="68"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7" name="Freeform 139">
              <a:extLst>
                <a:ext uri="{FF2B5EF4-FFF2-40B4-BE49-F238E27FC236}">
                  <a16:creationId xmlns:a16="http://schemas.microsoft.com/office/drawing/2014/main" id="{2FEC9F37-4860-89E7-DD61-07BFEF1D5609}"/>
                </a:ext>
              </a:extLst>
            </p:cNvPr>
            <p:cNvSpPr>
              <a:spLocks/>
            </p:cNvSpPr>
            <p:nvPr/>
          </p:nvSpPr>
          <p:spPr bwMode="auto">
            <a:xfrm>
              <a:off x="5808246" y="5567363"/>
              <a:ext cx="161925" cy="150813"/>
            </a:xfrm>
            <a:custGeom>
              <a:avLst/>
              <a:gdLst/>
              <a:ahLst/>
              <a:cxnLst>
                <a:cxn ang="0">
                  <a:pos x="67" y="1"/>
                </a:cxn>
                <a:cxn ang="0">
                  <a:pos x="68" y="5"/>
                </a:cxn>
                <a:cxn ang="0">
                  <a:pos x="80" y="7"/>
                </a:cxn>
                <a:cxn ang="0">
                  <a:pos x="93" y="12"/>
                </a:cxn>
                <a:cxn ang="0">
                  <a:pos x="99" y="15"/>
                </a:cxn>
                <a:cxn ang="0">
                  <a:pos x="100" y="25"/>
                </a:cxn>
                <a:cxn ang="0">
                  <a:pos x="102" y="37"/>
                </a:cxn>
                <a:cxn ang="0">
                  <a:pos x="98" y="43"/>
                </a:cxn>
                <a:cxn ang="0">
                  <a:pos x="98" y="48"/>
                </a:cxn>
                <a:cxn ang="0">
                  <a:pos x="102" y="58"/>
                </a:cxn>
                <a:cxn ang="0">
                  <a:pos x="100" y="63"/>
                </a:cxn>
                <a:cxn ang="0">
                  <a:pos x="94" y="70"/>
                </a:cxn>
                <a:cxn ang="0">
                  <a:pos x="94" y="78"/>
                </a:cxn>
                <a:cxn ang="0">
                  <a:pos x="84" y="90"/>
                </a:cxn>
                <a:cxn ang="0">
                  <a:pos x="78" y="95"/>
                </a:cxn>
                <a:cxn ang="0">
                  <a:pos x="73" y="93"/>
                </a:cxn>
                <a:cxn ang="0">
                  <a:pos x="68" y="94"/>
                </a:cxn>
                <a:cxn ang="0">
                  <a:pos x="60" y="91"/>
                </a:cxn>
                <a:cxn ang="0">
                  <a:pos x="52" y="90"/>
                </a:cxn>
                <a:cxn ang="0">
                  <a:pos x="51" y="90"/>
                </a:cxn>
                <a:cxn ang="0">
                  <a:pos x="46" y="84"/>
                </a:cxn>
                <a:cxn ang="0">
                  <a:pos x="38" y="82"/>
                </a:cxn>
                <a:cxn ang="0">
                  <a:pos x="32" y="76"/>
                </a:cxn>
                <a:cxn ang="0">
                  <a:pos x="32" y="69"/>
                </a:cxn>
                <a:cxn ang="0">
                  <a:pos x="26" y="67"/>
                </a:cxn>
                <a:cxn ang="0">
                  <a:pos x="24" y="66"/>
                </a:cxn>
                <a:cxn ang="0">
                  <a:pos x="24" y="61"/>
                </a:cxn>
                <a:cxn ang="0">
                  <a:pos x="18" y="58"/>
                </a:cxn>
                <a:cxn ang="0">
                  <a:pos x="11" y="53"/>
                </a:cxn>
                <a:cxn ang="0">
                  <a:pos x="7" y="43"/>
                </a:cxn>
                <a:cxn ang="0">
                  <a:pos x="2" y="36"/>
                </a:cxn>
                <a:cxn ang="0">
                  <a:pos x="1" y="32"/>
                </a:cxn>
                <a:cxn ang="0">
                  <a:pos x="7" y="33"/>
                </a:cxn>
                <a:cxn ang="0">
                  <a:pos x="12" y="31"/>
                </a:cxn>
                <a:cxn ang="0">
                  <a:pos x="19" y="34"/>
                </a:cxn>
                <a:cxn ang="0">
                  <a:pos x="26" y="27"/>
                </a:cxn>
                <a:cxn ang="0">
                  <a:pos x="34" y="17"/>
                </a:cxn>
                <a:cxn ang="0">
                  <a:pos x="39" y="14"/>
                </a:cxn>
                <a:cxn ang="0">
                  <a:pos x="47" y="13"/>
                </a:cxn>
                <a:cxn ang="0">
                  <a:pos x="48" y="8"/>
                </a:cxn>
                <a:cxn ang="0">
                  <a:pos x="54" y="1"/>
                </a:cxn>
                <a:cxn ang="0">
                  <a:pos x="64" y="0"/>
                </a:cxn>
              </a:cxnLst>
              <a:rect l="0" t="0" r="r" b="b"/>
              <a:pathLst>
                <a:path w="102" h="95">
                  <a:moveTo>
                    <a:pt x="67" y="0"/>
                  </a:moveTo>
                  <a:lnTo>
                    <a:pt x="67" y="1"/>
                  </a:lnTo>
                  <a:lnTo>
                    <a:pt x="67" y="4"/>
                  </a:lnTo>
                  <a:lnTo>
                    <a:pt x="68" y="5"/>
                  </a:lnTo>
                  <a:lnTo>
                    <a:pt x="77" y="5"/>
                  </a:lnTo>
                  <a:lnTo>
                    <a:pt x="80" y="7"/>
                  </a:lnTo>
                  <a:lnTo>
                    <a:pt x="87" y="9"/>
                  </a:lnTo>
                  <a:lnTo>
                    <a:pt x="93" y="12"/>
                  </a:lnTo>
                  <a:lnTo>
                    <a:pt x="96" y="13"/>
                  </a:lnTo>
                  <a:lnTo>
                    <a:pt x="99" y="15"/>
                  </a:lnTo>
                  <a:lnTo>
                    <a:pt x="100" y="20"/>
                  </a:lnTo>
                  <a:lnTo>
                    <a:pt x="100" y="25"/>
                  </a:lnTo>
                  <a:lnTo>
                    <a:pt x="101" y="32"/>
                  </a:lnTo>
                  <a:lnTo>
                    <a:pt x="102" y="37"/>
                  </a:lnTo>
                  <a:lnTo>
                    <a:pt x="100" y="40"/>
                  </a:lnTo>
                  <a:lnTo>
                    <a:pt x="98" y="43"/>
                  </a:lnTo>
                  <a:lnTo>
                    <a:pt x="97" y="45"/>
                  </a:lnTo>
                  <a:lnTo>
                    <a:pt x="98" y="48"/>
                  </a:lnTo>
                  <a:lnTo>
                    <a:pt x="98" y="53"/>
                  </a:lnTo>
                  <a:lnTo>
                    <a:pt x="102" y="58"/>
                  </a:lnTo>
                  <a:lnTo>
                    <a:pt x="101" y="61"/>
                  </a:lnTo>
                  <a:lnTo>
                    <a:pt x="100" y="63"/>
                  </a:lnTo>
                  <a:lnTo>
                    <a:pt x="95" y="67"/>
                  </a:lnTo>
                  <a:lnTo>
                    <a:pt x="94" y="70"/>
                  </a:lnTo>
                  <a:lnTo>
                    <a:pt x="93" y="76"/>
                  </a:lnTo>
                  <a:lnTo>
                    <a:pt x="94" y="78"/>
                  </a:lnTo>
                  <a:lnTo>
                    <a:pt x="93" y="79"/>
                  </a:lnTo>
                  <a:lnTo>
                    <a:pt x="84" y="90"/>
                  </a:lnTo>
                  <a:lnTo>
                    <a:pt x="81" y="93"/>
                  </a:lnTo>
                  <a:lnTo>
                    <a:pt x="78" y="95"/>
                  </a:lnTo>
                  <a:lnTo>
                    <a:pt x="77" y="94"/>
                  </a:lnTo>
                  <a:lnTo>
                    <a:pt x="73" y="93"/>
                  </a:lnTo>
                  <a:lnTo>
                    <a:pt x="71" y="93"/>
                  </a:lnTo>
                  <a:lnTo>
                    <a:pt x="68" y="94"/>
                  </a:lnTo>
                  <a:lnTo>
                    <a:pt x="66" y="94"/>
                  </a:lnTo>
                  <a:lnTo>
                    <a:pt x="60" y="91"/>
                  </a:lnTo>
                  <a:lnTo>
                    <a:pt x="56" y="91"/>
                  </a:lnTo>
                  <a:lnTo>
                    <a:pt x="52" y="90"/>
                  </a:lnTo>
                  <a:lnTo>
                    <a:pt x="52" y="90"/>
                  </a:lnTo>
                  <a:lnTo>
                    <a:pt x="51" y="90"/>
                  </a:lnTo>
                  <a:lnTo>
                    <a:pt x="49" y="87"/>
                  </a:lnTo>
                  <a:lnTo>
                    <a:pt x="46" y="84"/>
                  </a:lnTo>
                  <a:lnTo>
                    <a:pt x="43" y="83"/>
                  </a:lnTo>
                  <a:lnTo>
                    <a:pt x="38" y="82"/>
                  </a:lnTo>
                  <a:lnTo>
                    <a:pt x="35" y="82"/>
                  </a:lnTo>
                  <a:lnTo>
                    <a:pt x="32" y="76"/>
                  </a:lnTo>
                  <a:lnTo>
                    <a:pt x="31" y="72"/>
                  </a:lnTo>
                  <a:lnTo>
                    <a:pt x="32" y="69"/>
                  </a:lnTo>
                  <a:lnTo>
                    <a:pt x="31" y="67"/>
                  </a:lnTo>
                  <a:lnTo>
                    <a:pt x="26" y="67"/>
                  </a:lnTo>
                  <a:lnTo>
                    <a:pt x="25" y="67"/>
                  </a:lnTo>
                  <a:lnTo>
                    <a:pt x="24" y="66"/>
                  </a:lnTo>
                  <a:lnTo>
                    <a:pt x="24" y="62"/>
                  </a:lnTo>
                  <a:lnTo>
                    <a:pt x="24" y="61"/>
                  </a:lnTo>
                  <a:lnTo>
                    <a:pt x="21" y="60"/>
                  </a:lnTo>
                  <a:lnTo>
                    <a:pt x="18" y="58"/>
                  </a:lnTo>
                  <a:lnTo>
                    <a:pt x="14" y="56"/>
                  </a:lnTo>
                  <a:lnTo>
                    <a:pt x="11" y="53"/>
                  </a:lnTo>
                  <a:lnTo>
                    <a:pt x="9" y="49"/>
                  </a:lnTo>
                  <a:lnTo>
                    <a:pt x="7" y="43"/>
                  </a:lnTo>
                  <a:lnTo>
                    <a:pt x="5" y="39"/>
                  </a:lnTo>
                  <a:lnTo>
                    <a:pt x="2" y="36"/>
                  </a:lnTo>
                  <a:lnTo>
                    <a:pt x="0" y="33"/>
                  </a:lnTo>
                  <a:lnTo>
                    <a:pt x="1" y="32"/>
                  </a:lnTo>
                  <a:lnTo>
                    <a:pt x="5" y="33"/>
                  </a:lnTo>
                  <a:lnTo>
                    <a:pt x="7" y="33"/>
                  </a:lnTo>
                  <a:lnTo>
                    <a:pt x="10" y="31"/>
                  </a:lnTo>
                  <a:lnTo>
                    <a:pt x="12" y="31"/>
                  </a:lnTo>
                  <a:lnTo>
                    <a:pt x="14" y="33"/>
                  </a:lnTo>
                  <a:lnTo>
                    <a:pt x="19" y="34"/>
                  </a:lnTo>
                  <a:lnTo>
                    <a:pt x="21" y="33"/>
                  </a:lnTo>
                  <a:lnTo>
                    <a:pt x="26" y="27"/>
                  </a:lnTo>
                  <a:lnTo>
                    <a:pt x="29" y="23"/>
                  </a:lnTo>
                  <a:lnTo>
                    <a:pt x="34" y="17"/>
                  </a:lnTo>
                  <a:lnTo>
                    <a:pt x="36" y="15"/>
                  </a:lnTo>
                  <a:lnTo>
                    <a:pt x="39" y="14"/>
                  </a:lnTo>
                  <a:lnTo>
                    <a:pt x="45" y="13"/>
                  </a:lnTo>
                  <a:lnTo>
                    <a:pt x="47" y="13"/>
                  </a:lnTo>
                  <a:lnTo>
                    <a:pt x="48" y="12"/>
                  </a:lnTo>
                  <a:lnTo>
                    <a:pt x="48" y="8"/>
                  </a:lnTo>
                  <a:lnTo>
                    <a:pt x="50" y="4"/>
                  </a:lnTo>
                  <a:lnTo>
                    <a:pt x="54" y="1"/>
                  </a:lnTo>
                  <a:lnTo>
                    <a:pt x="58" y="0"/>
                  </a:lnTo>
                  <a:lnTo>
                    <a:pt x="64" y="0"/>
                  </a:lnTo>
                  <a:lnTo>
                    <a:pt x="67"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8" name="Freeform 140">
              <a:extLst>
                <a:ext uri="{FF2B5EF4-FFF2-40B4-BE49-F238E27FC236}">
                  <a16:creationId xmlns:a16="http://schemas.microsoft.com/office/drawing/2014/main" id="{2558DEC2-F899-DFE4-9624-53988267BD7B}"/>
                </a:ext>
              </a:extLst>
            </p:cNvPr>
            <p:cNvSpPr>
              <a:spLocks/>
            </p:cNvSpPr>
            <p:nvPr/>
          </p:nvSpPr>
          <p:spPr bwMode="auto">
            <a:xfrm>
              <a:off x="6546434" y="4411663"/>
              <a:ext cx="347663" cy="319088"/>
            </a:xfrm>
            <a:custGeom>
              <a:avLst/>
              <a:gdLst/>
              <a:ahLst/>
              <a:cxnLst/>
              <a:rect l="l" t="t" r="r" b="b"/>
              <a:pathLst>
                <a:path w="347663" h="319088">
                  <a:moveTo>
                    <a:pt x="320676" y="28575"/>
                  </a:moveTo>
                  <a:lnTo>
                    <a:pt x="323851" y="28575"/>
                  </a:lnTo>
                  <a:lnTo>
                    <a:pt x="323851" y="30163"/>
                  </a:lnTo>
                  <a:lnTo>
                    <a:pt x="325438" y="31750"/>
                  </a:lnTo>
                  <a:lnTo>
                    <a:pt x="331788" y="36513"/>
                  </a:lnTo>
                  <a:lnTo>
                    <a:pt x="342901" y="38100"/>
                  </a:lnTo>
                  <a:lnTo>
                    <a:pt x="346076" y="38100"/>
                  </a:lnTo>
                  <a:lnTo>
                    <a:pt x="347663" y="41275"/>
                  </a:lnTo>
                  <a:lnTo>
                    <a:pt x="346076" y="41275"/>
                  </a:lnTo>
                  <a:lnTo>
                    <a:pt x="340560" y="45412"/>
                  </a:lnTo>
                  <a:cubicBezTo>
                    <a:pt x="334712" y="47396"/>
                    <a:pt x="329397" y="44473"/>
                    <a:pt x="326341" y="34288"/>
                  </a:cubicBezTo>
                  <a:cubicBezTo>
                    <a:pt x="323717" y="46196"/>
                    <a:pt x="308978" y="31918"/>
                    <a:pt x="319364" y="29012"/>
                  </a:cubicBezTo>
                  <a:close/>
                  <a:moveTo>
                    <a:pt x="279401" y="0"/>
                  </a:moveTo>
                  <a:lnTo>
                    <a:pt x="282576" y="0"/>
                  </a:lnTo>
                  <a:lnTo>
                    <a:pt x="284163" y="0"/>
                  </a:lnTo>
                  <a:lnTo>
                    <a:pt x="285751" y="0"/>
                  </a:lnTo>
                  <a:lnTo>
                    <a:pt x="287338" y="1588"/>
                  </a:lnTo>
                  <a:lnTo>
                    <a:pt x="290513" y="0"/>
                  </a:lnTo>
                  <a:lnTo>
                    <a:pt x="293688" y="0"/>
                  </a:lnTo>
                  <a:lnTo>
                    <a:pt x="298451" y="1588"/>
                  </a:lnTo>
                  <a:lnTo>
                    <a:pt x="298451" y="6350"/>
                  </a:lnTo>
                  <a:lnTo>
                    <a:pt x="300038" y="4763"/>
                  </a:lnTo>
                  <a:lnTo>
                    <a:pt x="306388" y="4763"/>
                  </a:lnTo>
                  <a:lnTo>
                    <a:pt x="309563" y="9525"/>
                  </a:lnTo>
                  <a:lnTo>
                    <a:pt x="312738" y="12700"/>
                  </a:lnTo>
                  <a:lnTo>
                    <a:pt x="312738" y="17463"/>
                  </a:lnTo>
                  <a:lnTo>
                    <a:pt x="312191" y="18556"/>
                  </a:lnTo>
                  <a:lnTo>
                    <a:pt x="311124" y="17196"/>
                  </a:lnTo>
                  <a:cubicBezTo>
                    <a:pt x="308308" y="22225"/>
                    <a:pt x="308210" y="22401"/>
                    <a:pt x="308206" y="22407"/>
                  </a:cubicBezTo>
                  <a:cubicBezTo>
                    <a:pt x="306747" y="17821"/>
                    <a:pt x="302161" y="9691"/>
                    <a:pt x="298826" y="11151"/>
                  </a:cubicBezTo>
                  <a:cubicBezTo>
                    <a:pt x="296214" y="16177"/>
                    <a:pt x="296121" y="16356"/>
                    <a:pt x="296117" y="16362"/>
                  </a:cubicBezTo>
                  <a:cubicBezTo>
                    <a:pt x="294032" y="12402"/>
                    <a:pt x="293615" y="10526"/>
                    <a:pt x="292990" y="10526"/>
                  </a:cubicBezTo>
                  <a:cubicBezTo>
                    <a:pt x="290172" y="16162"/>
                    <a:pt x="290075" y="16356"/>
                    <a:pt x="290072" y="16362"/>
                  </a:cubicBezTo>
                  <a:cubicBezTo>
                    <a:pt x="290072" y="10518"/>
                    <a:pt x="290072" y="10324"/>
                    <a:pt x="290072" y="10317"/>
                  </a:cubicBezTo>
                  <a:lnTo>
                    <a:pt x="271937" y="16362"/>
                  </a:lnTo>
                  <a:cubicBezTo>
                    <a:pt x="277781" y="22206"/>
                    <a:pt x="277975" y="22400"/>
                    <a:pt x="277982" y="22407"/>
                  </a:cubicBezTo>
                  <a:cubicBezTo>
                    <a:pt x="252552" y="16987"/>
                    <a:pt x="251718" y="32412"/>
                    <a:pt x="260890" y="43251"/>
                  </a:cubicBezTo>
                  <a:lnTo>
                    <a:pt x="258519" y="45986"/>
                  </a:lnTo>
                  <a:cubicBezTo>
                    <a:pt x="258210" y="46343"/>
                    <a:pt x="258183" y="46374"/>
                    <a:pt x="258180" y="46377"/>
                  </a:cubicBezTo>
                  <a:cubicBezTo>
                    <a:pt x="264833" y="47183"/>
                    <a:pt x="265051" y="47210"/>
                    <a:pt x="265059" y="47211"/>
                  </a:cubicBezTo>
                  <a:cubicBezTo>
                    <a:pt x="267143" y="48670"/>
                    <a:pt x="269228" y="50129"/>
                    <a:pt x="271521" y="50963"/>
                  </a:cubicBezTo>
                  <a:cubicBezTo>
                    <a:pt x="274481" y="53923"/>
                    <a:pt x="276128" y="55570"/>
                    <a:pt x="277040" y="56507"/>
                  </a:cubicBezTo>
                  <a:lnTo>
                    <a:pt x="271463" y="58738"/>
                  </a:lnTo>
                  <a:lnTo>
                    <a:pt x="269242" y="64290"/>
                  </a:lnTo>
                  <a:lnTo>
                    <a:pt x="265893" y="67430"/>
                  </a:lnTo>
                  <a:cubicBezTo>
                    <a:pt x="265893" y="73797"/>
                    <a:pt x="270772" y="80165"/>
                    <a:pt x="271276" y="88555"/>
                  </a:cubicBezTo>
                  <a:lnTo>
                    <a:pt x="271047" y="88899"/>
                  </a:lnTo>
                  <a:lnTo>
                    <a:pt x="271382" y="89011"/>
                  </a:lnTo>
                  <a:lnTo>
                    <a:pt x="271937" y="91400"/>
                  </a:lnTo>
                  <a:cubicBezTo>
                    <a:pt x="271937" y="92452"/>
                    <a:pt x="272081" y="93461"/>
                    <a:pt x="273444" y="93663"/>
                  </a:cubicBezTo>
                  <a:lnTo>
                    <a:pt x="273051" y="93663"/>
                  </a:lnTo>
                  <a:lnTo>
                    <a:pt x="274361" y="96283"/>
                  </a:lnTo>
                  <a:lnTo>
                    <a:pt x="274222" y="96837"/>
                  </a:lnTo>
                  <a:lnTo>
                    <a:pt x="272634" y="96837"/>
                  </a:lnTo>
                  <a:lnTo>
                    <a:pt x="274222" y="100012"/>
                  </a:lnTo>
                  <a:lnTo>
                    <a:pt x="278984" y="103187"/>
                  </a:lnTo>
                  <a:lnTo>
                    <a:pt x="278984" y="109537"/>
                  </a:lnTo>
                  <a:lnTo>
                    <a:pt x="285334" y="109537"/>
                  </a:lnTo>
                  <a:lnTo>
                    <a:pt x="285334" y="114299"/>
                  </a:lnTo>
                  <a:lnTo>
                    <a:pt x="288509" y="117474"/>
                  </a:lnTo>
                  <a:lnTo>
                    <a:pt x="294859" y="115887"/>
                  </a:lnTo>
                  <a:lnTo>
                    <a:pt x="299371" y="120398"/>
                  </a:lnTo>
                  <a:lnTo>
                    <a:pt x="298451" y="122238"/>
                  </a:lnTo>
                  <a:lnTo>
                    <a:pt x="293688" y="125413"/>
                  </a:lnTo>
                  <a:lnTo>
                    <a:pt x="288926" y="127000"/>
                  </a:lnTo>
                  <a:lnTo>
                    <a:pt x="284163" y="130175"/>
                  </a:lnTo>
                  <a:lnTo>
                    <a:pt x="284163" y="133072"/>
                  </a:lnTo>
                  <a:lnTo>
                    <a:pt x="283747" y="133349"/>
                  </a:lnTo>
                  <a:lnTo>
                    <a:pt x="283747" y="136524"/>
                  </a:lnTo>
                  <a:lnTo>
                    <a:pt x="285259" y="141062"/>
                  </a:lnTo>
                  <a:lnTo>
                    <a:pt x="284163" y="147638"/>
                  </a:lnTo>
                  <a:lnTo>
                    <a:pt x="269876" y="165100"/>
                  </a:lnTo>
                  <a:lnTo>
                    <a:pt x="270507" y="166994"/>
                  </a:lnTo>
                  <a:lnTo>
                    <a:pt x="269459" y="168274"/>
                  </a:lnTo>
                  <a:lnTo>
                    <a:pt x="270200" y="170495"/>
                  </a:lnTo>
                  <a:lnTo>
                    <a:pt x="268288" y="171451"/>
                  </a:lnTo>
                  <a:lnTo>
                    <a:pt x="261938" y="173038"/>
                  </a:lnTo>
                  <a:lnTo>
                    <a:pt x="260351" y="179388"/>
                  </a:lnTo>
                  <a:lnTo>
                    <a:pt x="255588" y="192088"/>
                  </a:lnTo>
                  <a:lnTo>
                    <a:pt x="250826" y="196851"/>
                  </a:lnTo>
                  <a:lnTo>
                    <a:pt x="238126" y="203201"/>
                  </a:lnTo>
                  <a:lnTo>
                    <a:pt x="238126" y="206166"/>
                  </a:lnTo>
                  <a:lnTo>
                    <a:pt x="237709" y="206374"/>
                  </a:lnTo>
                  <a:lnTo>
                    <a:pt x="237709" y="207001"/>
                  </a:lnTo>
                  <a:lnTo>
                    <a:pt x="234951" y="211138"/>
                  </a:lnTo>
                  <a:lnTo>
                    <a:pt x="230188" y="217488"/>
                  </a:lnTo>
                  <a:lnTo>
                    <a:pt x="228601" y="222251"/>
                  </a:lnTo>
                  <a:lnTo>
                    <a:pt x="222251" y="225426"/>
                  </a:lnTo>
                  <a:lnTo>
                    <a:pt x="215901" y="223838"/>
                  </a:lnTo>
                  <a:lnTo>
                    <a:pt x="207963" y="228601"/>
                  </a:lnTo>
                  <a:lnTo>
                    <a:pt x="203201" y="227013"/>
                  </a:lnTo>
                  <a:lnTo>
                    <a:pt x="201613" y="222251"/>
                  </a:lnTo>
                  <a:lnTo>
                    <a:pt x="200026" y="220663"/>
                  </a:lnTo>
                  <a:lnTo>
                    <a:pt x="196851" y="220663"/>
                  </a:lnTo>
                  <a:lnTo>
                    <a:pt x="192088" y="227013"/>
                  </a:lnTo>
                  <a:lnTo>
                    <a:pt x="190501" y="230188"/>
                  </a:lnTo>
                  <a:lnTo>
                    <a:pt x="180976" y="239713"/>
                  </a:lnTo>
                  <a:lnTo>
                    <a:pt x="179388" y="246063"/>
                  </a:lnTo>
                  <a:lnTo>
                    <a:pt x="179388" y="247570"/>
                  </a:lnTo>
                  <a:lnTo>
                    <a:pt x="178971" y="249237"/>
                  </a:lnTo>
                  <a:lnTo>
                    <a:pt x="178971" y="252412"/>
                  </a:lnTo>
                  <a:lnTo>
                    <a:pt x="178971" y="255587"/>
                  </a:lnTo>
                  <a:lnTo>
                    <a:pt x="183734" y="257174"/>
                  </a:lnTo>
                  <a:lnTo>
                    <a:pt x="188496" y="258762"/>
                  </a:lnTo>
                  <a:lnTo>
                    <a:pt x="192882" y="258762"/>
                  </a:lnTo>
                  <a:lnTo>
                    <a:pt x="192088" y="261938"/>
                  </a:lnTo>
                  <a:lnTo>
                    <a:pt x="190501" y="269876"/>
                  </a:lnTo>
                  <a:lnTo>
                    <a:pt x="190682" y="270057"/>
                  </a:lnTo>
                  <a:lnTo>
                    <a:pt x="190084" y="273049"/>
                  </a:lnTo>
                  <a:lnTo>
                    <a:pt x="194846" y="277812"/>
                  </a:lnTo>
                  <a:lnTo>
                    <a:pt x="198021" y="279399"/>
                  </a:lnTo>
                  <a:lnTo>
                    <a:pt x="202784" y="277812"/>
                  </a:lnTo>
                  <a:lnTo>
                    <a:pt x="202784" y="282574"/>
                  </a:lnTo>
                  <a:lnTo>
                    <a:pt x="205959" y="287337"/>
                  </a:lnTo>
                  <a:lnTo>
                    <a:pt x="211231" y="299198"/>
                  </a:lnTo>
                  <a:lnTo>
                    <a:pt x="209551" y="300038"/>
                  </a:lnTo>
                  <a:lnTo>
                    <a:pt x="211033" y="302262"/>
                  </a:lnTo>
                  <a:lnTo>
                    <a:pt x="209134" y="303212"/>
                  </a:lnTo>
                  <a:lnTo>
                    <a:pt x="210193" y="304801"/>
                  </a:lnTo>
                  <a:lnTo>
                    <a:pt x="209551" y="304801"/>
                  </a:lnTo>
                  <a:lnTo>
                    <a:pt x="207963" y="307976"/>
                  </a:lnTo>
                  <a:lnTo>
                    <a:pt x="203201" y="307976"/>
                  </a:lnTo>
                  <a:lnTo>
                    <a:pt x="201613" y="304801"/>
                  </a:lnTo>
                  <a:lnTo>
                    <a:pt x="200026" y="304801"/>
                  </a:lnTo>
                  <a:lnTo>
                    <a:pt x="192088" y="306388"/>
                  </a:lnTo>
                  <a:lnTo>
                    <a:pt x="190501" y="309563"/>
                  </a:lnTo>
                  <a:lnTo>
                    <a:pt x="184151" y="309563"/>
                  </a:lnTo>
                  <a:lnTo>
                    <a:pt x="180976" y="307976"/>
                  </a:lnTo>
                  <a:lnTo>
                    <a:pt x="173038" y="307976"/>
                  </a:lnTo>
                  <a:lnTo>
                    <a:pt x="165100" y="307976"/>
                  </a:lnTo>
                  <a:lnTo>
                    <a:pt x="163513" y="306388"/>
                  </a:lnTo>
                  <a:lnTo>
                    <a:pt x="163513" y="309978"/>
                  </a:lnTo>
                  <a:lnTo>
                    <a:pt x="163096" y="309562"/>
                  </a:lnTo>
                  <a:lnTo>
                    <a:pt x="163096" y="314326"/>
                  </a:lnTo>
                  <a:lnTo>
                    <a:pt x="155575" y="314326"/>
                  </a:lnTo>
                  <a:lnTo>
                    <a:pt x="152400" y="319088"/>
                  </a:lnTo>
                  <a:lnTo>
                    <a:pt x="149225" y="319088"/>
                  </a:lnTo>
                  <a:lnTo>
                    <a:pt x="141288" y="317501"/>
                  </a:lnTo>
                  <a:lnTo>
                    <a:pt x="138113" y="314326"/>
                  </a:lnTo>
                  <a:lnTo>
                    <a:pt x="133350" y="311151"/>
                  </a:lnTo>
                  <a:lnTo>
                    <a:pt x="131763" y="300038"/>
                  </a:lnTo>
                  <a:lnTo>
                    <a:pt x="130175" y="298451"/>
                  </a:lnTo>
                  <a:lnTo>
                    <a:pt x="127000" y="296863"/>
                  </a:lnTo>
                  <a:lnTo>
                    <a:pt x="122238" y="296863"/>
                  </a:lnTo>
                  <a:lnTo>
                    <a:pt x="120650" y="295276"/>
                  </a:lnTo>
                  <a:lnTo>
                    <a:pt x="120650" y="293688"/>
                  </a:lnTo>
                  <a:lnTo>
                    <a:pt x="120650" y="288926"/>
                  </a:lnTo>
                  <a:lnTo>
                    <a:pt x="119063" y="284163"/>
                  </a:lnTo>
                  <a:lnTo>
                    <a:pt x="115888" y="279401"/>
                  </a:lnTo>
                  <a:lnTo>
                    <a:pt x="112713" y="279401"/>
                  </a:lnTo>
                  <a:lnTo>
                    <a:pt x="101600" y="284163"/>
                  </a:lnTo>
                  <a:lnTo>
                    <a:pt x="90488" y="284163"/>
                  </a:lnTo>
                  <a:lnTo>
                    <a:pt x="82550" y="285751"/>
                  </a:lnTo>
                  <a:lnTo>
                    <a:pt x="74613" y="285751"/>
                  </a:lnTo>
                  <a:lnTo>
                    <a:pt x="69850" y="285751"/>
                  </a:lnTo>
                  <a:lnTo>
                    <a:pt x="68263" y="284163"/>
                  </a:lnTo>
                  <a:lnTo>
                    <a:pt x="66675" y="280988"/>
                  </a:lnTo>
                  <a:lnTo>
                    <a:pt x="57150" y="282576"/>
                  </a:lnTo>
                  <a:lnTo>
                    <a:pt x="52388" y="287338"/>
                  </a:lnTo>
                  <a:lnTo>
                    <a:pt x="44450" y="287338"/>
                  </a:lnTo>
                  <a:lnTo>
                    <a:pt x="33338" y="287338"/>
                  </a:lnTo>
                  <a:lnTo>
                    <a:pt x="26988" y="288926"/>
                  </a:lnTo>
                  <a:lnTo>
                    <a:pt x="19050" y="288926"/>
                  </a:lnTo>
                  <a:lnTo>
                    <a:pt x="14288" y="290513"/>
                  </a:lnTo>
                  <a:lnTo>
                    <a:pt x="17463" y="279401"/>
                  </a:lnTo>
                  <a:lnTo>
                    <a:pt x="17463" y="276226"/>
                  </a:lnTo>
                  <a:lnTo>
                    <a:pt x="19050" y="268288"/>
                  </a:lnTo>
                  <a:lnTo>
                    <a:pt x="22225" y="263526"/>
                  </a:lnTo>
                  <a:lnTo>
                    <a:pt x="30163" y="258763"/>
                  </a:lnTo>
                  <a:lnTo>
                    <a:pt x="36513" y="257176"/>
                  </a:lnTo>
                  <a:lnTo>
                    <a:pt x="46038" y="255588"/>
                  </a:lnTo>
                  <a:lnTo>
                    <a:pt x="47625" y="255588"/>
                  </a:lnTo>
                  <a:lnTo>
                    <a:pt x="49213" y="252413"/>
                  </a:lnTo>
                  <a:lnTo>
                    <a:pt x="50800" y="242888"/>
                  </a:lnTo>
                  <a:lnTo>
                    <a:pt x="47625" y="239713"/>
                  </a:lnTo>
                  <a:lnTo>
                    <a:pt x="41275" y="238126"/>
                  </a:lnTo>
                  <a:lnTo>
                    <a:pt x="39688" y="234951"/>
                  </a:lnTo>
                  <a:lnTo>
                    <a:pt x="39688" y="220663"/>
                  </a:lnTo>
                  <a:lnTo>
                    <a:pt x="38100" y="215901"/>
                  </a:lnTo>
                  <a:lnTo>
                    <a:pt x="33338" y="214313"/>
                  </a:lnTo>
                  <a:lnTo>
                    <a:pt x="23813" y="209551"/>
                  </a:lnTo>
                  <a:lnTo>
                    <a:pt x="17463" y="204788"/>
                  </a:lnTo>
                  <a:lnTo>
                    <a:pt x="12700" y="200026"/>
                  </a:lnTo>
                  <a:lnTo>
                    <a:pt x="6350" y="188913"/>
                  </a:lnTo>
                  <a:lnTo>
                    <a:pt x="0" y="177801"/>
                  </a:lnTo>
                  <a:lnTo>
                    <a:pt x="7938" y="180976"/>
                  </a:lnTo>
                  <a:lnTo>
                    <a:pt x="12700" y="184151"/>
                  </a:lnTo>
                  <a:lnTo>
                    <a:pt x="23813" y="185738"/>
                  </a:lnTo>
                  <a:lnTo>
                    <a:pt x="31750" y="188913"/>
                  </a:lnTo>
                  <a:lnTo>
                    <a:pt x="36513" y="188913"/>
                  </a:lnTo>
                  <a:lnTo>
                    <a:pt x="42863" y="188913"/>
                  </a:lnTo>
                  <a:lnTo>
                    <a:pt x="53975" y="185738"/>
                  </a:lnTo>
                  <a:lnTo>
                    <a:pt x="57150" y="185738"/>
                  </a:lnTo>
                  <a:lnTo>
                    <a:pt x="66675" y="188913"/>
                  </a:lnTo>
                  <a:lnTo>
                    <a:pt x="79375" y="187326"/>
                  </a:lnTo>
                  <a:lnTo>
                    <a:pt x="87313" y="185738"/>
                  </a:lnTo>
                  <a:lnTo>
                    <a:pt x="98425" y="182563"/>
                  </a:lnTo>
                  <a:lnTo>
                    <a:pt x="107950" y="179388"/>
                  </a:lnTo>
                  <a:lnTo>
                    <a:pt x="111125" y="177801"/>
                  </a:lnTo>
                  <a:lnTo>
                    <a:pt x="111125" y="176213"/>
                  </a:lnTo>
                  <a:lnTo>
                    <a:pt x="112713" y="166688"/>
                  </a:lnTo>
                  <a:lnTo>
                    <a:pt x="114300" y="157163"/>
                  </a:lnTo>
                  <a:lnTo>
                    <a:pt x="115888" y="153988"/>
                  </a:lnTo>
                  <a:lnTo>
                    <a:pt x="120650" y="149225"/>
                  </a:lnTo>
                  <a:lnTo>
                    <a:pt x="125413" y="144463"/>
                  </a:lnTo>
                  <a:lnTo>
                    <a:pt x="128588" y="142875"/>
                  </a:lnTo>
                  <a:lnTo>
                    <a:pt x="134938" y="144463"/>
                  </a:lnTo>
                  <a:lnTo>
                    <a:pt x="139700" y="146050"/>
                  </a:lnTo>
                  <a:lnTo>
                    <a:pt x="141288" y="144463"/>
                  </a:lnTo>
                  <a:lnTo>
                    <a:pt x="144463" y="136525"/>
                  </a:lnTo>
                  <a:lnTo>
                    <a:pt x="147638" y="133350"/>
                  </a:lnTo>
                  <a:lnTo>
                    <a:pt x="152400" y="131763"/>
                  </a:lnTo>
                  <a:lnTo>
                    <a:pt x="158750" y="131763"/>
                  </a:lnTo>
                  <a:lnTo>
                    <a:pt x="168275" y="134938"/>
                  </a:lnTo>
                  <a:lnTo>
                    <a:pt x="169863" y="134938"/>
                  </a:lnTo>
                  <a:lnTo>
                    <a:pt x="173038" y="130175"/>
                  </a:lnTo>
                  <a:lnTo>
                    <a:pt x="173038" y="128588"/>
                  </a:lnTo>
                  <a:lnTo>
                    <a:pt x="174625" y="115888"/>
                  </a:lnTo>
                  <a:lnTo>
                    <a:pt x="177801" y="106363"/>
                  </a:lnTo>
                  <a:lnTo>
                    <a:pt x="179388" y="101600"/>
                  </a:lnTo>
                  <a:lnTo>
                    <a:pt x="182563" y="100013"/>
                  </a:lnTo>
                  <a:lnTo>
                    <a:pt x="185738" y="98425"/>
                  </a:lnTo>
                  <a:lnTo>
                    <a:pt x="190501" y="98425"/>
                  </a:lnTo>
                  <a:lnTo>
                    <a:pt x="193676" y="96838"/>
                  </a:lnTo>
                  <a:lnTo>
                    <a:pt x="195263" y="93663"/>
                  </a:lnTo>
                  <a:lnTo>
                    <a:pt x="195263" y="88900"/>
                  </a:lnTo>
                  <a:lnTo>
                    <a:pt x="193676" y="85725"/>
                  </a:lnTo>
                  <a:lnTo>
                    <a:pt x="190501" y="80963"/>
                  </a:lnTo>
                  <a:lnTo>
                    <a:pt x="187326" y="77788"/>
                  </a:lnTo>
                  <a:lnTo>
                    <a:pt x="190501" y="76200"/>
                  </a:lnTo>
                  <a:lnTo>
                    <a:pt x="200026" y="77788"/>
                  </a:lnTo>
                  <a:lnTo>
                    <a:pt x="206376" y="77788"/>
                  </a:lnTo>
                  <a:lnTo>
                    <a:pt x="211138" y="74613"/>
                  </a:lnTo>
                  <a:lnTo>
                    <a:pt x="214313" y="71438"/>
                  </a:lnTo>
                  <a:lnTo>
                    <a:pt x="212726" y="68263"/>
                  </a:lnTo>
                  <a:lnTo>
                    <a:pt x="211138" y="63500"/>
                  </a:lnTo>
                  <a:lnTo>
                    <a:pt x="212726" y="60325"/>
                  </a:lnTo>
                  <a:lnTo>
                    <a:pt x="215901" y="55563"/>
                  </a:lnTo>
                  <a:lnTo>
                    <a:pt x="220663" y="52388"/>
                  </a:lnTo>
                  <a:lnTo>
                    <a:pt x="223838" y="47625"/>
                  </a:lnTo>
                  <a:lnTo>
                    <a:pt x="222251" y="41275"/>
                  </a:lnTo>
                  <a:lnTo>
                    <a:pt x="223838" y="36513"/>
                  </a:lnTo>
                  <a:lnTo>
                    <a:pt x="220663" y="34925"/>
                  </a:lnTo>
                  <a:lnTo>
                    <a:pt x="220663" y="30163"/>
                  </a:lnTo>
                  <a:lnTo>
                    <a:pt x="217488" y="26988"/>
                  </a:lnTo>
                  <a:lnTo>
                    <a:pt x="217488" y="23813"/>
                  </a:lnTo>
                  <a:lnTo>
                    <a:pt x="222251" y="19050"/>
                  </a:lnTo>
                  <a:lnTo>
                    <a:pt x="223838" y="17463"/>
                  </a:lnTo>
                  <a:lnTo>
                    <a:pt x="227013" y="17463"/>
                  </a:lnTo>
                  <a:lnTo>
                    <a:pt x="231776" y="12700"/>
                  </a:lnTo>
                  <a:lnTo>
                    <a:pt x="233363" y="9525"/>
                  </a:lnTo>
                  <a:lnTo>
                    <a:pt x="238126" y="6350"/>
                  </a:lnTo>
                  <a:lnTo>
                    <a:pt x="249238" y="4763"/>
                  </a:lnTo>
                  <a:lnTo>
                    <a:pt x="261938" y="4763"/>
                  </a:lnTo>
                  <a:lnTo>
                    <a:pt x="268288" y="6350"/>
                  </a:lnTo>
                  <a:lnTo>
                    <a:pt x="271463" y="4763"/>
                  </a:lnTo>
                  <a:lnTo>
                    <a:pt x="274638" y="476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69" name="Freeform 141">
              <a:extLst>
                <a:ext uri="{FF2B5EF4-FFF2-40B4-BE49-F238E27FC236}">
                  <a16:creationId xmlns:a16="http://schemas.microsoft.com/office/drawing/2014/main" id="{2077A2D6-CFF2-A297-533C-BD5EA977D637}"/>
                </a:ext>
              </a:extLst>
            </p:cNvPr>
            <p:cNvSpPr>
              <a:spLocks/>
            </p:cNvSpPr>
            <p:nvPr/>
          </p:nvSpPr>
          <p:spPr bwMode="auto">
            <a:xfrm>
              <a:off x="5963821" y="5438775"/>
              <a:ext cx="63500" cy="160338"/>
            </a:xfrm>
            <a:custGeom>
              <a:avLst/>
              <a:gdLst/>
              <a:ahLst/>
              <a:cxnLst>
                <a:cxn ang="0">
                  <a:pos x="21" y="33"/>
                </a:cxn>
                <a:cxn ang="0">
                  <a:pos x="22" y="42"/>
                </a:cxn>
                <a:cxn ang="0">
                  <a:pos x="24" y="51"/>
                </a:cxn>
                <a:cxn ang="0">
                  <a:pos x="30" y="56"/>
                </a:cxn>
                <a:cxn ang="0">
                  <a:pos x="40" y="67"/>
                </a:cxn>
                <a:cxn ang="0">
                  <a:pos x="40" y="84"/>
                </a:cxn>
                <a:cxn ang="0">
                  <a:pos x="38" y="88"/>
                </a:cxn>
                <a:cxn ang="0">
                  <a:pos x="34" y="88"/>
                </a:cxn>
                <a:cxn ang="0">
                  <a:pos x="32" y="93"/>
                </a:cxn>
                <a:cxn ang="0">
                  <a:pos x="33" y="100"/>
                </a:cxn>
                <a:cxn ang="0">
                  <a:pos x="31" y="100"/>
                </a:cxn>
                <a:cxn ang="0">
                  <a:pos x="23" y="91"/>
                </a:cxn>
                <a:cxn ang="0">
                  <a:pos x="19" y="85"/>
                </a:cxn>
                <a:cxn ang="0">
                  <a:pos x="22" y="80"/>
                </a:cxn>
                <a:cxn ang="0">
                  <a:pos x="23" y="74"/>
                </a:cxn>
                <a:cxn ang="0">
                  <a:pos x="21" y="66"/>
                </a:cxn>
                <a:cxn ang="0">
                  <a:pos x="16" y="66"/>
                </a:cxn>
                <a:cxn ang="0">
                  <a:pos x="10" y="65"/>
                </a:cxn>
                <a:cxn ang="0">
                  <a:pos x="6" y="59"/>
                </a:cxn>
                <a:cxn ang="0">
                  <a:pos x="2" y="58"/>
                </a:cxn>
                <a:cxn ang="0">
                  <a:pos x="0" y="53"/>
                </a:cxn>
                <a:cxn ang="0">
                  <a:pos x="2" y="43"/>
                </a:cxn>
                <a:cxn ang="0">
                  <a:pos x="7" y="40"/>
                </a:cxn>
                <a:cxn ang="0">
                  <a:pos x="11" y="37"/>
                </a:cxn>
                <a:cxn ang="0">
                  <a:pos x="8" y="34"/>
                </a:cxn>
                <a:cxn ang="0">
                  <a:pos x="6" y="31"/>
                </a:cxn>
                <a:cxn ang="0">
                  <a:pos x="6" y="17"/>
                </a:cxn>
                <a:cxn ang="0">
                  <a:pos x="10" y="15"/>
                </a:cxn>
                <a:cxn ang="0">
                  <a:pos x="12" y="11"/>
                </a:cxn>
                <a:cxn ang="0">
                  <a:pos x="6" y="0"/>
                </a:cxn>
                <a:cxn ang="0">
                  <a:pos x="13" y="1"/>
                </a:cxn>
                <a:cxn ang="0">
                  <a:pos x="19" y="9"/>
                </a:cxn>
                <a:cxn ang="0">
                  <a:pos x="21" y="18"/>
                </a:cxn>
                <a:cxn ang="0">
                  <a:pos x="22" y="26"/>
                </a:cxn>
              </a:cxnLst>
              <a:rect l="0" t="0" r="r" b="b"/>
              <a:pathLst>
                <a:path w="40" h="101">
                  <a:moveTo>
                    <a:pt x="22" y="26"/>
                  </a:moveTo>
                  <a:lnTo>
                    <a:pt x="21" y="33"/>
                  </a:lnTo>
                  <a:lnTo>
                    <a:pt x="21" y="36"/>
                  </a:lnTo>
                  <a:lnTo>
                    <a:pt x="22" y="42"/>
                  </a:lnTo>
                  <a:lnTo>
                    <a:pt x="23" y="48"/>
                  </a:lnTo>
                  <a:lnTo>
                    <a:pt x="24" y="51"/>
                  </a:lnTo>
                  <a:lnTo>
                    <a:pt x="25" y="52"/>
                  </a:lnTo>
                  <a:lnTo>
                    <a:pt x="30" y="56"/>
                  </a:lnTo>
                  <a:lnTo>
                    <a:pt x="37" y="63"/>
                  </a:lnTo>
                  <a:lnTo>
                    <a:pt x="40" y="67"/>
                  </a:lnTo>
                  <a:lnTo>
                    <a:pt x="40" y="70"/>
                  </a:lnTo>
                  <a:lnTo>
                    <a:pt x="40" y="84"/>
                  </a:lnTo>
                  <a:lnTo>
                    <a:pt x="39" y="87"/>
                  </a:lnTo>
                  <a:lnTo>
                    <a:pt x="38" y="88"/>
                  </a:lnTo>
                  <a:lnTo>
                    <a:pt x="36" y="88"/>
                  </a:lnTo>
                  <a:lnTo>
                    <a:pt x="34" y="88"/>
                  </a:lnTo>
                  <a:lnTo>
                    <a:pt x="33" y="90"/>
                  </a:lnTo>
                  <a:lnTo>
                    <a:pt x="32" y="93"/>
                  </a:lnTo>
                  <a:lnTo>
                    <a:pt x="33" y="97"/>
                  </a:lnTo>
                  <a:lnTo>
                    <a:pt x="33" y="100"/>
                  </a:lnTo>
                  <a:lnTo>
                    <a:pt x="32" y="101"/>
                  </a:lnTo>
                  <a:lnTo>
                    <a:pt x="31" y="100"/>
                  </a:lnTo>
                  <a:lnTo>
                    <a:pt x="28" y="98"/>
                  </a:lnTo>
                  <a:lnTo>
                    <a:pt x="23" y="91"/>
                  </a:lnTo>
                  <a:lnTo>
                    <a:pt x="20" y="88"/>
                  </a:lnTo>
                  <a:lnTo>
                    <a:pt x="19" y="85"/>
                  </a:lnTo>
                  <a:lnTo>
                    <a:pt x="19" y="84"/>
                  </a:lnTo>
                  <a:lnTo>
                    <a:pt x="22" y="80"/>
                  </a:lnTo>
                  <a:lnTo>
                    <a:pt x="23" y="79"/>
                  </a:lnTo>
                  <a:lnTo>
                    <a:pt x="23" y="74"/>
                  </a:lnTo>
                  <a:lnTo>
                    <a:pt x="22" y="69"/>
                  </a:lnTo>
                  <a:lnTo>
                    <a:pt x="21" y="66"/>
                  </a:lnTo>
                  <a:lnTo>
                    <a:pt x="19" y="65"/>
                  </a:lnTo>
                  <a:lnTo>
                    <a:pt x="16" y="66"/>
                  </a:lnTo>
                  <a:lnTo>
                    <a:pt x="12" y="66"/>
                  </a:lnTo>
                  <a:lnTo>
                    <a:pt x="10" y="65"/>
                  </a:lnTo>
                  <a:lnTo>
                    <a:pt x="8" y="63"/>
                  </a:lnTo>
                  <a:lnTo>
                    <a:pt x="6" y="59"/>
                  </a:lnTo>
                  <a:lnTo>
                    <a:pt x="4" y="59"/>
                  </a:lnTo>
                  <a:lnTo>
                    <a:pt x="2" y="58"/>
                  </a:lnTo>
                  <a:lnTo>
                    <a:pt x="1" y="56"/>
                  </a:lnTo>
                  <a:lnTo>
                    <a:pt x="0" y="53"/>
                  </a:lnTo>
                  <a:lnTo>
                    <a:pt x="1" y="48"/>
                  </a:lnTo>
                  <a:lnTo>
                    <a:pt x="2" y="43"/>
                  </a:lnTo>
                  <a:lnTo>
                    <a:pt x="3" y="42"/>
                  </a:lnTo>
                  <a:lnTo>
                    <a:pt x="7" y="40"/>
                  </a:lnTo>
                  <a:lnTo>
                    <a:pt x="10" y="38"/>
                  </a:lnTo>
                  <a:lnTo>
                    <a:pt x="11" y="37"/>
                  </a:lnTo>
                  <a:lnTo>
                    <a:pt x="11" y="36"/>
                  </a:lnTo>
                  <a:lnTo>
                    <a:pt x="8" y="34"/>
                  </a:lnTo>
                  <a:lnTo>
                    <a:pt x="6" y="33"/>
                  </a:lnTo>
                  <a:lnTo>
                    <a:pt x="6" y="31"/>
                  </a:lnTo>
                  <a:lnTo>
                    <a:pt x="7" y="21"/>
                  </a:lnTo>
                  <a:lnTo>
                    <a:pt x="6" y="17"/>
                  </a:lnTo>
                  <a:lnTo>
                    <a:pt x="6" y="16"/>
                  </a:lnTo>
                  <a:lnTo>
                    <a:pt x="10" y="15"/>
                  </a:lnTo>
                  <a:lnTo>
                    <a:pt x="12" y="13"/>
                  </a:lnTo>
                  <a:lnTo>
                    <a:pt x="12" y="11"/>
                  </a:lnTo>
                  <a:lnTo>
                    <a:pt x="9" y="6"/>
                  </a:lnTo>
                  <a:lnTo>
                    <a:pt x="6" y="0"/>
                  </a:lnTo>
                  <a:lnTo>
                    <a:pt x="7" y="0"/>
                  </a:lnTo>
                  <a:lnTo>
                    <a:pt x="13" y="1"/>
                  </a:lnTo>
                  <a:lnTo>
                    <a:pt x="17" y="4"/>
                  </a:lnTo>
                  <a:lnTo>
                    <a:pt x="19" y="9"/>
                  </a:lnTo>
                  <a:lnTo>
                    <a:pt x="20" y="15"/>
                  </a:lnTo>
                  <a:lnTo>
                    <a:pt x="21" y="18"/>
                  </a:lnTo>
                  <a:lnTo>
                    <a:pt x="21" y="23"/>
                  </a:lnTo>
                  <a:lnTo>
                    <a:pt x="22"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0" name="Freeform 142">
              <a:extLst>
                <a:ext uri="{FF2B5EF4-FFF2-40B4-BE49-F238E27FC236}">
                  <a16:creationId xmlns:a16="http://schemas.microsoft.com/office/drawing/2014/main" id="{73644EED-B749-40F0-F8CF-04241523C685}"/>
                </a:ext>
              </a:extLst>
            </p:cNvPr>
            <p:cNvSpPr>
              <a:spLocks noEditPoints="1"/>
            </p:cNvSpPr>
            <p:nvPr/>
          </p:nvSpPr>
          <p:spPr bwMode="auto">
            <a:xfrm>
              <a:off x="5582821" y="5710238"/>
              <a:ext cx="382588" cy="303213"/>
            </a:xfrm>
            <a:custGeom>
              <a:avLst/>
              <a:gdLst/>
              <a:ahLst/>
              <a:cxnLst>
                <a:cxn ang="0">
                  <a:pos x="82" y="51"/>
                </a:cxn>
                <a:cxn ang="0">
                  <a:pos x="81" y="67"/>
                </a:cxn>
                <a:cxn ang="0">
                  <a:pos x="93" y="68"/>
                </a:cxn>
                <a:cxn ang="0">
                  <a:pos x="108" y="56"/>
                </a:cxn>
                <a:cxn ang="0">
                  <a:pos x="117" y="46"/>
                </a:cxn>
                <a:cxn ang="0">
                  <a:pos x="135" y="53"/>
                </a:cxn>
                <a:cxn ang="0">
                  <a:pos x="145" y="52"/>
                </a:cxn>
                <a:cxn ang="0">
                  <a:pos x="151" y="37"/>
                </a:cxn>
                <a:cxn ang="0">
                  <a:pos x="163" y="27"/>
                </a:cxn>
                <a:cxn ang="0">
                  <a:pos x="173" y="16"/>
                </a:cxn>
                <a:cxn ang="0">
                  <a:pos x="187" y="6"/>
                </a:cxn>
                <a:cxn ang="0">
                  <a:pos x="194" y="0"/>
                </a:cxn>
                <a:cxn ang="0">
                  <a:pos x="210" y="4"/>
                </a:cxn>
                <a:cxn ang="0">
                  <a:pos x="220" y="5"/>
                </a:cxn>
                <a:cxn ang="0">
                  <a:pos x="227" y="25"/>
                </a:cxn>
                <a:cxn ang="0">
                  <a:pos x="230" y="48"/>
                </a:cxn>
                <a:cxn ang="0">
                  <a:pos x="220" y="53"/>
                </a:cxn>
                <a:cxn ang="0">
                  <a:pos x="217" y="70"/>
                </a:cxn>
                <a:cxn ang="0">
                  <a:pos x="229" y="76"/>
                </a:cxn>
                <a:cxn ang="0">
                  <a:pos x="232" y="69"/>
                </a:cxn>
                <a:cxn ang="0">
                  <a:pos x="238" y="82"/>
                </a:cxn>
                <a:cxn ang="0">
                  <a:pos x="235" y="90"/>
                </a:cxn>
                <a:cxn ang="0">
                  <a:pos x="224" y="102"/>
                </a:cxn>
                <a:cxn ang="0">
                  <a:pos x="202" y="136"/>
                </a:cxn>
                <a:cxn ang="0">
                  <a:pos x="173" y="164"/>
                </a:cxn>
                <a:cxn ang="0">
                  <a:pos x="156" y="174"/>
                </a:cxn>
                <a:cxn ang="0">
                  <a:pos x="146" y="178"/>
                </a:cxn>
                <a:cxn ang="0">
                  <a:pos x="138" y="177"/>
                </a:cxn>
                <a:cxn ang="0">
                  <a:pos x="131" y="181"/>
                </a:cxn>
                <a:cxn ang="0">
                  <a:pos x="117" y="177"/>
                </a:cxn>
                <a:cxn ang="0">
                  <a:pos x="106" y="178"/>
                </a:cxn>
                <a:cxn ang="0">
                  <a:pos x="91" y="184"/>
                </a:cxn>
                <a:cxn ang="0">
                  <a:pos x="76" y="186"/>
                </a:cxn>
                <a:cxn ang="0">
                  <a:pos x="63" y="182"/>
                </a:cxn>
                <a:cxn ang="0">
                  <a:pos x="54" y="178"/>
                </a:cxn>
                <a:cxn ang="0">
                  <a:pos x="51" y="180"/>
                </a:cxn>
                <a:cxn ang="0">
                  <a:pos x="46" y="161"/>
                </a:cxn>
                <a:cxn ang="0">
                  <a:pos x="51" y="155"/>
                </a:cxn>
                <a:cxn ang="0">
                  <a:pos x="46" y="133"/>
                </a:cxn>
                <a:cxn ang="0">
                  <a:pos x="31" y="101"/>
                </a:cxn>
                <a:cxn ang="0">
                  <a:pos x="30" y="90"/>
                </a:cxn>
                <a:cxn ang="0">
                  <a:pos x="36" y="86"/>
                </a:cxn>
                <a:cxn ang="0">
                  <a:pos x="42" y="96"/>
                </a:cxn>
                <a:cxn ang="0">
                  <a:pos x="56" y="97"/>
                </a:cxn>
                <a:cxn ang="0">
                  <a:pos x="69" y="93"/>
                </a:cxn>
                <a:cxn ang="0">
                  <a:pos x="71" y="62"/>
                </a:cxn>
                <a:cxn ang="0">
                  <a:pos x="5" y="13"/>
                </a:cxn>
                <a:cxn ang="0">
                  <a:pos x="0" y="13"/>
                </a:cxn>
                <a:cxn ang="0">
                  <a:pos x="178" y="126"/>
                </a:cxn>
                <a:cxn ang="0">
                  <a:pos x="191" y="116"/>
                </a:cxn>
                <a:cxn ang="0">
                  <a:pos x="196" y="104"/>
                </a:cxn>
                <a:cxn ang="0">
                  <a:pos x="184" y="95"/>
                </a:cxn>
                <a:cxn ang="0">
                  <a:pos x="170" y="107"/>
                </a:cxn>
                <a:cxn ang="0">
                  <a:pos x="171" y="122"/>
                </a:cxn>
              </a:cxnLst>
              <a:rect l="0" t="0" r="r" b="b"/>
              <a:pathLst>
                <a:path w="241" h="191">
                  <a:moveTo>
                    <a:pt x="71" y="39"/>
                  </a:moveTo>
                  <a:lnTo>
                    <a:pt x="74" y="40"/>
                  </a:lnTo>
                  <a:lnTo>
                    <a:pt x="78" y="45"/>
                  </a:lnTo>
                  <a:lnTo>
                    <a:pt x="82" y="51"/>
                  </a:lnTo>
                  <a:lnTo>
                    <a:pt x="83" y="56"/>
                  </a:lnTo>
                  <a:lnTo>
                    <a:pt x="82" y="60"/>
                  </a:lnTo>
                  <a:lnTo>
                    <a:pt x="81" y="64"/>
                  </a:lnTo>
                  <a:lnTo>
                    <a:pt x="81" y="67"/>
                  </a:lnTo>
                  <a:lnTo>
                    <a:pt x="81" y="68"/>
                  </a:lnTo>
                  <a:lnTo>
                    <a:pt x="83" y="69"/>
                  </a:lnTo>
                  <a:lnTo>
                    <a:pt x="88" y="68"/>
                  </a:lnTo>
                  <a:lnTo>
                    <a:pt x="93" y="68"/>
                  </a:lnTo>
                  <a:lnTo>
                    <a:pt x="98" y="66"/>
                  </a:lnTo>
                  <a:lnTo>
                    <a:pt x="102" y="63"/>
                  </a:lnTo>
                  <a:lnTo>
                    <a:pt x="105" y="59"/>
                  </a:lnTo>
                  <a:lnTo>
                    <a:pt x="108" y="56"/>
                  </a:lnTo>
                  <a:lnTo>
                    <a:pt x="111" y="48"/>
                  </a:lnTo>
                  <a:lnTo>
                    <a:pt x="112" y="47"/>
                  </a:lnTo>
                  <a:lnTo>
                    <a:pt x="114" y="45"/>
                  </a:lnTo>
                  <a:lnTo>
                    <a:pt x="117" y="46"/>
                  </a:lnTo>
                  <a:lnTo>
                    <a:pt x="123" y="50"/>
                  </a:lnTo>
                  <a:lnTo>
                    <a:pt x="127" y="52"/>
                  </a:lnTo>
                  <a:lnTo>
                    <a:pt x="132" y="53"/>
                  </a:lnTo>
                  <a:lnTo>
                    <a:pt x="135" y="53"/>
                  </a:lnTo>
                  <a:lnTo>
                    <a:pt x="138" y="53"/>
                  </a:lnTo>
                  <a:lnTo>
                    <a:pt x="140" y="53"/>
                  </a:lnTo>
                  <a:lnTo>
                    <a:pt x="144" y="52"/>
                  </a:lnTo>
                  <a:lnTo>
                    <a:pt x="145" y="52"/>
                  </a:lnTo>
                  <a:lnTo>
                    <a:pt x="147" y="49"/>
                  </a:lnTo>
                  <a:lnTo>
                    <a:pt x="148" y="43"/>
                  </a:lnTo>
                  <a:lnTo>
                    <a:pt x="150" y="38"/>
                  </a:lnTo>
                  <a:lnTo>
                    <a:pt x="151" y="37"/>
                  </a:lnTo>
                  <a:lnTo>
                    <a:pt x="157" y="35"/>
                  </a:lnTo>
                  <a:lnTo>
                    <a:pt x="161" y="33"/>
                  </a:lnTo>
                  <a:lnTo>
                    <a:pt x="162" y="31"/>
                  </a:lnTo>
                  <a:lnTo>
                    <a:pt x="163" y="27"/>
                  </a:lnTo>
                  <a:lnTo>
                    <a:pt x="164" y="22"/>
                  </a:lnTo>
                  <a:lnTo>
                    <a:pt x="166" y="20"/>
                  </a:lnTo>
                  <a:lnTo>
                    <a:pt x="171" y="18"/>
                  </a:lnTo>
                  <a:lnTo>
                    <a:pt x="173" y="16"/>
                  </a:lnTo>
                  <a:lnTo>
                    <a:pt x="177" y="13"/>
                  </a:lnTo>
                  <a:lnTo>
                    <a:pt x="181" y="7"/>
                  </a:lnTo>
                  <a:lnTo>
                    <a:pt x="182" y="7"/>
                  </a:lnTo>
                  <a:lnTo>
                    <a:pt x="187" y="6"/>
                  </a:lnTo>
                  <a:lnTo>
                    <a:pt x="190" y="5"/>
                  </a:lnTo>
                  <a:lnTo>
                    <a:pt x="192" y="3"/>
                  </a:lnTo>
                  <a:lnTo>
                    <a:pt x="194" y="0"/>
                  </a:lnTo>
                  <a:lnTo>
                    <a:pt x="194" y="0"/>
                  </a:lnTo>
                  <a:lnTo>
                    <a:pt x="198" y="1"/>
                  </a:lnTo>
                  <a:lnTo>
                    <a:pt x="202" y="1"/>
                  </a:lnTo>
                  <a:lnTo>
                    <a:pt x="208" y="4"/>
                  </a:lnTo>
                  <a:lnTo>
                    <a:pt x="210" y="4"/>
                  </a:lnTo>
                  <a:lnTo>
                    <a:pt x="213" y="3"/>
                  </a:lnTo>
                  <a:lnTo>
                    <a:pt x="215" y="3"/>
                  </a:lnTo>
                  <a:lnTo>
                    <a:pt x="219" y="4"/>
                  </a:lnTo>
                  <a:lnTo>
                    <a:pt x="220" y="5"/>
                  </a:lnTo>
                  <a:lnTo>
                    <a:pt x="222" y="6"/>
                  </a:lnTo>
                  <a:lnTo>
                    <a:pt x="223" y="14"/>
                  </a:lnTo>
                  <a:lnTo>
                    <a:pt x="224" y="20"/>
                  </a:lnTo>
                  <a:lnTo>
                    <a:pt x="227" y="25"/>
                  </a:lnTo>
                  <a:lnTo>
                    <a:pt x="229" y="31"/>
                  </a:lnTo>
                  <a:lnTo>
                    <a:pt x="230" y="35"/>
                  </a:lnTo>
                  <a:lnTo>
                    <a:pt x="230" y="40"/>
                  </a:lnTo>
                  <a:lnTo>
                    <a:pt x="230" y="48"/>
                  </a:lnTo>
                  <a:lnTo>
                    <a:pt x="229" y="54"/>
                  </a:lnTo>
                  <a:lnTo>
                    <a:pt x="230" y="56"/>
                  </a:lnTo>
                  <a:lnTo>
                    <a:pt x="222" y="52"/>
                  </a:lnTo>
                  <a:lnTo>
                    <a:pt x="220" y="53"/>
                  </a:lnTo>
                  <a:lnTo>
                    <a:pt x="216" y="60"/>
                  </a:lnTo>
                  <a:lnTo>
                    <a:pt x="214" y="63"/>
                  </a:lnTo>
                  <a:lnTo>
                    <a:pt x="214" y="66"/>
                  </a:lnTo>
                  <a:lnTo>
                    <a:pt x="217" y="70"/>
                  </a:lnTo>
                  <a:lnTo>
                    <a:pt x="219" y="73"/>
                  </a:lnTo>
                  <a:lnTo>
                    <a:pt x="221" y="75"/>
                  </a:lnTo>
                  <a:lnTo>
                    <a:pt x="225" y="76"/>
                  </a:lnTo>
                  <a:lnTo>
                    <a:pt x="229" y="76"/>
                  </a:lnTo>
                  <a:lnTo>
                    <a:pt x="229" y="72"/>
                  </a:lnTo>
                  <a:lnTo>
                    <a:pt x="229" y="71"/>
                  </a:lnTo>
                  <a:lnTo>
                    <a:pt x="231" y="70"/>
                  </a:lnTo>
                  <a:lnTo>
                    <a:pt x="232" y="69"/>
                  </a:lnTo>
                  <a:lnTo>
                    <a:pt x="233" y="69"/>
                  </a:lnTo>
                  <a:lnTo>
                    <a:pt x="241" y="69"/>
                  </a:lnTo>
                  <a:lnTo>
                    <a:pt x="240" y="77"/>
                  </a:lnTo>
                  <a:lnTo>
                    <a:pt x="238" y="82"/>
                  </a:lnTo>
                  <a:lnTo>
                    <a:pt x="237" y="84"/>
                  </a:lnTo>
                  <a:lnTo>
                    <a:pt x="234" y="84"/>
                  </a:lnTo>
                  <a:lnTo>
                    <a:pt x="234" y="86"/>
                  </a:lnTo>
                  <a:lnTo>
                    <a:pt x="235" y="90"/>
                  </a:lnTo>
                  <a:lnTo>
                    <a:pt x="234" y="93"/>
                  </a:lnTo>
                  <a:lnTo>
                    <a:pt x="233" y="95"/>
                  </a:lnTo>
                  <a:lnTo>
                    <a:pt x="230" y="98"/>
                  </a:lnTo>
                  <a:lnTo>
                    <a:pt x="224" y="102"/>
                  </a:lnTo>
                  <a:lnTo>
                    <a:pt x="221" y="107"/>
                  </a:lnTo>
                  <a:lnTo>
                    <a:pt x="213" y="121"/>
                  </a:lnTo>
                  <a:lnTo>
                    <a:pt x="209" y="126"/>
                  </a:lnTo>
                  <a:lnTo>
                    <a:pt x="202" y="136"/>
                  </a:lnTo>
                  <a:lnTo>
                    <a:pt x="195" y="143"/>
                  </a:lnTo>
                  <a:lnTo>
                    <a:pt x="190" y="149"/>
                  </a:lnTo>
                  <a:lnTo>
                    <a:pt x="181" y="156"/>
                  </a:lnTo>
                  <a:lnTo>
                    <a:pt x="173" y="164"/>
                  </a:lnTo>
                  <a:lnTo>
                    <a:pt x="170" y="166"/>
                  </a:lnTo>
                  <a:lnTo>
                    <a:pt x="164" y="171"/>
                  </a:lnTo>
                  <a:lnTo>
                    <a:pt x="160" y="173"/>
                  </a:lnTo>
                  <a:lnTo>
                    <a:pt x="156" y="174"/>
                  </a:lnTo>
                  <a:lnTo>
                    <a:pt x="150" y="174"/>
                  </a:lnTo>
                  <a:lnTo>
                    <a:pt x="147" y="174"/>
                  </a:lnTo>
                  <a:lnTo>
                    <a:pt x="146" y="177"/>
                  </a:lnTo>
                  <a:lnTo>
                    <a:pt x="146" y="178"/>
                  </a:lnTo>
                  <a:lnTo>
                    <a:pt x="145" y="178"/>
                  </a:lnTo>
                  <a:lnTo>
                    <a:pt x="142" y="178"/>
                  </a:lnTo>
                  <a:lnTo>
                    <a:pt x="139" y="177"/>
                  </a:lnTo>
                  <a:lnTo>
                    <a:pt x="138" y="177"/>
                  </a:lnTo>
                  <a:lnTo>
                    <a:pt x="136" y="178"/>
                  </a:lnTo>
                  <a:lnTo>
                    <a:pt x="135" y="180"/>
                  </a:lnTo>
                  <a:lnTo>
                    <a:pt x="133" y="181"/>
                  </a:lnTo>
                  <a:lnTo>
                    <a:pt x="131" y="181"/>
                  </a:lnTo>
                  <a:lnTo>
                    <a:pt x="127" y="178"/>
                  </a:lnTo>
                  <a:lnTo>
                    <a:pt x="122" y="177"/>
                  </a:lnTo>
                  <a:lnTo>
                    <a:pt x="119" y="177"/>
                  </a:lnTo>
                  <a:lnTo>
                    <a:pt x="117" y="177"/>
                  </a:lnTo>
                  <a:lnTo>
                    <a:pt x="115" y="179"/>
                  </a:lnTo>
                  <a:lnTo>
                    <a:pt x="112" y="179"/>
                  </a:lnTo>
                  <a:lnTo>
                    <a:pt x="108" y="177"/>
                  </a:lnTo>
                  <a:lnTo>
                    <a:pt x="106" y="178"/>
                  </a:lnTo>
                  <a:lnTo>
                    <a:pt x="103" y="178"/>
                  </a:lnTo>
                  <a:lnTo>
                    <a:pt x="99" y="180"/>
                  </a:lnTo>
                  <a:lnTo>
                    <a:pt x="95" y="184"/>
                  </a:lnTo>
                  <a:lnTo>
                    <a:pt x="91" y="184"/>
                  </a:lnTo>
                  <a:lnTo>
                    <a:pt x="88" y="184"/>
                  </a:lnTo>
                  <a:lnTo>
                    <a:pt x="84" y="183"/>
                  </a:lnTo>
                  <a:lnTo>
                    <a:pt x="80" y="184"/>
                  </a:lnTo>
                  <a:lnTo>
                    <a:pt x="76" y="186"/>
                  </a:lnTo>
                  <a:lnTo>
                    <a:pt x="72" y="191"/>
                  </a:lnTo>
                  <a:lnTo>
                    <a:pt x="64" y="187"/>
                  </a:lnTo>
                  <a:lnTo>
                    <a:pt x="64" y="184"/>
                  </a:lnTo>
                  <a:lnTo>
                    <a:pt x="63" y="182"/>
                  </a:lnTo>
                  <a:lnTo>
                    <a:pt x="60" y="182"/>
                  </a:lnTo>
                  <a:lnTo>
                    <a:pt x="58" y="183"/>
                  </a:lnTo>
                  <a:lnTo>
                    <a:pt x="57" y="179"/>
                  </a:lnTo>
                  <a:lnTo>
                    <a:pt x="54" y="178"/>
                  </a:lnTo>
                  <a:lnTo>
                    <a:pt x="54" y="180"/>
                  </a:lnTo>
                  <a:lnTo>
                    <a:pt x="54" y="182"/>
                  </a:lnTo>
                  <a:lnTo>
                    <a:pt x="52" y="181"/>
                  </a:lnTo>
                  <a:lnTo>
                    <a:pt x="51" y="180"/>
                  </a:lnTo>
                  <a:lnTo>
                    <a:pt x="52" y="176"/>
                  </a:lnTo>
                  <a:lnTo>
                    <a:pt x="53" y="173"/>
                  </a:lnTo>
                  <a:lnTo>
                    <a:pt x="48" y="163"/>
                  </a:lnTo>
                  <a:lnTo>
                    <a:pt x="46" y="161"/>
                  </a:lnTo>
                  <a:lnTo>
                    <a:pt x="45" y="160"/>
                  </a:lnTo>
                  <a:lnTo>
                    <a:pt x="46" y="159"/>
                  </a:lnTo>
                  <a:lnTo>
                    <a:pt x="50" y="158"/>
                  </a:lnTo>
                  <a:lnTo>
                    <a:pt x="51" y="155"/>
                  </a:lnTo>
                  <a:lnTo>
                    <a:pt x="51" y="150"/>
                  </a:lnTo>
                  <a:lnTo>
                    <a:pt x="51" y="145"/>
                  </a:lnTo>
                  <a:lnTo>
                    <a:pt x="49" y="141"/>
                  </a:lnTo>
                  <a:lnTo>
                    <a:pt x="46" y="133"/>
                  </a:lnTo>
                  <a:lnTo>
                    <a:pt x="41" y="126"/>
                  </a:lnTo>
                  <a:lnTo>
                    <a:pt x="39" y="120"/>
                  </a:lnTo>
                  <a:lnTo>
                    <a:pt x="35" y="111"/>
                  </a:lnTo>
                  <a:lnTo>
                    <a:pt x="31" y="101"/>
                  </a:lnTo>
                  <a:lnTo>
                    <a:pt x="28" y="96"/>
                  </a:lnTo>
                  <a:lnTo>
                    <a:pt x="25" y="92"/>
                  </a:lnTo>
                  <a:lnTo>
                    <a:pt x="26" y="92"/>
                  </a:lnTo>
                  <a:lnTo>
                    <a:pt x="30" y="90"/>
                  </a:lnTo>
                  <a:lnTo>
                    <a:pt x="31" y="87"/>
                  </a:lnTo>
                  <a:lnTo>
                    <a:pt x="32" y="86"/>
                  </a:lnTo>
                  <a:lnTo>
                    <a:pt x="34" y="85"/>
                  </a:lnTo>
                  <a:lnTo>
                    <a:pt x="36" y="86"/>
                  </a:lnTo>
                  <a:lnTo>
                    <a:pt x="40" y="88"/>
                  </a:lnTo>
                  <a:lnTo>
                    <a:pt x="41" y="90"/>
                  </a:lnTo>
                  <a:lnTo>
                    <a:pt x="41" y="92"/>
                  </a:lnTo>
                  <a:lnTo>
                    <a:pt x="42" y="96"/>
                  </a:lnTo>
                  <a:lnTo>
                    <a:pt x="43" y="97"/>
                  </a:lnTo>
                  <a:lnTo>
                    <a:pt x="46" y="97"/>
                  </a:lnTo>
                  <a:lnTo>
                    <a:pt x="51" y="97"/>
                  </a:lnTo>
                  <a:lnTo>
                    <a:pt x="56" y="97"/>
                  </a:lnTo>
                  <a:lnTo>
                    <a:pt x="59" y="98"/>
                  </a:lnTo>
                  <a:lnTo>
                    <a:pt x="62" y="98"/>
                  </a:lnTo>
                  <a:lnTo>
                    <a:pt x="65" y="95"/>
                  </a:lnTo>
                  <a:lnTo>
                    <a:pt x="69" y="93"/>
                  </a:lnTo>
                  <a:lnTo>
                    <a:pt x="71" y="91"/>
                  </a:lnTo>
                  <a:lnTo>
                    <a:pt x="72" y="89"/>
                  </a:lnTo>
                  <a:lnTo>
                    <a:pt x="71" y="74"/>
                  </a:lnTo>
                  <a:lnTo>
                    <a:pt x="71" y="62"/>
                  </a:lnTo>
                  <a:lnTo>
                    <a:pt x="71" y="39"/>
                  </a:lnTo>
                  <a:close/>
                  <a:moveTo>
                    <a:pt x="2" y="8"/>
                  </a:moveTo>
                  <a:lnTo>
                    <a:pt x="5" y="8"/>
                  </a:lnTo>
                  <a:lnTo>
                    <a:pt x="5" y="13"/>
                  </a:lnTo>
                  <a:lnTo>
                    <a:pt x="5" y="17"/>
                  </a:lnTo>
                  <a:lnTo>
                    <a:pt x="1" y="18"/>
                  </a:lnTo>
                  <a:lnTo>
                    <a:pt x="0" y="15"/>
                  </a:lnTo>
                  <a:lnTo>
                    <a:pt x="0" y="13"/>
                  </a:lnTo>
                  <a:lnTo>
                    <a:pt x="1" y="11"/>
                  </a:lnTo>
                  <a:lnTo>
                    <a:pt x="2" y="8"/>
                  </a:lnTo>
                  <a:close/>
                  <a:moveTo>
                    <a:pt x="176" y="126"/>
                  </a:moveTo>
                  <a:lnTo>
                    <a:pt x="178" y="126"/>
                  </a:lnTo>
                  <a:lnTo>
                    <a:pt x="179" y="122"/>
                  </a:lnTo>
                  <a:lnTo>
                    <a:pt x="183" y="120"/>
                  </a:lnTo>
                  <a:lnTo>
                    <a:pt x="189" y="117"/>
                  </a:lnTo>
                  <a:lnTo>
                    <a:pt x="191" y="116"/>
                  </a:lnTo>
                  <a:lnTo>
                    <a:pt x="194" y="109"/>
                  </a:lnTo>
                  <a:lnTo>
                    <a:pt x="196" y="107"/>
                  </a:lnTo>
                  <a:lnTo>
                    <a:pt x="196" y="105"/>
                  </a:lnTo>
                  <a:lnTo>
                    <a:pt x="196" y="104"/>
                  </a:lnTo>
                  <a:lnTo>
                    <a:pt x="190" y="99"/>
                  </a:lnTo>
                  <a:lnTo>
                    <a:pt x="188" y="97"/>
                  </a:lnTo>
                  <a:lnTo>
                    <a:pt x="186" y="95"/>
                  </a:lnTo>
                  <a:lnTo>
                    <a:pt x="184" y="95"/>
                  </a:lnTo>
                  <a:lnTo>
                    <a:pt x="178" y="98"/>
                  </a:lnTo>
                  <a:lnTo>
                    <a:pt x="174" y="100"/>
                  </a:lnTo>
                  <a:lnTo>
                    <a:pt x="171" y="104"/>
                  </a:lnTo>
                  <a:lnTo>
                    <a:pt x="170" y="107"/>
                  </a:lnTo>
                  <a:lnTo>
                    <a:pt x="166" y="111"/>
                  </a:lnTo>
                  <a:lnTo>
                    <a:pt x="166" y="114"/>
                  </a:lnTo>
                  <a:lnTo>
                    <a:pt x="170" y="120"/>
                  </a:lnTo>
                  <a:lnTo>
                    <a:pt x="171" y="122"/>
                  </a:lnTo>
                  <a:lnTo>
                    <a:pt x="176" y="1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1" name="Freeform 143">
              <a:extLst>
                <a:ext uri="{FF2B5EF4-FFF2-40B4-BE49-F238E27FC236}">
                  <a16:creationId xmlns:a16="http://schemas.microsoft.com/office/drawing/2014/main" id="{3DEB3CB2-B5AA-6561-5F94-5E0B4BE5ECF3}"/>
                </a:ext>
              </a:extLst>
            </p:cNvPr>
            <p:cNvSpPr>
              <a:spLocks/>
            </p:cNvSpPr>
            <p:nvPr/>
          </p:nvSpPr>
          <p:spPr bwMode="auto">
            <a:xfrm>
              <a:off x="5913021" y="5456238"/>
              <a:ext cx="219075" cy="363538"/>
            </a:xfrm>
            <a:custGeom>
              <a:avLst/>
              <a:gdLst/>
              <a:ahLst/>
              <a:cxnLst>
                <a:cxn ang="0">
                  <a:pos x="24" y="229"/>
                </a:cxn>
                <a:cxn ang="0">
                  <a:pos x="23" y="218"/>
                </a:cxn>
                <a:cxn ang="0">
                  <a:pos x="22" y="208"/>
                </a:cxn>
                <a:cxn ang="0">
                  <a:pos x="21" y="191"/>
                </a:cxn>
                <a:cxn ang="0">
                  <a:pos x="15" y="174"/>
                </a:cxn>
                <a:cxn ang="0">
                  <a:pos x="15" y="163"/>
                </a:cxn>
                <a:cxn ang="0">
                  <a:pos x="28" y="148"/>
                </a:cxn>
                <a:cxn ang="0">
                  <a:pos x="29" y="137"/>
                </a:cxn>
                <a:cxn ang="0">
                  <a:pos x="36" y="128"/>
                </a:cxn>
                <a:cxn ang="0">
                  <a:pos x="31" y="115"/>
                </a:cxn>
                <a:cxn ang="0">
                  <a:pos x="36" y="107"/>
                </a:cxn>
                <a:cxn ang="0">
                  <a:pos x="34" y="90"/>
                </a:cxn>
                <a:cxn ang="0">
                  <a:pos x="27" y="82"/>
                </a:cxn>
                <a:cxn ang="0">
                  <a:pos x="11" y="75"/>
                </a:cxn>
                <a:cxn ang="0">
                  <a:pos x="1" y="71"/>
                </a:cxn>
                <a:cxn ang="0">
                  <a:pos x="0" y="65"/>
                </a:cxn>
                <a:cxn ang="0">
                  <a:pos x="14" y="57"/>
                </a:cxn>
                <a:cxn ang="0">
                  <a:pos x="36" y="48"/>
                </a:cxn>
                <a:cxn ang="0">
                  <a:pos x="42" y="54"/>
                </a:cxn>
                <a:cxn ang="0">
                  <a:pos x="51" y="54"/>
                </a:cxn>
                <a:cxn ang="0">
                  <a:pos x="55" y="63"/>
                </a:cxn>
                <a:cxn ang="0">
                  <a:pos x="51" y="73"/>
                </a:cxn>
                <a:cxn ang="0">
                  <a:pos x="55" y="80"/>
                </a:cxn>
                <a:cxn ang="0">
                  <a:pos x="64" y="90"/>
                </a:cxn>
                <a:cxn ang="0">
                  <a:pos x="64" y="82"/>
                </a:cxn>
                <a:cxn ang="0">
                  <a:pos x="68" y="77"/>
                </a:cxn>
                <a:cxn ang="0">
                  <a:pos x="72" y="73"/>
                </a:cxn>
                <a:cxn ang="0">
                  <a:pos x="69" y="52"/>
                </a:cxn>
                <a:cxn ang="0">
                  <a:pos x="56" y="40"/>
                </a:cxn>
                <a:cxn ang="0">
                  <a:pos x="53" y="25"/>
                </a:cxn>
                <a:cxn ang="0">
                  <a:pos x="60" y="16"/>
                </a:cxn>
                <a:cxn ang="0">
                  <a:pos x="73" y="14"/>
                </a:cxn>
                <a:cxn ang="0">
                  <a:pos x="77" y="16"/>
                </a:cxn>
                <a:cxn ang="0">
                  <a:pos x="91" y="17"/>
                </a:cxn>
                <a:cxn ang="0">
                  <a:pos x="99" y="12"/>
                </a:cxn>
                <a:cxn ang="0">
                  <a:pos x="106" y="13"/>
                </a:cxn>
                <a:cxn ang="0">
                  <a:pos x="123" y="7"/>
                </a:cxn>
                <a:cxn ang="0">
                  <a:pos x="133" y="1"/>
                </a:cxn>
                <a:cxn ang="0">
                  <a:pos x="132" y="10"/>
                </a:cxn>
                <a:cxn ang="0">
                  <a:pos x="132" y="19"/>
                </a:cxn>
                <a:cxn ang="0">
                  <a:pos x="133" y="32"/>
                </a:cxn>
                <a:cxn ang="0">
                  <a:pos x="134" y="41"/>
                </a:cxn>
                <a:cxn ang="0">
                  <a:pos x="135" y="54"/>
                </a:cxn>
                <a:cxn ang="0">
                  <a:pos x="138" y="57"/>
                </a:cxn>
                <a:cxn ang="0">
                  <a:pos x="134" y="66"/>
                </a:cxn>
                <a:cxn ang="0">
                  <a:pos x="127" y="76"/>
                </a:cxn>
                <a:cxn ang="0">
                  <a:pos x="111" y="89"/>
                </a:cxn>
                <a:cxn ang="0">
                  <a:pos x="91" y="98"/>
                </a:cxn>
                <a:cxn ang="0">
                  <a:pos x="73" y="116"/>
                </a:cxn>
                <a:cxn ang="0">
                  <a:pos x="57" y="128"/>
                </a:cxn>
                <a:cxn ang="0">
                  <a:pos x="57" y="137"/>
                </a:cxn>
                <a:cxn ang="0">
                  <a:pos x="62" y="146"/>
                </a:cxn>
                <a:cxn ang="0">
                  <a:pos x="64" y="160"/>
                </a:cxn>
                <a:cxn ang="0">
                  <a:pos x="67" y="161"/>
                </a:cxn>
                <a:cxn ang="0">
                  <a:pos x="67" y="178"/>
                </a:cxn>
                <a:cxn ang="0">
                  <a:pos x="68" y="185"/>
                </a:cxn>
                <a:cxn ang="0">
                  <a:pos x="64" y="193"/>
                </a:cxn>
                <a:cxn ang="0">
                  <a:pos x="48" y="201"/>
                </a:cxn>
                <a:cxn ang="0">
                  <a:pos x="34" y="208"/>
                </a:cxn>
                <a:cxn ang="0">
                  <a:pos x="30" y="218"/>
                </a:cxn>
                <a:cxn ang="0">
                  <a:pos x="33" y="229"/>
                </a:cxn>
              </a:cxnLst>
              <a:rect l="0" t="0" r="r" b="b"/>
              <a:pathLst>
                <a:path w="138" h="229">
                  <a:moveTo>
                    <a:pt x="33" y="229"/>
                  </a:moveTo>
                  <a:lnTo>
                    <a:pt x="25" y="229"/>
                  </a:lnTo>
                  <a:lnTo>
                    <a:pt x="24" y="229"/>
                  </a:lnTo>
                  <a:lnTo>
                    <a:pt x="24" y="227"/>
                  </a:lnTo>
                  <a:lnTo>
                    <a:pt x="22" y="221"/>
                  </a:lnTo>
                  <a:lnTo>
                    <a:pt x="23" y="218"/>
                  </a:lnTo>
                  <a:lnTo>
                    <a:pt x="22" y="216"/>
                  </a:lnTo>
                  <a:lnTo>
                    <a:pt x="21" y="214"/>
                  </a:lnTo>
                  <a:lnTo>
                    <a:pt x="22" y="208"/>
                  </a:lnTo>
                  <a:lnTo>
                    <a:pt x="22" y="200"/>
                  </a:lnTo>
                  <a:lnTo>
                    <a:pt x="22" y="195"/>
                  </a:lnTo>
                  <a:lnTo>
                    <a:pt x="21" y="191"/>
                  </a:lnTo>
                  <a:lnTo>
                    <a:pt x="19" y="185"/>
                  </a:lnTo>
                  <a:lnTo>
                    <a:pt x="16" y="180"/>
                  </a:lnTo>
                  <a:lnTo>
                    <a:pt x="15" y="174"/>
                  </a:lnTo>
                  <a:lnTo>
                    <a:pt x="14" y="166"/>
                  </a:lnTo>
                  <a:lnTo>
                    <a:pt x="12" y="165"/>
                  </a:lnTo>
                  <a:lnTo>
                    <a:pt x="15" y="163"/>
                  </a:lnTo>
                  <a:lnTo>
                    <a:pt x="18" y="160"/>
                  </a:lnTo>
                  <a:lnTo>
                    <a:pt x="27" y="149"/>
                  </a:lnTo>
                  <a:lnTo>
                    <a:pt x="28" y="148"/>
                  </a:lnTo>
                  <a:lnTo>
                    <a:pt x="27" y="146"/>
                  </a:lnTo>
                  <a:lnTo>
                    <a:pt x="28" y="140"/>
                  </a:lnTo>
                  <a:lnTo>
                    <a:pt x="29" y="137"/>
                  </a:lnTo>
                  <a:lnTo>
                    <a:pt x="34" y="133"/>
                  </a:lnTo>
                  <a:lnTo>
                    <a:pt x="35" y="131"/>
                  </a:lnTo>
                  <a:lnTo>
                    <a:pt x="36" y="128"/>
                  </a:lnTo>
                  <a:lnTo>
                    <a:pt x="32" y="123"/>
                  </a:lnTo>
                  <a:lnTo>
                    <a:pt x="32" y="118"/>
                  </a:lnTo>
                  <a:lnTo>
                    <a:pt x="31" y="115"/>
                  </a:lnTo>
                  <a:lnTo>
                    <a:pt x="32" y="113"/>
                  </a:lnTo>
                  <a:lnTo>
                    <a:pt x="34" y="110"/>
                  </a:lnTo>
                  <a:lnTo>
                    <a:pt x="36" y="107"/>
                  </a:lnTo>
                  <a:lnTo>
                    <a:pt x="35" y="102"/>
                  </a:lnTo>
                  <a:lnTo>
                    <a:pt x="34" y="95"/>
                  </a:lnTo>
                  <a:lnTo>
                    <a:pt x="34" y="90"/>
                  </a:lnTo>
                  <a:lnTo>
                    <a:pt x="33" y="85"/>
                  </a:lnTo>
                  <a:lnTo>
                    <a:pt x="30" y="83"/>
                  </a:lnTo>
                  <a:lnTo>
                    <a:pt x="27" y="82"/>
                  </a:lnTo>
                  <a:lnTo>
                    <a:pt x="21" y="79"/>
                  </a:lnTo>
                  <a:lnTo>
                    <a:pt x="14" y="77"/>
                  </a:lnTo>
                  <a:lnTo>
                    <a:pt x="11" y="75"/>
                  </a:lnTo>
                  <a:lnTo>
                    <a:pt x="2" y="75"/>
                  </a:lnTo>
                  <a:lnTo>
                    <a:pt x="1" y="74"/>
                  </a:lnTo>
                  <a:lnTo>
                    <a:pt x="1" y="71"/>
                  </a:lnTo>
                  <a:lnTo>
                    <a:pt x="1" y="70"/>
                  </a:lnTo>
                  <a:lnTo>
                    <a:pt x="0" y="67"/>
                  </a:lnTo>
                  <a:lnTo>
                    <a:pt x="0" y="65"/>
                  </a:lnTo>
                  <a:lnTo>
                    <a:pt x="0" y="62"/>
                  </a:lnTo>
                  <a:lnTo>
                    <a:pt x="1" y="61"/>
                  </a:lnTo>
                  <a:lnTo>
                    <a:pt x="14" y="57"/>
                  </a:lnTo>
                  <a:lnTo>
                    <a:pt x="19" y="55"/>
                  </a:lnTo>
                  <a:lnTo>
                    <a:pt x="29" y="51"/>
                  </a:lnTo>
                  <a:lnTo>
                    <a:pt x="36" y="48"/>
                  </a:lnTo>
                  <a:lnTo>
                    <a:pt x="38" y="48"/>
                  </a:lnTo>
                  <a:lnTo>
                    <a:pt x="40" y="52"/>
                  </a:lnTo>
                  <a:lnTo>
                    <a:pt x="42" y="54"/>
                  </a:lnTo>
                  <a:lnTo>
                    <a:pt x="44" y="55"/>
                  </a:lnTo>
                  <a:lnTo>
                    <a:pt x="48" y="55"/>
                  </a:lnTo>
                  <a:lnTo>
                    <a:pt x="51" y="54"/>
                  </a:lnTo>
                  <a:lnTo>
                    <a:pt x="53" y="55"/>
                  </a:lnTo>
                  <a:lnTo>
                    <a:pt x="54" y="58"/>
                  </a:lnTo>
                  <a:lnTo>
                    <a:pt x="55" y="63"/>
                  </a:lnTo>
                  <a:lnTo>
                    <a:pt x="55" y="68"/>
                  </a:lnTo>
                  <a:lnTo>
                    <a:pt x="54" y="69"/>
                  </a:lnTo>
                  <a:lnTo>
                    <a:pt x="51" y="73"/>
                  </a:lnTo>
                  <a:lnTo>
                    <a:pt x="51" y="74"/>
                  </a:lnTo>
                  <a:lnTo>
                    <a:pt x="52" y="77"/>
                  </a:lnTo>
                  <a:lnTo>
                    <a:pt x="55" y="80"/>
                  </a:lnTo>
                  <a:lnTo>
                    <a:pt x="60" y="87"/>
                  </a:lnTo>
                  <a:lnTo>
                    <a:pt x="63" y="89"/>
                  </a:lnTo>
                  <a:lnTo>
                    <a:pt x="64" y="90"/>
                  </a:lnTo>
                  <a:lnTo>
                    <a:pt x="65" y="89"/>
                  </a:lnTo>
                  <a:lnTo>
                    <a:pt x="65" y="86"/>
                  </a:lnTo>
                  <a:lnTo>
                    <a:pt x="64" y="82"/>
                  </a:lnTo>
                  <a:lnTo>
                    <a:pt x="65" y="79"/>
                  </a:lnTo>
                  <a:lnTo>
                    <a:pt x="66" y="77"/>
                  </a:lnTo>
                  <a:lnTo>
                    <a:pt x="68" y="77"/>
                  </a:lnTo>
                  <a:lnTo>
                    <a:pt x="70" y="77"/>
                  </a:lnTo>
                  <a:lnTo>
                    <a:pt x="71" y="76"/>
                  </a:lnTo>
                  <a:lnTo>
                    <a:pt x="72" y="73"/>
                  </a:lnTo>
                  <a:lnTo>
                    <a:pt x="72" y="59"/>
                  </a:lnTo>
                  <a:lnTo>
                    <a:pt x="72" y="56"/>
                  </a:lnTo>
                  <a:lnTo>
                    <a:pt x="69" y="52"/>
                  </a:lnTo>
                  <a:lnTo>
                    <a:pt x="62" y="45"/>
                  </a:lnTo>
                  <a:lnTo>
                    <a:pt x="57" y="41"/>
                  </a:lnTo>
                  <a:lnTo>
                    <a:pt x="56" y="40"/>
                  </a:lnTo>
                  <a:lnTo>
                    <a:pt x="55" y="37"/>
                  </a:lnTo>
                  <a:lnTo>
                    <a:pt x="54" y="31"/>
                  </a:lnTo>
                  <a:lnTo>
                    <a:pt x="53" y="25"/>
                  </a:lnTo>
                  <a:lnTo>
                    <a:pt x="53" y="22"/>
                  </a:lnTo>
                  <a:lnTo>
                    <a:pt x="54" y="15"/>
                  </a:lnTo>
                  <a:lnTo>
                    <a:pt x="60" y="16"/>
                  </a:lnTo>
                  <a:lnTo>
                    <a:pt x="66" y="16"/>
                  </a:lnTo>
                  <a:lnTo>
                    <a:pt x="69" y="16"/>
                  </a:lnTo>
                  <a:lnTo>
                    <a:pt x="73" y="14"/>
                  </a:lnTo>
                  <a:lnTo>
                    <a:pt x="74" y="13"/>
                  </a:lnTo>
                  <a:lnTo>
                    <a:pt x="75" y="13"/>
                  </a:lnTo>
                  <a:lnTo>
                    <a:pt x="77" y="16"/>
                  </a:lnTo>
                  <a:lnTo>
                    <a:pt x="80" y="17"/>
                  </a:lnTo>
                  <a:lnTo>
                    <a:pt x="85" y="17"/>
                  </a:lnTo>
                  <a:lnTo>
                    <a:pt x="91" y="17"/>
                  </a:lnTo>
                  <a:lnTo>
                    <a:pt x="93" y="18"/>
                  </a:lnTo>
                  <a:lnTo>
                    <a:pt x="96" y="17"/>
                  </a:lnTo>
                  <a:lnTo>
                    <a:pt x="99" y="12"/>
                  </a:lnTo>
                  <a:lnTo>
                    <a:pt x="100" y="10"/>
                  </a:lnTo>
                  <a:lnTo>
                    <a:pt x="102" y="11"/>
                  </a:lnTo>
                  <a:lnTo>
                    <a:pt x="106" y="13"/>
                  </a:lnTo>
                  <a:lnTo>
                    <a:pt x="108" y="13"/>
                  </a:lnTo>
                  <a:lnTo>
                    <a:pt x="116" y="10"/>
                  </a:lnTo>
                  <a:lnTo>
                    <a:pt x="123" y="7"/>
                  </a:lnTo>
                  <a:lnTo>
                    <a:pt x="126" y="5"/>
                  </a:lnTo>
                  <a:lnTo>
                    <a:pt x="132" y="0"/>
                  </a:lnTo>
                  <a:lnTo>
                    <a:pt x="133" y="1"/>
                  </a:lnTo>
                  <a:lnTo>
                    <a:pt x="135" y="4"/>
                  </a:lnTo>
                  <a:lnTo>
                    <a:pt x="134" y="8"/>
                  </a:lnTo>
                  <a:lnTo>
                    <a:pt x="132" y="10"/>
                  </a:lnTo>
                  <a:lnTo>
                    <a:pt x="131" y="12"/>
                  </a:lnTo>
                  <a:lnTo>
                    <a:pt x="132" y="14"/>
                  </a:lnTo>
                  <a:lnTo>
                    <a:pt x="132" y="19"/>
                  </a:lnTo>
                  <a:lnTo>
                    <a:pt x="132" y="22"/>
                  </a:lnTo>
                  <a:lnTo>
                    <a:pt x="134" y="28"/>
                  </a:lnTo>
                  <a:lnTo>
                    <a:pt x="133" y="32"/>
                  </a:lnTo>
                  <a:lnTo>
                    <a:pt x="131" y="34"/>
                  </a:lnTo>
                  <a:lnTo>
                    <a:pt x="134" y="38"/>
                  </a:lnTo>
                  <a:lnTo>
                    <a:pt x="134" y="41"/>
                  </a:lnTo>
                  <a:lnTo>
                    <a:pt x="134" y="48"/>
                  </a:lnTo>
                  <a:lnTo>
                    <a:pt x="134" y="53"/>
                  </a:lnTo>
                  <a:lnTo>
                    <a:pt x="135" y="54"/>
                  </a:lnTo>
                  <a:lnTo>
                    <a:pt x="136" y="55"/>
                  </a:lnTo>
                  <a:lnTo>
                    <a:pt x="138" y="55"/>
                  </a:lnTo>
                  <a:lnTo>
                    <a:pt x="138" y="57"/>
                  </a:lnTo>
                  <a:lnTo>
                    <a:pt x="137" y="60"/>
                  </a:lnTo>
                  <a:lnTo>
                    <a:pt x="134" y="64"/>
                  </a:lnTo>
                  <a:lnTo>
                    <a:pt x="134" y="66"/>
                  </a:lnTo>
                  <a:lnTo>
                    <a:pt x="134" y="67"/>
                  </a:lnTo>
                  <a:lnTo>
                    <a:pt x="132" y="71"/>
                  </a:lnTo>
                  <a:lnTo>
                    <a:pt x="127" y="76"/>
                  </a:lnTo>
                  <a:lnTo>
                    <a:pt x="124" y="80"/>
                  </a:lnTo>
                  <a:lnTo>
                    <a:pt x="120" y="84"/>
                  </a:lnTo>
                  <a:lnTo>
                    <a:pt x="111" y="89"/>
                  </a:lnTo>
                  <a:lnTo>
                    <a:pt x="103" y="93"/>
                  </a:lnTo>
                  <a:lnTo>
                    <a:pt x="99" y="94"/>
                  </a:lnTo>
                  <a:lnTo>
                    <a:pt x="91" y="98"/>
                  </a:lnTo>
                  <a:lnTo>
                    <a:pt x="86" y="102"/>
                  </a:lnTo>
                  <a:lnTo>
                    <a:pt x="78" y="111"/>
                  </a:lnTo>
                  <a:lnTo>
                    <a:pt x="73" y="116"/>
                  </a:lnTo>
                  <a:lnTo>
                    <a:pt x="66" y="122"/>
                  </a:lnTo>
                  <a:lnTo>
                    <a:pt x="59" y="127"/>
                  </a:lnTo>
                  <a:lnTo>
                    <a:pt x="57" y="128"/>
                  </a:lnTo>
                  <a:lnTo>
                    <a:pt x="57" y="134"/>
                  </a:lnTo>
                  <a:lnTo>
                    <a:pt x="57" y="137"/>
                  </a:lnTo>
                  <a:lnTo>
                    <a:pt x="57" y="137"/>
                  </a:lnTo>
                  <a:lnTo>
                    <a:pt x="62" y="141"/>
                  </a:lnTo>
                  <a:lnTo>
                    <a:pt x="63" y="143"/>
                  </a:lnTo>
                  <a:lnTo>
                    <a:pt x="62" y="146"/>
                  </a:lnTo>
                  <a:lnTo>
                    <a:pt x="61" y="147"/>
                  </a:lnTo>
                  <a:lnTo>
                    <a:pt x="64" y="157"/>
                  </a:lnTo>
                  <a:lnTo>
                    <a:pt x="64" y="160"/>
                  </a:lnTo>
                  <a:lnTo>
                    <a:pt x="65" y="161"/>
                  </a:lnTo>
                  <a:lnTo>
                    <a:pt x="66" y="161"/>
                  </a:lnTo>
                  <a:lnTo>
                    <a:pt x="67" y="161"/>
                  </a:lnTo>
                  <a:lnTo>
                    <a:pt x="68" y="160"/>
                  </a:lnTo>
                  <a:lnTo>
                    <a:pt x="68" y="164"/>
                  </a:lnTo>
                  <a:lnTo>
                    <a:pt x="67" y="178"/>
                  </a:lnTo>
                  <a:lnTo>
                    <a:pt x="65" y="183"/>
                  </a:lnTo>
                  <a:lnTo>
                    <a:pt x="67" y="185"/>
                  </a:lnTo>
                  <a:lnTo>
                    <a:pt x="68" y="185"/>
                  </a:lnTo>
                  <a:lnTo>
                    <a:pt x="68" y="187"/>
                  </a:lnTo>
                  <a:lnTo>
                    <a:pt x="67" y="189"/>
                  </a:lnTo>
                  <a:lnTo>
                    <a:pt x="64" y="193"/>
                  </a:lnTo>
                  <a:lnTo>
                    <a:pt x="60" y="196"/>
                  </a:lnTo>
                  <a:lnTo>
                    <a:pt x="56" y="199"/>
                  </a:lnTo>
                  <a:lnTo>
                    <a:pt x="48" y="201"/>
                  </a:lnTo>
                  <a:lnTo>
                    <a:pt x="44" y="203"/>
                  </a:lnTo>
                  <a:lnTo>
                    <a:pt x="39" y="205"/>
                  </a:lnTo>
                  <a:lnTo>
                    <a:pt x="34" y="208"/>
                  </a:lnTo>
                  <a:lnTo>
                    <a:pt x="30" y="212"/>
                  </a:lnTo>
                  <a:lnTo>
                    <a:pt x="29" y="216"/>
                  </a:lnTo>
                  <a:lnTo>
                    <a:pt x="30" y="218"/>
                  </a:lnTo>
                  <a:lnTo>
                    <a:pt x="34" y="220"/>
                  </a:lnTo>
                  <a:lnTo>
                    <a:pt x="34" y="222"/>
                  </a:lnTo>
                  <a:lnTo>
                    <a:pt x="33" y="22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2" name="Freeform 144">
              <a:extLst>
                <a:ext uri="{FF2B5EF4-FFF2-40B4-BE49-F238E27FC236}">
                  <a16:creationId xmlns:a16="http://schemas.microsoft.com/office/drawing/2014/main" id="{1150A28D-94EA-91FB-0F2B-6FAA961E9CF1}"/>
                </a:ext>
              </a:extLst>
            </p:cNvPr>
            <p:cNvSpPr>
              <a:spLocks/>
            </p:cNvSpPr>
            <p:nvPr/>
          </p:nvSpPr>
          <p:spPr bwMode="auto">
            <a:xfrm>
              <a:off x="5846346" y="5861050"/>
              <a:ext cx="47625" cy="49213"/>
            </a:xfrm>
            <a:custGeom>
              <a:avLst/>
              <a:gdLst/>
              <a:ahLst/>
              <a:cxnLst>
                <a:cxn ang="0">
                  <a:pos x="10" y="31"/>
                </a:cxn>
                <a:cxn ang="0">
                  <a:pos x="5" y="27"/>
                </a:cxn>
                <a:cxn ang="0">
                  <a:pos x="4" y="25"/>
                </a:cxn>
                <a:cxn ang="0">
                  <a:pos x="0" y="19"/>
                </a:cxn>
                <a:cxn ang="0">
                  <a:pos x="0" y="16"/>
                </a:cxn>
                <a:cxn ang="0">
                  <a:pos x="4" y="12"/>
                </a:cxn>
                <a:cxn ang="0">
                  <a:pos x="5" y="9"/>
                </a:cxn>
                <a:cxn ang="0">
                  <a:pos x="8" y="5"/>
                </a:cxn>
                <a:cxn ang="0">
                  <a:pos x="12" y="3"/>
                </a:cxn>
                <a:cxn ang="0">
                  <a:pos x="18" y="0"/>
                </a:cxn>
                <a:cxn ang="0">
                  <a:pos x="20" y="0"/>
                </a:cxn>
                <a:cxn ang="0">
                  <a:pos x="22" y="2"/>
                </a:cxn>
                <a:cxn ang="0">
                  <a:pos x="24" y="4"/>
                </a:cxn>
                <a:cxn ang="0">
                  <a:pos x="30" y="9"/>
                </a:cxn>
                <a:cxn ang="0">
                  <a:pos x="30" y="10"/>
                </a:cxn>
                <a:cxn ang="0">
                  <a:pos x="30" y="12"/>
                </a:cxn>
                <a:cxn ang="0">
                  <a:pos x="28" y="14"/>
                </a:cxn>
                <a:cxn ang="0">
                  <a:pos x="25" y="21"/>
                </a:cxn>
                <a:cxn ang="0">
                  <a:pos x="23" y="22"/>
                </a:cxn>
                <a:cxn ang="0">
                  <a:pos x="17" y="25"/>
                </a:cxn>
                <a:cxn ang="0">
                  <a:pos x="13" y="27"/>
                </a:cxn>
                <a:cxn ang="0">
                  <a:pos x="12" y="31"/>
                </a:cxn>
                <a:cxn ang="0">
                  <a:pos x="10" y="31"/>
                </a:cxn>
              </a:cxnLst>
              <a:rect l="0" t="0" r="r" b="b"/>
              <a:pathLst>
                <a:path w="30" h="31">
                  <a:moveTo>
                    <a:pt x="10" y="31"/>
                  </a:moveTo>
                  <a:lnTo>
                    <a:pt x="5" y="27"/>
                  </a:lnTo>
                  <a:lnTo>
                    <a:pt x="4" y="25"/>
                  </a:lnTo>
                  <a:lnTo>
                    <a:pt x="0" y="19"/>
                  </a:lnTo>
                  <a:lnTo>
                    <a:pt x="0" y="16"/>
                  </a:lnTo>
                  <a:lnTo>
                    <a:pt x="4" y="12"/>
                  </a:lnTo>
                  <a:lnTo>
                    <a:pt x="5" y="9"/>
                  </a:lnTo>
                  <a:lnTo>
                    <a:pt x="8" y="5"/>
                  </a:lnTo>
                  <a:lnTo>
                    <a:pt x="12" y="3"/>
                  </a:lnTo>
                  <a:lnTo>
                    <a:pt x="18" y="0"/>
                  </a:lnTo>
                  <a:lnTo>
                    <a:pt x="20" y="0"/>
                  </a:lnTo>
                  <a:lnTo>
                    <a:pt x="22" y="2"/>
                  </a:lnTo>
                  <a:lnTo>
                    <a:pt x="24" y="4"/>
                  </a:lnTo>
                  <a:lnTo>
                    <a:pt x="30" y="9"/>
                  </a:lnTo>
                  <a:lnTo>
                    <a:pt x="30" y="10"/>
                  </a:lnTo>
                  <a:lnTo>
                    <a:pt x="30" y="12"/>
                  </a:lnTo>
                  <a:lnTo>
                    <a:pt x="28" y="14"/>
                  </a:lnTo>
                  <a:lnTo>
                    <a:pt x="25" y="21"/>
                  </a:lnTo>
                  <a:lnTo>
                    <a:pt x="23" y="22"/>
                  </a:lnTo>
                  <a:lnTo>
                    <a:pt x="17" y="25"/>
                  </a:lnTo>
                  <a:lnTo>
                    <a:pt x="13" y="27"/>
                  </a:lnTo>
                  <a:lnTo>
                    <a:pt x="12" y="31"/>
                  </a:lnTo>
                  <a:lnTo>
                    <a:pt x="10" y="3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3" name="Freeform 145">
              <a:extLst>
                <a:ext uri="{FF2B5EF4-FFF2-40B4-BE49-F238E27FC236}">
                  <a16:creationId xmlns:a16="http://schemas.microsoft.com/office/drawing/2014/main" id="{E61938F0-9A7D-BA2A-3815-3054FC827626}"/>
                </a:ext>
              </a:extLst>
            </p:cNvPr>
            <p:cNvSpPr>
              <a:spLocks/>
            </p:cNvSpPr>
            <p:nvPr/>
          </p:nvSpPr>
          <p:spPr bwMode="auto">
            <a:xfrm>
              <a:off x="5922546" y="5792788"/>
              <a:ext cx="28575" cy="38100"/>
            </a:xfrm>
            <a:custGeom>
              <a:avLst/>
              <a:gdLst/>
              <a:ahLst/>
              <a:cxnLst>
                <a:cxn ang="0">
                  <a:pos x="16" y="4"/>
                </a:cxn>
                <a:cxn ang="0">
                  <a:pos x="17" y="6"/>
                </a:cxn>
                <a:cxn ang="0">
                  <a:pos x="16" y="9"/>
                </a:cxn>
                <a:cxn ang="0">
                  <a:pos x="18" y="15"/>
                </a:cxn>
                <a:cxn ang="0">
                  <a:pos x="18" y="17"/>
                </a:cxn>
                <a:cxn ang="0">
                  <a:pos x="17" y="18"/>
                </a:cxn>
                <a:cxn ang="0">
                  <a:pos x="15" y="19"/>
                </a:cxn>
                <a:cxn ang="0">
                  <a:pos x="15" y="20"/>
                </a:cxn>
                <a:cxn ang="0">
                  <a:pos x="15" y="24"/>
                </a:cxn>
                <a:cxn ang="0">
                  <a:pos x="11" y="24"/>
                </a:cxn>
                <a:cxn ang="0">
                  <a:pos x="7" y="23"/>
                </a:cxn>
                <a:cxn ang="0">
                  <a:pos x="5" y="21"/>
                </a:cxn>
                <a:cxn ang="0">
                  <a:pos x="3" y="18"/>
                </a:cxn>
                <a:cxn ang="0">
                  <a:pos x="0" y="14"/>
                </a:cxn>
                <a:cxn ang="0">
                  <a:pos x="0" y="11"/>
                </a:cxn>
                <a:cxn ang="0">
                  <a:pos x="2" y="8"/>
                </a:cxn>
                <a:cxn ang="0">
                  <a:pos x="6" y="1"/>
                </a:cxn>
                <a:cxn ang="0">
                  <a:pos x="8" y="0"/>
                </a:cxn>
                <a:cxn ang="0">
                  <a:pos x="16" y="4"/>
                </a:cxn>
              </a:cxnLst>
              <a:rect l="0" t="0" r="r" b="b"/>
              <a:pathLst>
                <a:path w="18" h="24">
                  <a:moveTo>
                    <a:pt x="16" y="4"/>
                  </a:moveTo>
                  <a:lnTo>
                    <a:pt x="17" y="6"/>
                  </a:lnTo>
                  <a:lnTo>
                    <a:pt x="16" y="9"/>
                  </a:lnTo>
                  <a:lnTo>
                    <a:pt x="18" y="15"/>
                  </a:lnTo>
                  <a:lnTo>
                    <a:pt x="18" y="17"/>
                  </a:lnTo>
                  <a:lnTo>
                    <a:pt x="17" y="18"/>
                  </a:lnTo>
                  <a:lnTo>
                    <a:pt x="15" y="19"/>
                  </a:lnTo>
                  <a:lnTo>
                    <a:pt x="15" y="20"/>
                  </a:lnTo>
                  <a:lnTo>
                    <a:pt x="15" y="24"/>
                  </a:lnTo>
                  <a:lnTo>
                    <a:pt x="11" y="24"/>
                  </a:lnTo>
                  <a:lnTo>
                    <a:pt x="7" y="23"/>
                  </a:lnTo>
                  <a:lnTo>
                    <a:pt x="5" y="21"/>
                  </a:lnTo>
                  <a:lnTo>
                    <a:pt x="3" y="18"/>
                  </a:lnTo>
                  <a:lnTo>
                    <a:pt x="0" y="14"/>
                  </a:lnTo>
                  <a:lnTo>
                    <a:pt x="0" y="11"/>
                  </a:lnTo>
                  <a:lnTo>
                    <a:pt x="2" y="8"/>
                  </a:lnTo>
                  <a:lnTo>
                    <a:pt x="6" y="1"/>
                  </a:lnTo>
                  <a:lnTo>
                    <a:pt x="8" y="0"/>
                  </a:lnTo>
                  <a:lnTo>
                    <a:pt x="16"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4" name="Freeform 147">
              <a:extLst>
                <a:ext uri="{FF2B5EF4-FFF2-40B4-BE49-F238E27FC236}">
                  <a16:creationId xmlns:a16="http://schemas.microsoft.com/office/drawing/2014/main" id="{4BB3C2EA-957D-F9C7-D194-410BE68A497C}"/>
                </a:ext>
              </a:extLst>
            </p:cNvPr>
            <p:cNvSpPr>
              <a:spLocks/>
            </p:cNvSpPr>
            <p:nvPr/>
          </p:nvSpPr>
          <p:spPr bwMode="auto">
            <a:xfrm>
              <a:off x="7106821" y="3968750"/>
              <a:ext cx="661988" cy="319088"/>
            </a:xfrm>
            <a:custGeom>
              <a:avLst/>
              <a:gdLst/>
              <a:ahLst/>
              <a:cxnLst>
                <a:cxn ang="0">
                  <a:pos x="364" y="75"/>
                </a:cxn>
                <a:cxn ang="0">
                  <a:pos x="366" y="88"/>
                </a:cxn>
                <a:cxn ang="0">
                  <a:pos x="381" y="84"/>
                </a:cxn>
                <a:cxn ang="0">
                  <a:pos x="395" y="82"/>
                </a:cxn>
                <a:cxn ang="0">
                  <a:pos x="414" y="98"/>
                </a:cxn>
                <a:cxn ang="0">
                  <a:pos x="414" y="109"/>
                </a:cxn>
                <a:cxn ang="0">
                  <a:pos x="398" y="107"/>
                </a:cxn>
                <a:cxn ang="0">
                  <a:pos x="382" y="114"/>
                </a:cxn>
                <a:cxn ang="0">
                  <a:pos x="372" y="118"/>
                </a:cxn>
                <a:cxn ang="0">
                  <a:pos x="363" y="131"/>
                </a:cxn>
                <a:cxn ang="0">
                  <a:pos x="350" y="131"/>
                </a:cxn>
                <a:cxn ang="0">
                  <a:pos x="328" y="143"/>
                </a:cxn>
                <a:cxn ang="0">
                  <a:pos x="315" y="138"/>
                </a:cxn>
                <a:cxn ang="0">
                  <a:pos x="308" y="151"/>
                </a:cxn>
                <a:cxn ang="0">
                  <a:pos x="314" y="163"/>
                </a:cxn>
                <a:cxn ang="0">
                  <a:pos x="294" y="179"/>
                </a:cxn>
                <a:cxn ang="0">
                  <a:pos x="271" y="186"/>
                </a:cxn>
                <a:cxn ang="0">
                  <a:pos x="243" y="192"/>
                </a:cxn>
                <a:cxn ang="0">
                  <a:pos x="224" y="201"/>
                </a:cxn>
                <a:cxn ang="0">
                  <a:pos x="214" y="197"/>
                </a:cxn>
                <a:cxn ang="0">
                  <a:pos x="189" y="190"/>
                </a:cxn>
                <a:cxn ang="0">
                  <a:pos x="164" y="183"/>
                </a:cxn>
                <a:cxn ang="0">
                  <a:pos x="130" y="182"/>
                </a:cxn>
                <a:cxn ang="0">
                  <a:pos x="106" y="175"/>
                </a:cxn>
                <a:cxn ang="0">
                  <a:pos x="87" y="150"/>
                </a:cxn>
                <a:cxn ang="0">
                  <a:pos x="64" y="138"/>
                </a:cxn>
                <a:cxn ang="0">
                  <a:pos x="39" y="134"/>
                </a:cxn>
                <a:cxn ang="0">
                  <a:pos x="39" y="124"/>
                </a:cxn>
                <a:cxn ang="0">
                  <a:pos x="40" y="105"/>
                </a:cxn>
                <a:cxn ang="0">
                  <a:pos x="25" y="84"/>
                </a:cxn>
                <a:cxn ang="0">
                  <a:pos x="5" y="72"/>
                </a:cxn>
                <a:cxn ang="0">
                  <a:pos x="0" y="59"/>
                </a:cxn>
                <a:cxn ang="0">
                  <a:pos x="17" y="51"/>
                </a:cxn>
                <a:cxn ang="0">
                  <a:pos x="31" y="40"/>
                </a:cxn>
                <a:cxn ang="0">
                  <a:pos x="56" y="27"/>
                </a:cxn>
                <a:cxn ang="0">
                  <a:pos x="83" y="32"/>
                </a:cxn>
                <a:cxn ang="0">
                  <a:pos x="102" y="43"/>
                </a:cxn>
                <a:cxn ang="0">
                  <a:pos x="118" y="46"/>
                </a:cxn>
                <a:cxn ang="0">
                  <a:pos x="131" y="43"/>
                </a:cxn>
                <a:cxn ang="0">
                  <a:pos x="133" y="29"/>
                </a:cxn>
                <a:cxn ang="0">
                  <a:pos x="144" y="0"/>
                </a:cxn>
                <a:cxn ang="0">
                  <a:pos x="172" y="8"/>
                </a:cxn>
                <a:cxn ang="0">
                  <a:pos x="187" y="17"/>
                </a:cxn>
                <a:cxn ang="0">
                  <a:pos x="193" y="33"/>
                </a:cxn>
                <a:cxn ang="0">
                  <a:pos x="226" y="34"/>
                </a:cxn>
                <a:cxn ang="0">
                  <a:pos x="253" y="44"/>
                </a:cxn>
                <a:cxn ang="0">
                  <a:pos x="276" y="55"/>
                </a:cxn>
                <a:cxn ang="0">
                  <a:pos x="301" y="57"/>
                </a:cxn>
                <a:cxn ang="0">
                  <a:pos x="322" y="54"/>
                </a:cxn>
                <a:cxn ang="0">
                  <a:pos x="336" y="42"/>
                </a:cxn>
                <a:cxn ang="0">
                  <a:pos x="352" y="38"/>
                </a:cxn>
                <a:cxn ang="0">
                  <a:pos x="371" y="43"/>
                </a:cxn>
              </a:cxnLst>
              <a:rect l="0" t="0" r="r" b="b"/>
              <a:pathLst>
                <a:path w="417" h="201">
                  <a:moveTo>
                    <a:pt x="378" y="44"/>
                  </a:moveTo>
                  <a:lnTo>
                    <a:pt x="376" y="47"/>
                  </a:lnTo>
                  <a:lnTo>
                    <a:pt x="372" y="58"/>
                  </a:lnTo>
                  <a:lnTo>
                    <a:pt x="364" y="75"/>
                  </a:lnTo>
                  <a:lnTo>
                    <a:pt x="362" y="81"/>
                  </a:lnTo>
                  <a:lnTo>
                    <a:pt x="364" y="88"/>
                  </a:lnTo>
                  <a:lnTo>
                    <a:pt x="364" y="88"/>
                  </a:lnTo>
                  <a:lnTo>
                    <a:pt x="366" y="88"/>
                  </a:lnTo>
                  <a:lnTo>
                    <a:pt x="372" y="84"/>
                  </a:lnTo>
                  <a:lnTo>
                    <a:pt x="376" y="84"/>
                  </a:lnTo>
                  <a:lnTo>
                    <a:pt x="379" y="84"/>
                  </a:lnTo>
                  <a:lnTo>
                    <a:pt x="381" y="84"/>
                  </a:lnTo>
                  <a:lnTo>
                    <a:pt x="384" y="88"/>
                  </a:lnTo>
                  <a:lnTo>
                    <a:pt x="385" y="89"/>
                  </a:lnTo>
                  <a:lnTo>
                    <a:pt x="393" y="82"/>
                  </a:lnTo>
                  <a:lnTo>
                    <a:pt x="395" y="82"/>
                  </a:lnTo>
                  <a:lnTo>
                    <a:pt x="400" y="84"/>
                  </a:lnTo>
                  <a:lnTo>
                    <a:pt x="404" y="86"/>
                  </a:lnTo>
                  <a:lnTo>
                    <a:pt x="408" y="90"/>
                  </a:lnTo>
                  <a:lnTo>
                    <a:pt x="414" y="98"/>
                  </a:lnTo>
                  <a:lnTo>
                    <a:pt x="417" y="103"/>
                  </a:lnTo>
                  <a:lnTo>
                    <a:pt x="417" y="105"/>
                  </a:lnTo>
                  <a:lnTo>
                    <a:pt x="417" y="107"/>
                  </a:lnTo>
                  <a:lnTo>
                    <a:pt x="414" y="109"/>
                  </a:lnTo>
                  <a:lnTo>
                    <a:pt x="412" y="108"/>
                  </a:lnTo>
                  <a:lnTo>
                    <a:pt x="405" y="108"/>
                  </a:lnTo>
                  <a:lnTo>
                    <a:pt x="403" y="107"/>
                  </a:lnTo>
                  <a:lnTo>
                    <a:pt x="398" y="107"/>
                  </a:lnTo>
                  <a:lnTo>
                    <a:pt x="392" y="109"/>
                  </a:lnTo>
                  <a:lnTo>
                    <a:pt x="389" y="110"/>
                  </a:lnTo>
                  <a:lnTo>
                    <a:pt x="384" y="113"/>
                  </a:lnTo>
                  <a:lnTo>
                    <a:pt x="382" y="114"/>
                  </a:lnTo>
                  <a:lnTo>
                    <a:pt x="379" y="113"/>
                  </a:lnTo>
                  <a:lnTo>
                    <a:pt x="376" y="114"/>
                  </a:lnTo>
                  <a:lnTo>
                    <a:pt x="374" y="115"/>
                  </a:lnTo>
                  <a:lnTo>
                    <a:pt x="372" y="118"/>
                  </a:lnTo>
                  <a:lnTo>
                    <a:pt x="370" y="125"/>
                  </a:lnTo>
                  <a:lnTo>
                    <a:pt x="368" y="127"/>
                  </a:lnTo>
                  <a:lnTo>
                    <a:pt x="366" y="128"/>
                  </a:lnTo>
                  <a:lnTo>
                    <a:pt x="363" y="131"/>
                  </a:lnTo>
                  <a:lnTo>
                    <a:pt x="357" y="132"/>
                  </a:lnTo>
                  <a:lnTo>
                    <a:pt x="354" y="131"/>
                  </a:lnTo>
                  <a:lnTo>
                    <a:pt x="351" y="131"/>
                  </a:lnTo>
                  <a:lnTo>
                    <a:pt x="350" y="131"/>
                  </a:lnTo>
                  <a:lnTo>
                    <a:pt x="343" y="139"/>
                  </a:lnTo>
                  <a:lnTo>
                    <a:pt x="339" y="142"/>
                  </a:lnTo>
                  <a:lnTo>
                    <a:pt x="334" y="143"/>
                  </a:lnTo>
                  <a:lnTo>
                    <a:pt x="328" y="143"/>
                  </a:lnTo>
                  <a:lnTo>
                    <a:pt x="325" y="141"/>
                  </a:lnTo>
                  <a:lnTo>
                    <a:pt x="321" y="138"/>
                  </a:lnTo>
                  <a:lnTo>
                    <a:pt x="316" y="137"/>
                  </a:lnTo>
                  <a:lnTo>
                    <a:pt x="315" y="138"/>
                  </a:lnTo>
                  <a:lnTo>
                    <a:pt x="312" y="140"/>
                  </a:lnTo>
                  <a:lnTo>
                    <a:pt x="309" y="144"/>
                  </a:lnTo>
                  <a:lnTo>
                    <a:pt x="307" y="148"/>
                  </a:lnTo>
                  <a:lnTo>
                    <a:pt x="308" y="151"/>
                  </a:lnTo>
                  <a:lnTo>
                    <a:pt x="310" y="155"/>
                  </a:lnTo>
                  <a:lnTo>
                    <a:pt x="313" y="159"/>
                  </a:lnTo>
                  <a:lnTo>
                    <a:pt x="315" y="161"/>
                  </a:lnTo>
                  <a:lnTo>
                    <a:pt x="314" y="163"/>
                  </a:lnTo>
                  <a:lnTo>
                    <a:pt x="312" y="165"/>
                  </a:lnTo>
                  <a:lnTo>
                    <a:pt x="304" y="167"/>
                  </a:lnTo>
                  <a:lnTo>
                    <a:pt x="301" y="170"/>
                  </a:lnTo>
                  <a:lnTo>
                    <a:pt x="294" y="179"/>
                  </a:lnTo>
                  <a:lnTo>
                    <a:pt x="292" y="180"/>
                  </a:lnTo>
                  <a:lnTo>
                    <a:pt x="281" y="186"/>
                  </a:lnTo>
                  <a:lnTo>
                    <a:pt x="277" y="187"/>
                  </a:lnTo>
                  <a:lnTo>
                    <a:pt x="271" y="186"/>
                  </a:lnTo>
                  <a:lnTo>
                    <a:pt x="262" y="186"/>
                  </a:lnTo>
                  <a:lnTo>
                    <a:pt x="255" y="186"/>
                  </a:lnTo>
                  <a:lnTo>
                    <a:pt x="247" y="189"/>
                  </a:lnTo>
                  <a:lnTo>
                    <a:pt x="243" y="192"/>
                  </a:lnTo>
                  <a:lnTo>
                    <a:pt x="238" y="194"/>
                  </a:lnTo>
                  <a:lnTo>
                    <a:pt x="237" y="195"/>
                  </a:lnTo>
                  <a:lnTo>
                    <a:pt x="228" y="199"/>
                  </a:lnTo>
                  <a:lnTo>
                    <a:pt x="224" y="201"/>
                  </a:lnTo>
                  <a:lnTo>
                    <a:pt x="221" y="201"/>
                  </a:lnTo>
                  <a:lnTo>
                    <a:pt x="219" y="200"/>
                  </a:lnTo>
                  <a:lnTo>
                    <a:pt x="217" y="197"/>
                  </a:lnTo>
                  <a:lnTo>
                    <a:pt x="214" y="197"/>
                  </a:lnTo>
                  <a:lnTo>
                    <a:pt x="210" y="197"/>
                  </a:lnTo>
                  <a:lnTo>
                    <a:pt x="204" y="196"/>
                  </a:lnTo>
                  <a:lnTo>
                    <a:pt x="195" y="193"/>
                  </a:lnTo>
                  <a:lnTo>
                    <a:pt x="189" y="190"/>
                  </a:lnTo>
                  <a:lnTo>
                    <a:pt x="184" y="186"/>
                  </a:lnTo>
                  <a:lnTo>
                    <a:pt x="181" y="184"/>
                  </a:lnTo>
                  <a:lnTo>
                    <a:pt x="171" y="183"/>
                  </a:lnTo>
                  <a:lnTo>
                    <a:pt x="164" y="183"/>
                  </a:lnTo>
                  <a:lnTo>
                    <a:pt x="159" y="183"/>
                  </a:lnTo>
                  <a:lnTo>
                    <a:pt x="142" y="183"/>
                  </a:lnTo>
                  <a:lnTo>
                    <a:pt x="135" y="183"/>
                  </a:lnTo>
                  <a:lnTo>
                    <a:pt x="130" y="182"/>
                  </a:lnTo>
                  <a:lnTo>
                    <a:pt x="123" y="181"/>
                  </a:lnTo>
                  <a:lnTo>
                    <a:pt x="112" y="180"/>
                  </a:lnTo>
                  <a:lnTo>
                    <a:pt x="109" y="179"/>
                  </a:lnTo>
                  <a:lnTo>
                    <a:pt x="106" y="175"/>
                  </a:lnTo>
                  <a:lnTo>
                    <a:pt x="97" y="158"/>
                  </a:lnTo>
                  <a:lnTo>
                    <a:pt x="96" y="153"/>
                  </a:lnTo>
                  <a:lnTo>
                    <a:pt x="92" y="152"/>
                  </a:lnTo>
                  <a:lnTo>
                    <a:pt x="87" y="150"/>
                  </a:lnTo>
                  <a:lnTo>
                    <a:pt x="77" y="143"/>
                  </a:lnTo>
                  <a:lnTo>
                    <a:pt x="74" y="141"/>
                  </a:lnTo>
                  <a:lnTo>
                    <a:pt x="68" y="139"/>
                  </a:lnTo>
                  <a:lnTo>
                    <a:pt x="64" y="138"/>
                  </a:lnTo>
                  <a:lnTo>
                    <a:pt x="58" y="138"/>
                  </a:lnTo>
                  <a:lnTo>
                    <a:pt x="49" y="138"/>
                  </a:lnTo>
                  <a:lnTo>
                    <a:pt x="43" y="136"/>
                  </a:lnTo>
                  <a:lnTo>
                    <a:pt x="39" y="134"/>
                  </a:lnTo>
                  <a:lnTo>
                    <a:pt x="37" y="132"/>
                  </a:lnTo>
                  <a:lnTo>
                    <a:pt x="37" y="128"/>
                  </a:lnTo>
                  <a:lnTo>
                    <a:pt x="37" y="127"/>
                  </a:lnTo>
                  <a:lnTo>
                    <a:pt x="39" y="124"/>
                  </a:lnTo>
                  <a:lnTo>
                    <a:pt x="40" y="121"/>
                  </a:lnTo>
                  <a:lnTo>
                    <a:pt x="42" y="114"/>
                  </a:lnTo>
                  <a:lnTo>
                    <a:pt x="43" y="111"/>
                  </a:lnTo>
                  <a:lnTo>
                    <a:pt x="40" y="105"/>
                  </a:lnTo>
                  <a:lnTo>
                    <a:pt x="34" y="92"/>
                  </a:lnTo>
                  <a:lnTo>
                    <a:pt x="31" y="87"/>
                  </a:lnTo>
                  <a:lnTo>
                    <a:pt x="29" y="86"/>
                  </a:lnTo>
                  <a:lnTo>
                    <a:pt x="25" y="84"/>
                  </a:lnTo>
                  <a:lnTo>
                    <a:pt x="21" y="83"/>
                  </a:lnTo>
                  <a:lnTo>
                    <a:pt x="17" y="83"/>
                  </a:lnTo>
                  <a:lnTo>
                    <a:pt x="12" y="79"/>
                  </a:lnTo>
                  <a:lnTo>
                    <a:pt x="5" y="72"/>
                  </a:lnTo>
                  <a:lnTo>
                    <a:pt x="3" y="68"/>
                  </a:lnTo>
                  <a:lnTo>
                    <a:pt x="1" y="63"/>
                  </a:lnTo>
                  <a:lnTo>
                    <a:pt x="0" y="60"/>
                  </a:lnTo>
                  <a:lnTo>
                    <a:pt x="0" y="59"/>
                  </a:lnTo>
                  <a:lnTo>
                    <a:pt x="1" y="58"/>
                  </a:lnTo>
                  <a:lnTo>
                    <a:pt x="6" y="54"/>
                  </a:lnTo>
                  <a:lnTo>
                    <a:pt x="9" y="52"/>
                  </a:lnTo>
                  <a:lnTo>
                    <a:pt x="17" y="51"/>
                  </a:lnTo>
                  <a:lnTo>
                    <a:pt x="21" y="50"/>
                  </a:lnTo>
                  <a:lnTo>
                    <a:pt x="25" y="47"/>
                  </a:lnTo>
                  <a:lnTo>
                    <a:pt x="25" y="47"/>
                  </a:lnTo>
                  <a:lnTo>
                    <a:pt x="31" y="40"/>
                  </a:lnTo>
                  <a:lnTo>
                    <a:pt x="36" y="37"/>
                  </a:lnTo>
                  <a:lnTo>
                    <a:pt x="42" y="33"/>
                  </a:lnTo>
                  <a:lnTo>
                    <a:pt x="51" y="29"/>
                  </a:lnTo>
                  <a:lnTo>
                    <a:pt x="56" y="27"/>
                  </a:lnTo>
                  <a:lnTo>
                    <a:pt x="62" y="28"/>
                  </a:lnTo>
                  <a:lnTo>
                    <a:pt x="67" y="30"/>
                  </a:lnTo>
                  <a:lnTo>
                    <a:pt x="78" y="31"/>
                  </a:lnTo>
                  <a:lnTo>
                    <a:pt x="83" y="32"/>
                  </a:lnTo>
                  <a:lnTo>
                    <a:pt x="87" y="39"/>
                  </a:lnTo>
                  <a:lnTo>
                    <a:pt x="89" y="42"/>
                  </a:lnTo>
                  <a:lnTo>
                    <a:pt x="93" y="44"/>
                  </a:lnTo>
                  <a:lnTo>
                    <a:pt x="102" y="43"/>
                  </a:lnTo>
                  <a:lnTo>
                    <a:pt x="106" y="44"/>
                  </a:lnTo>
                  <a:lnTo>
                    <a:pt x="111" y="44"/>
                  </a:lnTo>
                  <a:lnTo>
                    <a:pt x="116" y="45"/>
                  </a:lnTo>
                  <a:lnTo>
                    <a:pt x="118" y="46"/>
                  </a:lnTo>
                  <a:lnTo>
                    <a:pt x="121" y="47"/>
                  </a:lnTo>
                  <a:lnTo>
                    <a:pt x="125" y="47"/>
                  </a:lnTo>
                  <a:lnTo>
                    <a:pt x="129" y="45"/>
                  </a:lnTo>
                  <a:lnTo>
                    <a:pt x="131" y="43"/>
                  </a:lnTo>
                  <a:lnTo>
                    <a:pt x="135" y="38"/>
                  </a:lnTo>
                  <a:lnTo>
                    <a:pt x="136" y="33"/>
                  </a:lnTo>
                  <a:lnTo>
                    <a:pt x="136" y="31"/>
                  </a:lnTo>
                  <a:lnTo>
                    <a:pt x="133" y="29"/>
                  </a:lnTo>
                  <a:lnTo>
                    <a:pt x="131" y="20"/>
                  </a:lnTo>
                  <a:lnTo>
                    <a:pt x="132" y="18"/>
                  </a:lnTo>
                  <a:lnTo>
                    <a:pt x="137" y="10"/>
                  </a:lnTo>
                  <a:lnTo>
                    <a:pt x="144" y="0"/>
                  </a:lnTo>
                  <a:lnTo>
                    <a:pt x="149" y="3"/>
                  </a:lnTo>
                  <a:lnTo>
                    <a:pt x="155" y="3"/>
                  </a:lnTo>
                  <a:lnTo>
                    <a:pt x="162" y="5"/>
                  </a:lnTo>
                  <a:lnTo>
                    <a:pt x="172" y="8"/>
                  </a:lnTo>
                  <a:lnTo>
                    <a:pt x="176" y="11"/>
                  </a:lnTo>
                  <a:lnTo>
                    <a:pt x="182" y="14"/>
                  </a:lnTo>
                  <a:lnTo>
                    <a:pt x="186" y="15"/>
                  </a:lnTo>
                  <a:lnTo>
                    <a:pt x="187" y="17"/>
                  </a:lnTo>
                  <a:lnTo>
                    <a:pt x="187" y="22"/>
                  </a:lnTo>
                  <a:lnTo>
                    <a:pt x="188" y="26"/>
                  </a:lnTo>
                  <a:lnTo>
                    <a:pt x="190" y="30"/>
                  </a:lnTo>
                  <a:lnTo>
                    <a:pt x="193" y="33"/>
                  </a:lnTo>
                  <a:lnTo>
                    <a:pt x="202" y="38"/>
                  </a:lnTo>
                  <a:lnTo>
                    <a:pt x="207" y="39"/>
                  </a:lnTo>
                  <a:lnTo>
                    <a:pt x="221" y="35"/>
                  </a:lnTo>
                  <a:lnTo>
                    <a:pt x="226" y="34"/>
                  </a:lnTo>
                  <a:lnTo>
                    <a:pt x="233" y="34"/>
                  </a:lnTo>
                  <a:lnTo>
                    <a:pt x="241" y="35"/>
                  </a:lnTo>
                  <a:lnTo>
                    <a:pt x="246" y="36"/>
                  </a:lnTo>
                  <a:lnTo>
                    <a:pt x="253" y="44"/>
                  </a:lnTo>
                  <a:lnTo>
                    <a:pt x="257" y="47"/>
                  </a:lnTo>
                  <a:lnTo>
                    <a:pt x="264" y="49"/>
                  </a:lnTo>
                  <a:lnTo>
                    <a:pt x="268" y="53"/>
                  </a:lnTo>
                  <a:lnTo>
                    <a:pt x="276" y="55"/>
                  </a:lnTo>
                  <a:lnTo>
                    <a:pt x="282" y="57"/>
                  </a:lnTo>
                  <a:lnTo>
                    <a:pt x="288" y="58"/>
                  </a:lnTo>
                  <a:lnTo>
                    <a:pt x="292" y="58"/>
                  </a:lnTo>
                  <a:lnTo>
                    <a:pt x="301" y="57"/>
                  </a:lnTo>
                  <a:lnTo>
                    <a:pt x="307" y="57"/>
                  </a:lnTo>
                  <a:lnTo>
                    <a:pt x="310" y="56"/>
                  </a:lnTo>
                  <a:lnTo>
                    <a:pt x="315" y="55"/>
                  </a:lnTo>
                  <a:lnTo>
                    <a:pt x="322" y="54"/>
                  </a:lnTo>
                  <a:lnTo>
                    <a:pt x="325" y="52"/>
                  </a:lnTo>
                  <a:lnTo>
                    <a:pt x="329" y="50"/>
                  </a:lnTo>
                  <a:lnTo>
                    <a:pt x="331" y="46"/>
                  </a:lnTo>
                  <a:lnTo>
                    <a:pt x="336" y="42"/>
                  </a:lnTo>
                  <a:lnTo>
                    <a:pt x="343" y="37"/>
                  </a:lnTo>
                  <a:lnTo>
                    <a:pt x="345" y="37"/>
                  </a:lnTo>
                  <a:lnTo>
                    <a:pt x="348" y="37"/>
                  </a:lnTo>
                  <a:lnTo>
                    <a:pt x="352" y="38"/>
                  </a:lnTo>
                  <a:lnTo>
                    <a:pt x="357" y="43"/>
                  </a:lnTo>
                  <a:lnTo>
                    <a:pt x="359" y="44"/>
                  </a:lnTo>
                  <a:lnTo>
                    <a:pt x="364" y="46"/>
                  </a:lnTo>
                  <a:lnTo>
                    <a:pt x="371" y="43"/>
                  </a:lnTo>
                  <a:lnTo>
                    <a:pt x="375" y="43"/>
                  </a:lnTo>
                  <a:lnTo>
                    <a:pt x="378" y="4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5" name="Freeform 149">
              <a:extLst>
                <a:ext uri="{FF2B5EF4-FFF2-40B4-BE49-F238E27FC236}">
                  <a16:creationId xmlns:a16="http://schemas.microsoft.com/office/drawing/2014/main" id="{EAA35864-8FCD-592A-A32F-B0AE377B4F3D}"/>
                </a:ext>
              </a:extLst>
            </p:cNvPr>
            <p:cNvSpPr>
              <a:spLocks/>
            </p:cNvSpPr>
            <p:nvPr/>
          </p:nvSpPr>
          <p:spPr bwMode="auto">
            <a:xfrm>
              <a:off x="6182896" y="5494338"/>
              <a:ext cx="149225" cy="295275"/>
            </a:xfrm>
            <a:custGeom>
              <a:avLst/>
              <a:gdLst/>
              <a:ahLst/>
              <a:cxnLst>
                <a:cxn ang="0">
                  <a:pos x="21" y="53"/>
                </a:cxn>
                <a:cxn ang="0">
                  <a:pos x="25" y="51"/>
                </a:cxn>
                <a:cxn ang="0">
                  <a:pos x="29" y="51"/>
                </a:cxn>
                <a:cxn ang="0">
                  <a:pos x="37" y="48"/>
                </a:cxn>
                <a:cxn ang="0">
                  <a:pos x="40" y="50"/>
                </a:cxn>
                <a:cxn ang="0">
                  <a:pos x="40" y="46"/>
                </a:cxn>
                <a:cxn ang="0">
                  <a:pos x="47" y="42"/>
                </a:cxn>
                <a:cxn ang="0">
                  <a:pos x="51" y="42"/>
                </a:cxn>
                <a:cxn ang="0">
                  <a:pos x="51" y="37"/>
                </a:cxn>
                <a:cxn ang="0">
                  <a:pos x="55" y="37"/>
                </a:cxn>
                <a:cxn ang="0">
                  <a:pos x="60" y="33"/>
                </a:cxn>
                <a:cxn ang="0">
                  <a:pos x="57" y="29"/>
                </a:cxn>
                <a:cxn ang="0">
                  <a:pos x="59" y="28"/>
                </a:cxn>
                <a:cxn ang="0">
                  <a:pos x="62" y="25"/>
                </a:cxn>
                <a:cxn ang="0">
                  <a:pos x="60" y="18"/>
                </a:cxn>
                <a:cxn ang="0">
                  <a:pos x="63" y="18"/>
                </a:cxn>
                <a:cxn ang="0">
                  <a:pos x="66" y="21"/>
                </a:cxn>
                <a:cxn ang="0">
                  <a:pos x="71" y="16"/>
                </a:cxn>
                <a:cxn ang="0">
                  <a:pos x="73" y="11"/>
                </a:cxn>
                <a:cxn ang="0">
                  <a:pos x="73" y="4"/>
                </a:cxn>
                <a:cxn ang="0">
                  <a:pos x="76" y="0"/>
                </a:cxn>
                <a:cxn ang="0">
                  <a:pos x="81" y="6"/>
                </a:cxn>
                <a:cxn ang="0">
                  <a:pos x="85" y="9"/>
                </a:cxn>
                <a:cxn ang="0">
                  <a:pos x="88" y="25"/>
                </a:cxn>
                <a:cxn ang="0">
                  <a:pos x="90" y="34"/>
                </a:cxn>
                <a:cxn ang="0">
                  <a:pos x="94" y="41"/>
                </a:cxn>
                <a:cxn ang="0">
                  <a:pos x="93" y="44"/>
                </a:cxn>
                <a:cxn ang="0">
                  <a:pos x="90" y="50"/>
                </a:cxn>
                <a:cxn ang="0">
                  <a:pos x="87" y="47"/>
                </a:cxn>
                <a:cxn ang="0">
                  <a:pos x="82" y="43"/>
                </a:cxn>
                <a:cxn ang="0">
                  <a:pos x="83" y="51"/>
                </a:cxn>
                <a:cxn ang="0">
                  <a:pos x="86" y="57"/>
                </a:cxn>
                <a:cxn ang="0">
                  <a:pos x="80" y="67"/>
                </a:cxn>
                <a:cxn ang="0">
                  <a:pos x="79" y="75"/>
                </a:cxn>
                <a:cxn ang="0">
                  <a:pos x="75" y="94"/>
                </a:cxn>
                <a:cxn ang="0">
                  <a:pos x="62" y="134"/>
                </a:cxn>
                <a:cxn ang="0">
                  <a:pos x="51" y="173"/>
                </a:cxn>
                <a:cxn ang="0">
                  <a:pos x="47" y="179"/>
                </a:cxn>
                <a:cxn ang="0">
                  <a:pos x="38" y="180"/>
                </a:cxn>
                <a:cxn ang="0">
                  <a:pos x="29" y="185"/>
                </a:cxn>
                <a:cxn ang="0">
                  <a:pos x="22" y="183"/>
                </a:cxn>
                <a:cxn ang="0">
                  <a:pos x="18" y="181"/>
                </a:cxn>
                <a:cxn ang="0">
                  <a:pos x="14" y="181"/>
                </a:cxn>
                <a:cxn ang="0">
                  <a:pos x="9" y="175"/>
                </a:cxn>
                <a:cxn ang="0">
                  <a:pos x="8" y="169"/>
                </a:cxn>
                <a:cxn ang="0">
                  <a:pos x="4" y="165"/>
                </a:cxn>
                <a:cxn ang="0">
                  <a:pos x="7" y="154"/>
                </a:cxn>
                <a:cxn ang="0">
                  <a:pos x="4" y="148"/>
                </a:cxn>
                <a:cxn ang="0">
                  <a:pos x="0" y="139"/>
                </a:cxn>
                <a:cxn ang="0">
                  <a:pos x="2" y="126"/>
                </a:cxn>
                <a:cxn ang="0">
                  <a:pos x="6" y="124"/>
                </a:cxn>
                <a:cxn ang="0">
                  <a:pos x="15" y="108"/>
                </a:cxn>
                <a:cxn ang="0">
                  <a:pos x="16" y="99"/>
                </a:cxn>
                <a:cxn ang="0">
                  <a:pos x="14" y="95"/>
                </a:cxn>
                <a:cxn ang="0">
                  <a:pos x="12" y="92"/>
                </a:cxn>
                <a:cxn ang="0">
                  <a:pos x="11" y="83"/>
                </a:cxn>
                <a:cxn ang="0">
                  <a:pos x="10" y="76"/>
                </a:cxn>
                <a:cxn ang="0">
                  <a:pos x="9" y="71"/>
                </a:cxn>
                <a:cxn ang="0">
                  <a:pos x="14" y="63"/>
                </a:cxn>
                <a:cxn ang="0">
                  <a:pos x="15" y="54"/>
                </a:cxn>
              </a:cxnLst>
              <a:rect l="0" t="0" r="r" b="b"/>
              <a:pathLst>
                <a:path w="94" h="186">
                  <a:moveTo>
                    <a:pt x="18" y="54"/>
                  </a:moveTo>
                  <a:lnTo>
                    <a:pt x="21" y="53"/>
                  </a:lnTo>
                  <a:lnTo>
                    <a:pt x="24" y="51"/>
                  </a:lnTo>
                  <a:lnTo>
                    <a:pt x="25" y="51"/>
                  </a:lnTo>
                  <a:lnTo>
                    <a:pt x="27" y="52"/>
                  </a:lnTo>
                  <a:lnTo>
                    <a:pt x="29" y="51"/>
                  </a:lnTo>
                  <a:lnTo>
                    <a:pt x="31" y="49"/>
                  </a:lnTo>
                  <a:lnTo>
                    <a:pt x="37" y="48"/>
                  </a:lnTo>
                  <a:lnTo>
                    <a:pt x="39" y="50"/>
                  </a:lnTo>
                  <a:lnTo>
                    <a:pt x="40" y="50"/>
                  </a:lnTo>
                  <a:lnTo>
                    <a:pt x="41" y="49"/>
                  </a:lnTo>
                  <a:lnTo>
                    <a:pt x="40" y="46"/>
                  </a:lnTo>
                  <a:lnTo>
                    <a:pt x="45" y="43"/>
                  </a:lnTo>
                  <a:lnTo>
                    <a:pt x="47" y="42"/>
                  </a:lnTo>
                  <a:lnTo>
                    <a:pt x="49" y="43"/>
                  </a:lnTo>
                  <a:lnTo>
                    <a:pt x="51" y="42"/>
                  </a:lnTo>
                  <a:lnTo>
                    <a:pt x="49" y="39"/>
                  </a:lnTo>
                  <a:lnTo>
                    <a:pt x="51" y="37"/>
                  </a:lnTo>
                  <a:lnTo>
                    <a:pt x="54" y="35"/>
                  </a:lnTo>
                  <a:lnTo>
                    <a:pt x="55" y="37"/>
                  </a:lnTo>
                  <a:lnTo>
                    <a:pt x="56" y="37"/>
                  </a:lnTo>
                  <a:lnTo>
                    <a:pt x="60" y="33"/>
                  </a:lnTo>
                  <a:lnTo>
                    <a:pt x="58" y="32"/>
                  </a:lnTo>
                  <a:lnTo>
                    <a:pt x="57" y="29"/>
                  </a:lnTo>
                  <a:lnTo>
                    <a:pt x="58" y="28"/>
                  </a:lnTo>
                  <a:lnTo>
                    <a:pt x="59" y="28"/>
                  </a:lnTo>
                  <a:lnTo>
                    <a:pt x="61" y="27"/>
                  </a:lnTo>
                  <a:lnTo>
                    <a:pt x="62" y="25"/>
                  </a:lnTo>
                  <a:lnTo>
                    <a:pt x="60" y="20"/>
                  </a:lnTo>
                  <a:lnTo>
                    <a:pt x="60" y="18"/>
                  </a:lnTo>
                  <a:lnTo>
                    <a:pt x="62" y="17"/>
                  </a:lnTo>
                  <a:lnTo>
                    <a:pt x="63" y="18"/>
                  </a:lnTo>
                  <a:lnTo>
                    <a:pt x="64" y="21"/>
                  </a:lnTo>
                  <a:lnTo>
                    <a:pt x="66" y="21"/>
                  </a:lnTo>
                  <a:lnTo>
                    <a:pt x="67" y="19"/>
                  </a:lnTo>
                  <a:lnTo>
                    <a:pt x="71" y="16"/>
                  </a:lnTo>
                  <a:lnTo>
                    <a:pt x="72" y="13"/>
                  </a:lnTo>
                  <a:lnTo>
                    <a:pt x="73" y="11"/>
                  </a:lnTo>
                  <a:lnTo>
                    <a:pt x="74" y="7"/>
                  </a:lnTo>
                  <a:lnTo>
                    <a:pt x="73" y="4"/>
                  </a:lnTo>
                  <a:lnTo>
                    <a:pt x="73" y="3"/>
                  </a:lnTo>
                  <a:lnTo>
                    <a:pt x="76" y="0"/>
                  </a:lnTo>
                  <a:lnTo>
                    <a:pt x="78" y="2"/>
                  </a:lnTo>
                  <a:lnTo>
                    <a:pt x="81" y="6"/>
                  </a:lnTo>
                  <a:lnTo>
                    <a:pt x="85" y="8"/>
                  </a:lnTo>
                  <a:lnTo>
                    <a:pt x="85" y="9"/>
                  </a:lnTo>
                  <a:lnTo>
                    <a:pt x="87" y="14"/>
                  </a:lnTo>
                  <a:lnTo>
                    <a:pt x="88" y="25"/>
                  </a:lnTo>
                  <a:lnTo>
                    <a:pt x="89" y="29"/>
                  </a:lnTo>
                  <a:lnTo>
                    <a:pt x="90" y="34"/>
                  </a:lnTo>
                  <a:lnTo>
                    <a:pt x="93" y="38"/>
                  </a:lnTo>
                  <a:lnTo>
                    <a:pt x="94" y="41"/>
                  </a:lnTo>
                  <a:lnTo>
                    <a:pt x="94" y="43"/>
                  </a:lnTo>
                  <a:lnTo>
                    <a:pt x="93" y="44"/>
                  </a:lnTo>
                  <a:lnTo>
                    <a:pt x="93" y="45"/>
                  </a:lnTo>
                  <a:lnTo>
                    <a:pt x="90" y="50"/>
                  </a:lnTo>
                  <a:lnTo>
                    <a:pt x="88" y="49"/>
                  </a:lnTo>
                  <a:lnTo>
                    <a:pt x="87" y="47"/>
                  </a:lnTo>
                  <a:lnTo>
                    <a:pt x="84" y="42"/>
                  </a:lnTo>
                  <a:lnTo>
                    <a:pt x="82" y="43"/>
                  </a:lnTo>
                  <a:lnTo>
                    <a:pt x="82" y="46"/>
                  </a:lnTo>
                  <a:lnTo>
                    <a:pt x="83" y="51"/>
                  </a:lnTo>
                  <a:lnTo>
                    <a:pt x="85" y="54"/>
                  </a:lnTo>
                  <a:lnTo>
                    <a:pt x="86" y="57"/>
                  </a:lnTo>
                  <a:lnTo>
                    <a:pt x="84" y="61"/>
                  </a:lnTo>
                  <a:lnTo>
                    <a:pt x="80" y="67"/>
                  </a:lnTo>
                  <a:lnTo>
                    <a:pt x="79" y="70"/>
                  </a:lnTo>
                  <a:lnTo>
                    <a:pt x="79" y="75"/>
                  </a:lnTo>
                  <a:lnTo>
                    <a:pt x="79" y="81"/>
                  </a:lnTo>
                  <a:lnTo>
                    <a:pt x="75" y="94"/>
                  </a:lnTo>
                  <a:lnTo>
                    <a:pt x="70" y="110"/>
                  </a:lnTo>
                  <a:lnTo>
                    <a:pt x="62" y="134"/>
                  </a:lnTo>
                  <a:lnTo>
                    <a:pt x="54" y="163"/>
                  </a:lnTo>
                  <a:lnTo>
                    <a:pt x="51" y="173"/>
                  </a:lnTo>
                  <a:lnTo>
                    <a:pt x="50" y="175"/>
                  </a:lnTo>
                  <a:lnTo>
                    <a:pt x="47" y="179"/>
                  </a:lnTo>
                  <a:lnTo>
                    <a:pt x="46" y="179"/>
                  </a:lnTo>
                  <a:lnTo>
                    <a:pt x="38" y="180"/>
                  </a:lnTo>
                  <a:lnTo>
                    <a:pt x="32" y="182"/>
                  </a:lnTo>
                  <a:lnTo>
                    <a:pt x="29" y="185"/>
                  </a:lnTo>
                  <a:lnTo>
                    <a:pt x="25" y="186"/>
                  </a:lnTo>
                  <a:lnTo>
                    <a:pt x="22" y="183"/>
                  </a:lnTo>
                  <a:lnTo>
                    <a:pt x="21" y="182"/>
                  </a:lnTo>
                  <a:lnTo>
                    <a:pt x="18" y="181"/>
                  </a:lnTo>
                  <a:lnTo>
                    <a:pt x="16" y="181"/>
                  </a:lnTo>
                  <a:lnTo>
                    <a:pt x="14" y="181"/>
                  </a:lnTo>
                  <a:lnTo>
                    <a:pt x="9" y="176"/>
                  </a:lnTo>
                  <a:lnTo>
                    <a:pt x="9" y="175"/>
                  </a:lnTo>
                  <a:lnTo>
                    <a:pt x="9" y="171"/>
                  </a:lnTo>
                  <a:lnTo>
                    <a:pt x="8" y="169"/>
                  </a:lnTo>
                  <a:lnTo>
                    <a:pt x="5" y="167"/>
                  </a:lnTo>
                  <a:lnTo>
                    <a:pt x="4" y="165"/>
                  </a:lnTo>
                  <a:lnTo>
                    <a:pt x="4" y="160"/>
                  </a:lnTo>
                  <a:lnTo>
                    <a:pt x="7" y="154"/>
                  </a:lnTo>
                  <a:lnTo>
                    <a:pt x="6" y="151"/>
                  </a:lnTo>
                  <a:lnTo>
                    <a:pt x="4" y="148"/>
                  </a:lnTo>
                  <a:lnTo>
                    <a:pt x="1" y="142"/>
                  </a:lnTo>
                  <a:lnTo>
                    <a:pt x="0" y="139"/>
                  </a:lnTo>
                  <a:lnTo>
                    <a:pt x="0" y="135"/>
                  </a:lnTo>
                  <a:lnTo>
                    <a:pt x="2" y="126"/>
                  </a:lnTo>
                  <a:lnTo>
                    <a:pt x="4" y="125"/>
                  </a:lnTo>
                  <a:lnTo>
                    <a:pt x="6" y="124"/>
                  </a:lnTo>
                  <a:lnTo>
                    <a:pt x="11" y="115"/>
                  </a:lnTo>
                  <a:lnTo>
                    <a:pt x="15" y="108"/>
                  </a:lnTo>
                  <a:lnTo>
                    <a:pt x="16" y="106"/>
                  </a:lnTo>
                  <a:lnTo>
                    <a:pt x="16" y="99"/>
                  </a:lnTo>
                  <a:lnTo>
                    <a:pt x="16" y="97"/>
                  </a:lnTo>
                  <a:lnTo>
                    <a:pt x="14" y="95"/>
                  </a:lnTo>
                  <a:lnTo>
                    <a:pt x="12" y="93"/>
                  </a:lnTo>
                  <a:lnTo>
                    <a:pt x="12" y="92"/>
                  </a:lnTo>
                  <a:lnTo>
                    <a:pt x="14" y="89"/>
                  </a:lnTo>
                  <a:lnTo>
                    <a:pt x="11" y="83"/>
                  </a:lnTo>
                  <a:lnTo>
                    <a:pt x="10" y="79"/>
                  </a:lnTo>
                  <a:lnTo>
                    <a:pt x="10" y="76"/>
                  </a:lnTo>
                  <a:lnTo>
                    <a:pt x="9" y="72"/>
                  </a:lnTo>
                  <a:lnTo>
                    <a:pt x="9" y="71"/>
                  </a:lnTo>
                  <a:lnTo>
                    <a:pt x="12" y="67"/>
                  </a:lnTo>
                  <a:lnTo>
                    <a:pt x="14" y="63"/>
                  </a:lnTo>
                  <a:lnTo>
                    <a:pt x="15" y="61"/>
                  </a:lnTo>
                  <a:lnTo>
                    <a:pt x="15" y="54"/>
                  </a:lnTo>
                  <a:lnTo>
                    <a:pt x="18" y="5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6" name="Freeform 150">
              <a:extLst>
                <a:ext uri="{FF2B5EF4-FFF2-40B4-BE49-F238E27FC236}">
                  <a16:creationId xmlns:a16="http://schemas.microsoft.com/office/drawing/2014/main" id="{6BAD9D9A-DE4A-53B5-B685-A0277ED274EE}"/>
                </a:ext>
              </a:extLst>
            </p:cNvPr>
            <p:cNvSpPr>
              <a:spLocks/>
            </p:cNvSpPr>
            <p:nvPr/>
          </p:nvSpPr>
          <p:spPr bwMode="auto">
            <a:xfrm>
              <a:off x="6944896" y="4573588"/>
              <a:ext cx="169863" cy="96838"/>
            </a:xfrm>
            <a:custGeom>
              <a:avLst/>
              <a:gdLst/>
              <a:ahLst/>
              <a:cxnLst>
                <a:cxn ang="0">
                  <a:pos x="14" y="6"/>
                </a:cxn>
                <a:cxn ang="0">
                  <a:pos x="17" y="5"/>
                </a:cxn>
                <a:cxn ang="0">
                  <a:pos x="20" y="2"/>
                </a:cxn>
                <a:cxn ang="0">
                  <a:pos x="27" y="2"/>
                </a:cxn>
                <a:cxn ang="0">
                  <a:pos x="33" y="8"/>
                </a:cxn>
                <a:cxn ang="0">
                  <a:pos x="40" y="13"/>
                </a:cxn>
                <a:cxn ang="0">
                  <a:pos x="43" y="14"/>
                </a:cxn>
                <a:cxn ang="0">
                  <a:pos x="48" y="18"/>
                </a:cxn>
                <a:cxn ang="0">
                  <a:pos x="54" y="19"/>
                </a:cxn>
                <a:cxn ang="0">
                  <a:pos x="55" y="23"/>
                </a:cxn>
                <a:cxn ang="0">
                  <a:pos x="66" y="28"/>
                </a:cxn>
                <a:cxn ang="0">
                  <a:pos x="66" y="30"/>
                </a:cxn>
                <a:cxn ang="0">
                  <a:pos x="72" y="33"/>
                </a:cxn>
                <a:cxn ang="0">
                  <a:pos x="77" y="36"/>
                </a:cxn>
                <a:cxn ang="0">
                  <a:pos x="79" y="38"/>
                </a:cxn>
                <a:cxn ang="0">
                  <a:pos x="83" y="38"/>
                </a:cxn>
                <a:cxn ang="0">
                  <a:pos x="85" y="35"/>
                </a:cxn>
                <a:cxn ang="0">
                  <a:pos x="91" y="37"/>
                </a:cxn>
                <a:cxn ang="0">
                  <a:pos x="99" y="39"/>
                </a:cxn>
                <a:cxn ang="0">
                  <a:pos x="102" y="38"/>
                </a:cxn>
                <a:cxn ang="0">
                  <a:pos x="106" y="39"/>
                </a:cxn>
                <a:cxn ang="0">
                  <a:pos x="104" y="50"/>
                </a:cxn>
                <a:cxn ang="0">
                  <a:pos x="105" y="60"/>
                </a:cxn>
                <a:cxn ang="0">
                  <a:pos x="99" y="61"/>
                </a:cxn>
                <a:cxn ang="0">
                  <a:pos x="95" y="61"/>
                </a:cxn>
                <a:cxn ang="0">
                  <a:pos x="91" y="58"/>
                </a:cxn>
                <a:cxn ang="0">
                  <a:pos x="83" y="57"/>
                </a:cxn>
                <a:cxn ang="0">
                  <a:pos x="76" y="58"/>
                </a:cxn>
                <a:cxn ang="0">
                  <a:pos x="75" y="54"/>
                </a:cxn>
                <a:cxn ang="0">
                  <a:pos x="69" y="56"/>
                </a:cxn>
                <a:cxn ang="0">
                  <a:pos x="64" y="52"/>
                </a:cxn>
                <a:cxn ang="0">
                  <a:pos x="61" y="48"/>
                </a:cxn>
                <a:cxn ang="0">
                  <a:pos x="56" y="46"/>
                </a:cxn>
                <a:cxn ang="0">
                  <a:pos x="50" y="47"/>
                </a:cxn>
                <a:cxn ang="0">
                  <a:pos x="44" y="45"/>
                </a:cxn>
                <a:cxn ang="0">
                  <a:pos x="43" y="47"/>
                </a:cxn>
                <a:cxn ang="0">
                  <a:pos x="36" y="44"/>
                </a:cxn>
                <a:cxn ang="0">
                  <a:pos x="32" y="42"/>
                </a:cxn>
                <a:cxn ang="0">
                  <a:pos x="24" y="39"/>
                </a:cxn>
                <a:cxn ang="0">
                  <a:pos x="15" y="31"/>
                </a:cxn>
                <a:cxn ang="0">
                  <a:pos x="7" y="27"/>
                </a:cxn>
                <a:cxn ang="0">
                  <a:pos x="1" y="25"/>
                </a:cxn>
                <a:cxn ang="0">
                  <a:pos x="2" y="20"/>
                </a:cxn>
                <a:cxn ang="0">
                  <a:pos x="3" y="15"/>
                </a:cxn>
                <a:cxn ang="0">
                  <a:pos x="4" y="11"/>
                </a:cxn>
                <a:cxn ang="0">
                  <a:pos x="12" y="4"/>
                </a:cxn>
              </a:cxnLst>
              <a:rect l="0" t="0" r="r" b="b"/>
              <a:pathLst>
                <a:path w="107" h="61">
                  <a:moveTo>
                    <a:pt x="12" y="4"/>
                  </a:moveTo>
                  <a:lnTo>
                    <a:pt x="14" y="6"/>
                  </a:lnTo>
                  <a:lnTo>
                    <a:pt x="16" y="7"/>
                  </a:lnTo>
                  <a:lnTo>
                    <a:pt x="17" y="5"/>
                  </a:lnTo>
                  <a:lnTo>
                    <a:pt x="18" y="1"/>
                  </a:lnTo>
                  <a:lnTo>
                    <a:pt x="20" y="2"/>
                  </a:lnTo>
                  <a:lnTo>
                    <a:pt x="21" y="0"/>
                  </a:lnTo>
                  <a:lnTo>
                    <a:pt x="27" y="2"/>
                  </a:lnTo>
                  <a:lnTo>
                    <a:pt x="28" y="6"/>
                  </a:lnTo>
                  <a:lnTo>
                    <a:pt x="33" y="8"/>
                  </a:lnTo>
                  <a:lnTo>
                    <a:pt x="37" y="12"/>
                  </a:lnTo>
                  <a:lnTo>
                    <a:pt x="40" y="13"/>
                  </a:lnTo>
                  <a:lnTo>
                    <a:pt x="41" y="12"/>
                  </a:lnTo>
                  <a:lnTo>
                    <a:pt x="43" y="14"/>
                  </a:lnTo>
                  <a:lnTo>
                    <a:pt x="48" y="20"/>
                  </a:lnTo>
                  <a:lnTo>
                    <a:pt x="48" y="18"/>
                  </a:lnTo>
                  <a:lnTo>
                    <a:pt x="52" y="18"/>
                  </a:lnTo>
                  <a:lnTo>
                    <a:pt x="54" y="19"/>
                  </a:lnTo>
                  <a:lnTo>
                    <a:pt x="55" y="21"/>
                  </a:lnTo>
                  <a:lnTo>
                    <a:pt x="55" y="23"/>
                  </a:lnTo>
                  <a:lnTo>
                    <a:pt x="63" y="29"/>
                  </a:lnTo>
                  <a:lnTo>
                    <a:pt x="66" y="28"/>
                  </a:lnTo>
                  <a:lnTo>
                    <a:pt x="67" y="28"/>
                  </a:lnTo>
                  <a:lnTo>
                    <a:pt x="66" y="30"/>
                  </a:lnTo>
                  <a:lnTo>
                    <a:pt x="66" y="32"/>
                  </a:lnTo>
                  <a:lnTo>
                    <a:pt x="72" y="33"/>
                  </a:lnTo>
                  <a:lnTo>
                    <a:pt x="74" y="32"/>
                  </a:lnTo>
                  <a:lnTo>
                    <a:pt x="77" y="36"/>
                  </a:lnTo>
                  <a:lnTo>
                    <a:pt x="78" y="39"/>
                  </a:lnTo>
                  <a:lnTo>
                    <a:pt x="79" y="38"/>
                  </a:lnTo>
                  <a:lnTo>
                    <a:pt x="79" y="36"/>
                  </a:lnTo>
                  <a:lnTo>
                    <a:pt x="83" y="38"/>
                  </a:lnTo>
                  <a:lnTo>
                    <a:pt x="85" y="38"/>
                  </a:lnTo>
                  <a:lnTo>
                    <a:pt x="85" y="35"/>
                  </a:lnTo>
                  <a:lnTo>
                    <a:pt x="88" y="35"/>
                  </a:lnTo>
                  <a:lnTo>
                    <a:pt x="91" y="37"/>
                  </a:lnTo>
                  <a:lnTo>
                    <a:pt x="93" y="39"/>
                  </a:lnTo>
                  <a:lnTo>
                    <a:pt x="99" y="39"/>
                  </a:lnTo>
                  <a:lnTo>
                    <a:pt x="100" y="40"/>
                  </a:lnTo>
                  <a:lnTo>
                    <a:pt x="102" y="38"/>
                  </a:lnTo>
                  <a:lnTo>
                    <a:pt x="106" y="39"/>
                  </a:lnTo>
                  <a:lnTo>
                    <a:pt x="106" y="39"/>
                  </a:lnTo>
                  <a:lnTo>
                    <a:pt x="105" y="44"/>
                  </a:lnTo>
                  <a:lnTo>
                    <a:pt x="104" y="50"/>
                  </a:lnTo>
                  <a:lnTo>
                    <a:pt x="107" y="56"/>
                  </a:lnTo>
                  <a:lnTo>
                    <a:pt x="105" y="60"/>
                  </a:lnTo>
                  <a:lnTo>
                    <a:pt x="103" y="60"/>
                  </a:lnTo>
                  <a:lnTo>
                    <a:pt x="99" y="61"/>
                  </a:lnTo>
                  <a:lnTo>
                    <a:pt x="97" y="60"/>
                  </a:lnTo>
                  <a:lnTo>
                    <a:pt x="95" y="61"/>
                  </a:lnTo>
                  <a:lnTo>
                    <a:pt x="93" y="60"/>
                  </a:lnTo>
                  <a:lnTo>
                    <a:pt x="91" y="58"/>
                  </a:lnTo>
                  <a:lnTo>
                    <a:pt x="88" y="60"/>
                  </a:lnTo>
                  <a:lnTo>
                    <a:pt x="83" y="57"/>
                  </a:lnTo>
                  <a:lnTo>
                    <a:pt x="78" y="56"/>
                  </a:lnTo>
                  <a:lnTo>
                    <a:pt x="76" y="58"/>
                  </a:lnTo>
                  <a:lnTo>
                    <a:pt x="75" y="56"/>
                  </a:lnTo>
                  <a:lnTo>
                    <a:pt x="75" y="54"/>
                  </a:lnTo>
                  <a:lnTo>
                    <a:pt x="73" y="54"/>
                  </a:lnTo>
                  <a:lnTo>
                    <a:pt x="69" y="56"/>
                  </a:lnTo>
                  <a:lnTo>
                    <a:pt x="66" y="54"/>
                  </a:lnTo>
                  <a:lnTo>
                    <a:pt x="64" y="52"/>
                  </a:lnTo>
                  <a:lnTo>
                    <a:pt x="60" y="51"/>
                  </a:lnTo>
                  <a:lnTo>
                    <a:pt x="61" y="48"/>
                  </a:lnTo>
                  <a:lnTo>
                    <a:pt x="60" y="47"/>
                  </a:lnTo>
                  <a:lnTo>
                    <a:pt x="56" y="46"/>
                  </a:lnTo>
                  <a:lnTo>
                    <a:pt x="53" y="44"/>
                  </a:lnTo>
                  <a:lnTo>
                    <a:pt x="50" y="47"/>
                  </a:lnTo>
                  <a:lnTo>
                    <a:pt x="47" y="45"/>
                  </a:lnTo>
                  <a:lnTo>
                    <a:pt x="44" y="45"/>
                  </a:lnTo>
                  <a:lnTo>
                    <a:pt x="43" y="46"/>
                  </a:lnTo>
                  <a:lnTo>
                    <a:pt x="43" y="47"/>
                  </a:lnTo>
                  <a:lnTo>
                    <a:pt x="41" y="45"/>
                  </a:lnTo>
                  <a:lnTo>
                    <a:pt x="36" y="44"/>
                  </a:lnTo>
                  <a:lnTo>
                    <a:pt x="35" y="41"/>
                  </a:lnTo>
                  <a:lnTo>
                    <a:pt x="32" y="42"/>
                  </a:lnTo>
                  <a:lnTo>
                    <a:pt x="25" y="38"/>
                  </a:lnTo>
                  <a:lnTo>
                    <a:pt x="24" y="39"/>
                  </a:lnTo>
                  <a:lnTo>
                    <a:pt x="17" y="35"/>
                  </a:lnTo>
                  <a:lnTo>
                    <a:pt x="15" y="31"/>
                  </a:lnTo>
                  <a:lnTo>
                    <a:pt x="11" y="30"/>
                  </a:lnTo>
                  <a:lnTo>
                    <a:pt x="7" y="27"/>
                  </a:lnTo>
                  <a:lnTo>
                    <a:pt x="4" y="27"/>
                  </a:lnTo>
                  <a:lnTo>
                    <a:pt x="1" y="25"/>
                  </a:lnTo>
                  <a:lnTo>
                    <a:pt x="0" y="23"/>
                  </a:lnTo>
                  <a:lnTo>
                    <a:pt x="2" y="20"/>
                  </a:lnTo>
                  <a:lnTo>
                    <a:pt x="4" y="18"/>
                  </a:lnTo>
                  <a:lnTo>
                    <a:pt x="3" y="15"/>
                  </a:lnTo>
                  <a:lnTo>
                    <a:pt x="4" y="13"/>
                  </a:lnTo>
                  <a:lnTo>
                    <a:pt x="4" y="11"/>
                  </a:lnTo>
                  <a:lnTo>
                    <a:pt x="6" y="10"/>
                  </a:lnTo>
                  <a:lnTo>
                    <a:pt x="12" y="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7" name="Freeform 151">
              <a:extLst>
                <a:ext uri="{FF2B5EF4-FFF2-40B4-BE49-F238E27FC236}">
                  <a16:creationId xmlns:a16="http://schemas.microsoft.com/office/drawing/2014/main" id="{24CF99CF-41E4-66D4-850B-30B1EACFB4C0}"/>
                </a:ext>
              </a:extLst>
            </p:cNvPr>
            <p:cNvSpPr>
              <a:spLocks/>
            </p:cNvSpPr>
            <p:nvPr/>
          </p:nvSpPr>
          <p:spPr bwMode="auto">
            <a:xfrm>
              <a:off x="7125871" y="4625975"/>
              <a:ext cx="66675" cy="38100"/>
            </a:xfrm>
            <a:custGeom>
              <a:avLst/>
              <a:gdLst/>
              <a:ahLst/>
              <a:cxnLst>
                <a:cxn ang="0">
                  <a:pos x="0" y="17"/>
                </a:cxn>
                <a:cxn ang="0">
                  <a:pos x="7" y="6"/>
                </a:cxn>
                <a:cxn ang="0">
                  <a:pos x="11" y="3"/>
                </a:cxn>
                <a:cxn ang="0">
                  <a:pos x="13" y="1"/>
                </a:cxn>
                <a:cxn ang="0">
                  <a:pos x="14" y="0"/>
                </a:cxn>
                <a:cxn ang="0">
                  <a:pos x="16" y="0"/>
                </a:cxn>
                <a:cxn ang="0">
                  <a:pos x="18" y="2"/>
                </a:cxn>
                <a:cxn ang="0">
                  <a:pos x="21" y="3"/>
                </a:cxn>
                <a:cxn ang="0">
                  <a:pos x="31" y="4"/>
                </a:cxn>
                <a:cxn ang="0">
                  <a:pos x="33" y="4"/>
                </a:cxn>
                <a:cxn ang="0">
                  <a:pos x="35" y="5"/>
                </a:cxn>
                <a:cxn ang="0">
                  <a:pos x="37" y="9"/>
                </a:cxn>
                <a:cxn ang="0">
                  <a:pos x="36" y="11"/>
                </a:cxn>
                <a:cxn ang="0">
                  <a:pos x="37" y="12"/>
                </a:cxn>
                <a:cxn ang="0">
                  <a:pos x="39" y="14"/>
                </a:cxn>
                <a:cxn ang="0">
                  <a:pos x="40" y="15"/>
                </a:cxn>
                <a:cxn ang="0">
                  <a:pos x="42" y="16"/>
                </a:cxn>
                <a:cxn ang="0">
                  <a:pos x="42" y="18"/>
                </a:cxn>
                <a:cxn ang="0">
                  <a:pos x="41" y="22"/>
                </a:cxn>
                <a:cxn ang="0">
                  <a:pos x="37" y="22"/>
                </a:cxn>
                <a:cxn ang="0">
                  <a:pos x="31" y="23"/>
                </a:cxn>
                <a:cxn ang="0">
                  <a:pos x="24" y="22"/>
                </a:cxn>
                <a:cxn ang="0">
                  <a:pos x="22" y="21"/>
                </a:cxn>
                <a:cxn ang="0">
                  <a:pos x="20" y="21"/>
                </a:cxn>
                <a:cxn ang="0">
                  <a:pos x="17" y="23"/>
                </a:cxn>
                <a:cxn ang="0">
                  <a:pos x="14" y="24"/>
                </a:cxn>
                <a:cxn ang="0">
                  <a:pos x="13" y="24"/>
                </a:cxn>
                <a:cxn ang="0">
                  <a:pos x="8" y="22"/>
                </a:cxn>
                <a:cxn ang="0">
                  <a:pos x="5" y="21"/>
                </a:cxn>
                <a:cxn ang="0">
                  <a:pos x="1" y="20"/>
                </a:cxn>
                <a:cxn ang="0">
                  <a:pos x="0" y="17"/>
                </a:cxn>
                <a:cxn ang="0">
                  <a:pos x="0" y="17"/>
                </a:cxn>
              </a:cxnLst>
              <a:rect l="0" t="0" r="r" b="b"/>
              <a:pathLst>
                <a:path w="42" h="24">
                  <a:moveTo>
                    <a:pt x="0" y="17"/>
                  </a:moveTo>
                  <a:lnTo>
                    <a:pt x="7" y="6"/>
                  </a:lnTo>
                  <a:lnTo>
                    <a:pt x="11" y="3"/>
                  </a:lnTo>
                  <a:lnTo>
                    <a:pt x="13" y="1"/>
                  </a:lnTo>
                  <a:lnTo>
                    <a:pt x="14" y="0"/>
                  </a:lnTo>
                  <a:lnTo>
                    <a:pt x="16" y="0"/>
                  </a:lnTo>
                  <a:lnTo>
                    <a:pt x="18" y="2"/>
                  </a:lnTo>
                  <a:lnTo>
                    <a:pt x="21" y="3"/>
                  </a:lnTo>
                  <a:lnTo>
                    <a:pt x="31" y="4"/>
                  </a:lnTo>
                  <a:lnTo>
                    <a:pt x="33" y="4"/>
                  </a:lnTo>
                  <a:lnTo>
                    <a:pt x="35" y="5"/>
                  </a:lnTo>
                  <a:lnTo>
                    <a:pt x="37" y="9"/>
                  </a:lnTo>
                  <a:lnTo>
                    <a:pt x="36" y="11"/>
                  </a:lnTo>
                  <a:lnTo>
                    <a:pt x="37" y="12"/>
                  </a:lnTo>
                  <a:lnTo>
                    <a:pt x="39" y="14"/>
                  </a:lnTo>
                  <a:lnTo>
                    <a:pt x="40" y="15"/>
                  </a:lnTo>
                  <a:lnTo>
                    <a:pt x="42" y="16"/>
                  </a:lnTo>
                  <a:lnTo>
                    <a:pt x="42" y="18"/>
                  </a:lnTo>
                  <a:lnTo>
                    <a:pt x="41" y="22"/>
                  </a:lnTo>
                  <a:lnTo>
                    <a:pt x="37" y="22"/>
                  </a:lnTo>
                  <a:lnTo>
                    <a:pt x="31" y="23"/>
                  </a:lnTo>
                  <a:lnTo>
                    <a:pt x="24" y="22"/>
                  </a:lnTo>
                  <a:lnTo>
                    <a:pt x="22" y="21"/>
                  </a:lnTo>
                  <a:lnTo>
                    <a:pt x="20" y="21"/>
                  </a:lnTo>
                  <a:lnTo>
                    <a:pt x="17" y="23"/>
                  </a:lnTo>
                  <a:lnTo>
                    <a:pt x="14" y="24"/>
                  </a:lnTo>
                  <a:lnTo>
                    <a:pt x="13" y="24"/>
                  </a:lnTo>
                  <a:lnTo>
                    <a:pt x="8" y="22"/>
                  </a:lnTo>
                  <a:lnTo>
                    <a:pt x="5" y="21"/>
                  </a:lnTo>
                  <a:lnTo>
                    <a:pt x="1" y="20"/>
                  </a:lnTo>
                  <a:lnTo>
                    <a:pt x="0" y="17"/>
                  </a:lnTo>
                  <a:lnTo>
                    <a:pt x="0" y="1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8" name="Freeform 152">
              <a:extLst>
                <a:ext uri="{FF2B5EF4-FFF2-40B4-BE49-F238E27FC236}">
                  <a16:creationId xmlns:a16="http://schemas.microsoft.com/office/drawing/2014/main" id="{E04F7657-31F0-E139-DC7A-634D804C592A}"/>
                </a:ext>
              </a:extLst>
            </p:cNvPr>
            <p:cNvSpPr>
              <a:spLocks/>
            </p:cNvSpPr>
            <p:nvPr/>
          </p:nvSpPr>
          <p:spPr bwMode="auto">
            <a:xfrm>
              <a:off x="7109996" y="4672013"/>
              <a:ext cx="95250" cy="120650"/>
            </a:xfrm>
            <a:custGeom>
              <a:avLst/>
              <a:gdLst/>
              <a:ahLst/>
              <a:cxnLst>
                <a:cxn ang="0">
                  <a:pos x="53" y="74"/>
                </a:cxn>
                <a:cxn ang="0">
                  <a:pos x="50" y="63"/>
                </a:cxn>
                <a:cxn ang="0">
                  <a:pos x="44" y="52"/>
                </a:cxn>
                <a:cxn ang="0">
                  <a:pos x="38" y="54"/>
                </a:cxn>
                <a:cxn ang="0">
                  <a:pos x="36" y="52"/>
                </a:cxn>
                <a:cxn ang="0">
                  <a:pos x="33" y="48"/>
                </a:cxn>
                <a:cxn ang="0">
                  <a:pos x="32" y="52"/>
                </a:cxn>
                <a:cxn ang="0">
                  <a:pos x="34" y="60"/>
                </a:cxn>
                <a:cxn ang="0">
                  <a:pos x="31" y="61"/>
                </a:cxn>
                <a:cxn ang="0">
                  <a:pos x="28" y="66"/>
                </a:cxn>
                <a:cxn ang="0">
                  <a:pos x="25" y="60"/>
                </a:cxn>
                <a:cxn ang="0">
                  <a:pos x="23" y="64"/>
                </a:cxn>
                <a:cxn ang="0">
                  <a:pos x="20" y="66"/>
                </a:cxn>
                <a:cxn ang="0">
                  <a:pos x="16" y="67"/>
                </a:cxn>
                <a:cxn ang="0">
                  <a:pos x="13" y="62"/>
                </a:cxn>
                <a:cxn ang="0">
                  <a:pos x="8" y="41"/>
                </a:cxn>
                <a:cxn ang="0">
                  <a:pos x="6" y="37"/>
                </a:cxn>
                <a:cxn ang="0">
                  <a:pos x="10" y="30"/>
                </a:cxn>
                <a:cxn ang="0">
                  <a:pos x="2" y="26"/>
                </a:cxn>
                <a:cxn ang="0">
                  <a:pos x="3" y="20"/>
                </a:cxn>
                <a:cxn ang="0">
                  <a:pos x="9" y="17"/>
                </a:cxn>
                <a:cxn ang="0">
                  <a:pos x="11" y="16"/>
                </a:cxn>
                <a:cxn ang="0">
                  <a:pos x="3" y="9"/>
                </a:cxn>
                <a:cxn ang="0">
                  <a:pos x="0" y="6"/>
                </a:cxn>
                <a:cxn ang="0">
                  <a:pos x="4" y="1"/>
                </a:cxn>
                <a:cxn ang="0">
                  <a:pos x="13" y="2"/>
                </a:cxn>
                <a:cxn ang="0">
                  <a:pos x="17" y="5"/>
                </a:cxn>
                <a:cxn ang="0">
                  <a:pos x="22" y="5"/>
                </a:cxn>
                <a:cxn ang="0">
                  <a:pos x="23" y="10"/>
                </a:cxn>
                <a:cxn ang="0">
                  <a:pos x="24" y="16"/>
                </a:cxn>
                <a:cxn ang="0">
                  <a:pos x="31" y="17"/>
                </a:cxn>
                <a:cxn ang="0">
                  <a:pos x="39" y="16"/>
                </a:cxn>
                <a:cxn ang="0">
                  <a:pos x="55" y="18"/>
                </a:cxn>
                <a:cxn ang="0">
                  <a:pos x="55" y="24"/>
                </a:cxn>
                <a:cxn ang="0">
                  <a:pos x="48" y="31"/>
                </a:cxn>
                <a:cxn ang="0">
                  <a:pos x="41" y="34"/>
                </a:cxn>
                <a:cxn ang="0">
                  <a:pos x="41" y="40"/>
                </a:cxn>
                <a:cxn ang="0">
                  <a:pos x="42" y="44"/>
                </a:cxn>
                <a:cxn ang="0">
                  <a:pos x="47" y="49"/>
                </a:cxn>
                <a:cxn ang="0">
                  <a:pos x="50" y="39"/>
                </a:cxn>
                <a:cxn ang="0">
                  <a:pos x="54" y="38"/>
                </a:cxn>
                <a:cxn ang="0">
                  <a:pos x="58" y="57"/>
                </a:cxn>
                <a:cxn ang="0">
                  <a:pos x="60" y="70"/>
                </a:cxn>
                <a:cxn ang="0">
                  <a:pos x="53" y="76"/>
                </a:cxn>
              </a:cxnLst>
              <a:rect l="0" t="0" r="r" b="b"/>
              <a:pathLst>
                <a:path w="60" h="76">
                  <a:moveTo>
                    <a:pt x="53" y="76"/>
                  </a:moveTo>
                  <a:lnTo>
                    <a:pt x="53" y="74"/>
                  </a:lnTo>
                  <a:lnTo>
                    <a:pt x="51" y="71"/>
                  </a:lnTo>
                  <a:lnTo>
                    <a:pt x="50" y="63"/>
                  </a:lnTo>
                  <a:lnTo>
                    <a:pt x="46" y="54"/>
                  </a:lnTo>
                  <a:lnTo>
                    <a:pt x="44" y="52"/>
                  </a:lnTo>
                  <a:lnTo>
                    <a:pt x="40" y="54"/>
                  </a:lnTo>
                  <a:lnTo>
                    <a:pt x="38" y="54"/>
                  </a:lnTo>
                  <a:lnTo>
                    <a:pt x="37" y="54"/>
                  </a:lnTo>
                  <a:lnTo>
                    <a:pt x="36" y="52"/>
                  </a:lnTo>
                  <a:lnTo>
                    <a:pt x="34" y="48"/>
                  </a:lnTo>
                  <a:lnTo>
                    <a:pt x="33" y="48"/>
                  </a:lnTo>
                  <a:lnTo>
                    <a:pt x="32" y="49"/>
                  </a:lnTo>
                  <a:lnTo>
                    <a:pt x="32" y="52"/>
                  </a:lnTo>
                  <a:lnTo>
                    <a:pt x="34" y="57"/>
                  </a:lnTo>
                  <a:lnTo>
                    <a:pt x="34" y="60"/>
                  </a:lnTo>
                  <a:lnTo>
                    <a:pt x="34" y="61"/>
                  </a:lnTo>
                  <a:lnTo>
                    <a:pt x="31" y="61"/>
                  </a:lnTo>
                  <a:lnTo>
                    <a:pt x="29" y="65"/>
                  </a:lnTo>
                  <a:lnTo>
                    <a:pt x="28" y="66"/>
                  </a:lnTo>
                  <a:lnTo>
                    <a:pt x="26" y="63"/>
                  </a:lnTo>
                  <a:lnTo>
                    <a:pt x="25" y="60"/>
                  </a:lnTo>
                  <a:lnTo>
                    <a:pt x="24" y="60"/>
                  </a:lnTo>
                  <a:lnTo>
                    <a:pt x="23" y="64"/>
                  </a:lnTo>
                  <a:lnTo>
                    <a:pt x="22" y="66"/>
                  </a:lnTo>
                  <a:lnTo>
                    <a:pt x="20" y="66"/>
                  </a:lnTo>
                  <a:lnTo>
                    <a:pt x="19" y="63"/>
                  </a:lnTo>
                  <a:lnTo>
                    <a:pt x="16" y="67"/>
                  </a:lnTo>
                  <a:lnTo>
                    <a:pt x="14" y="65"/>
                  </a:lnTo>
                  <a:lnTo>
                    <a:pt x="13" y="62"/>
                  </a:lnTo>
                  <a:lnTo>
                    <a:pt x="10" y="51"/>
                  </a:lnTo>
                  <a:lnTo>
                    <a:pt x="8" y="41"/>
                  </a:lnTo>
                  <a:lnTo>
                    <a:pt x="7" y="39"/>
                  </a:lnTo>
                  <a:lnTo>
                    <a:pt x="6" y="37"/>
                  </a:lnTo>
                  <a:lnTo>
                    <a:pt x="9" y="32"/>
                  </a:lnTo>
                  <a:lnTo>
                    <a:pt x="10" y="30"/>
                  </a:lnTo>
                  <a:lnTo>
                    <a:pt x="8" y="29"/>
                  </a:lnTo>
                  <a:lnTo>
                    <a:pt x="2" y="26"/>
                  </a:lnTo>
                  <a:lnTo>
                    <a:pt x="0" y="24"/>
                  </a:lnTo>
                  <a:lnTo>
                    <a:pt x="3" y="20"/>
                  </a:lnTo>
                  <a:lnTo>
                    <a:pt x="6" y="18"/>
                  </a:lnTo>
                  <a:lnTo>
                    <a:pt x="9" y="17"/>
                  </a:lnTo>
                  <a:lnTo>
                    <a:pt x="11" y="16"/>
                  </a:lnTo>
                  <a:lnTo>
                    <a:pt x="11" y="16"/>
                  </a:lnTo>
                  <a:lnTo>
                    <a:pt x="10" y="15"/>
                  </a:lnTo>
                  <a:lnTo>
                    <a:pt x="3" y="9"/>
                  </a:lnTo>
                  <a:lnTo>
                    <a:pt x="0" y="7"/>
                  </a:lnTo>
                  <a:lnTo>
                    <a:pt x="0" y="6"/>
                  </a:lnTo>
                  <a:lnTo>
                    <a:pt x="1" y="4"/>
                  </a:lnTo>
                  <a:lnTo>
                    <a:pt x="4" y="1"/>
                  </a:lnTo>
                  <a:lnTo>
                    <a:pt x="5" y="0"/>
                  </a:lnTo>
                  <a:lnTo>
                    <a:pt x="13" y="2"/>
                  </a:lnTo>
                  <a:lnTo>
                    <a:pt x="14" y="3"/>
                  </a:lnTo>
                  <a:lnTo>
                    <a:pt x="17" y="5"/>
                  </a:lnTo>
                  <a:lnTo>
                    <a:pt x="20" y="5"/>
                  </a:lnTo>
                  <a:lnTo>
                    <a:pt x="22" y="5"/>
                  </a:lnTo>
                  <a:lnTo>
                    <a:pt x="23" y="7"/>
                  </a:lnTo>
                  <a:lnTo>
                    <a:pt x="23" y="10"/>
                  </a:lnTo>
                  <a:lnTo>
                    <a:pt x="23" y="15"/>
                  </a:lnTo>
                  <a:lnTo>
                    <a:pt x="24" y="16"/>
                  </a:lnTo>
                  <a:lnTo>
                    <a:pt x="27" y="16"/>
                  </a:lnTo>
                  <a:lnTo>
                    <a:pt x="31" y="17"/>
                  </a:lnTo>
                  <a:lnTo>
                    <a:pt x="36" y="16"/>
                  </a:lnTo>
                  <a:lnTo>
                    <a:pt x="39" y="16"/>
                  </a:lnTo>
                  <a:lnTo>
                    <a:pt x="54" y="18"/>
                  </a:lnTo>
                  <a:lnTo>
                    <a:pt x="55" y="18"/>
                  </a:lnTo>
                  <a:lnTo>
                    <a:pt x="55" y="19"/>
                  </a:lnTo>
                  <a:lnTo>
                    <a:pt x="55" y="24"/>
                  </a:lnTo>
                  <a:lnTo>
                    <a:pt x="54" y="27"/>
                  </a:lnTo>
                  <a:lnTo>
                    <a:pt x="48" y="31"/>
                  </a:lnTo>
                  <a:lnTo>
                    <a:pt x="45" y="32"/>
                  </a:lnTo>
                  <a:lnTo>
                    <a:pt x="41" y="34"/>
                  </a:lnTo>
                  <a:lnTo>
                    <a:pt x="41" y="36"/>
                  </a:lnTo>
                  <a:lnTo>
                    <a:pt x="41" y="40"/>
                  </a:lnTo>
                  <a:lnTo>
                    <a:pt x="41" y="42"/>
                  </a:lnTo>
                  <a:lnTo>
                    <a:pt x="42" y="44"/>
                  </a:lnTo>
                  <a:lnTo>
                    <a:pt x="44" y="46"/>
                  </a:lnTo>
                  <a:lnTo>
                    <a:pt x="47" y="49"/>
                  </a:lnTo>
                  <a:lnTo>
                    <a:pt x="48" y="46"/>
                  </a:lnTo>
                  <a:lnTo>
                    <a:pt x="50" y="39"/>
                  </a:lnTo>
                  <a:lnTo>
                    <a:pt x="52" y="38"/>
                  </a:lnTo>
                  <a:lnTo>
                    <a:pt x="54" y="38"/>
                  </a:lnTo>
                  <a:lnTo>
                    <a:pt x="55" y="42"/>
                  </a:lnTo>
                  <a:lnTo>
                    <a:pt x="58" y="57"/>
                  </a:lnTo>
                  <a:lnTo>
                    <a:pt x="59" y="60"/>
                  </a:lnTo>
                  <a:lnTo>
                    <a:pt x="60" y="70"/>
                  </a:lnTo>
                  <a:lnTo>
                    <a:pt x="55" y="74"/>
                  </a:lnTo>
                  <a:lnTo>
                    <a:pt x="53" y="7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79" name="Freeform 153">
              <a:extLst>
                <a:ext uri="{FF2B5EF4-FFF2-40B4-BE49-F238E27FC236}">
                  <a16:creationId xmlns:a16="http://schemas.microsoft.com/office/drawing/2014/main" id="{316EF9F5-503F-3B94-1815-15858696B05E}"/>
                </a:ext>
              </a:extLst>
            </p:cNvPr>
            <p:cNvSpPr>
              <a:spLocks/>
            </p:cNvSpPr>
            <p:nvPr/>
          </p:nvSpPr>
          <p:spPr bwMode="auto">
            <a:xfrm>
              <a:off x="6936959" y="5035550"/>
              <a:ext cx="46038" cy="79375"/>
            </a:xfrm>
            <a:custGeom>
              <a:avLst/>
              <a:gdLst/>
              <a:ahLst/>
              <a:cxnLst>
                <a:cxn ang="0">
                  <a:pos x="12" y="50"/>
                </a:cxn>
                <a:cxn ang="0">
                  <a:pos x="9" y="50"/>
                </a:cxn>
                <a:cxn ang="0">
                  <a:pos x="7" y="48"/>
                </a:cxn>
                <a:cxn ang="0">
                  <a:pos x="6" y="46"/>
                </a:cxn>
                <a:cxn ang="0">
                  <a:pos x="4" y="42"/>
                </a:cxn>
                <a:cxn ang="0">
                  <a:pos x="2" y="35"/>
                </a:cxn>
                <a:cxn ang="0">
                  <a:pos x="2" y="31"/>
                </a:cxn>
                <a:cxn ang="0">
                  <a:pos x="2" y="27"/>
                </a:cxn>
                <a:cxn ang="0">
                  <a:pos x="2" y="21"/>
                </a:cxn>
                <a:cxn ang="0">
                  <a:pos x="0" y="17"/>
                </a:cxn>
                <a:cxn ang="0">
                  <a:pos x="2" y="14"/>
                </a:cxn>
                <a:cxn ang="0">
                  <a:pos x="0" y="12"/>
                </a:cxn>
                <a:cxn ang="0">
                  <a:pos x="0" y="11"/>
                </a:cxn>
                <a:cxn ang="0">
                  <a:pos x="3" y="11"/>
                </a:cxn>
                <a:cxn ang="0">
                  <a:pos x="5" y="8"/>
                </a:cxn>
                <a:cxn ang="0">
                  <a:pos x="5" y="6"/>
                </a:cxn>
                <a:cxn ang="0">
                  <a:pos x="6" y="4"/>
                </a:cxn>
                <a:cxn ang="0">
                  <a:pos x="6" y="0"/>
                </a:cxn>
                <a:cxn ang="0">
                  <a:pos x="9" y="3"/>
                </a:cxn>
                <a:cxn ang="0">
                  <a:pos x="13" y="6"/>
                </a:cxn>
                <a:cxn ang="0">
                  <a:pos x="14" y="8"/>
                </a:cxn>
                <a:cxn ang="0">
                  <a:pos x="17" y="12"/>
                </a:cxn>
                <a:cxn ang="0">
                  <a:pos x="18" y="15"/>
                </a:cxn>
                <a:cxn ang="0">
                  <a:pos x="18" y="17"/>
                </a:cxn>
                <a:cxn ang="0">
                  <a:pos x="18" y="17"/>
                </a:cxn>
                <a:cxn ang="0">
                  <a:pos x="21" y="20"/>
                </a:cxn>
                <a:cxn ang="0">
                  <a:pos x="23" y="24"/>
                </a:cxn>
                <a:cxn ang="0">
                  <a:pos x="28" y="32"/>
                </a:cxn>
                <a:cxn ang="0">
                  <a:pos x="29" y="35"/>
                </a:cxn>
                <a:cxn ang="0">
                  <a:pos x="27" y="39"/>
                </a:cxn>
                <a:cxn ang="0">
                  <a:pos x="25" y="43"/>
                </a:cxn>
                <a:cxn ang="0">
                  <a:pos x="23" y="45"/>
                </a:cxn>
                <a:cxn ang="0">
                  <a:pos x="20" y="48"/>
                </a:cxn>
                <a:cxn ang="0">
                  <a:pos x="15" y="50"/>
                </a:cxn>
                <a:cxn ang="0">
                  <a:pos x="12" y="50"/>
                </a:cxn>
              </a:cxnLst>
              <a:rect l="0" t="0" r="r" b="b"/>
              <a:pathLst>
                <a:path w="29" h="50">
                  <a:moveTo>
                    <a:pt x="12" y="50"/>
                  </a:moveTo>
                  <a:lnTo>
                    <a:pt x="9" y="50"/>
                  </a:lnTo>
                  <a:lnTo>
                    <a:pt x="7" y="48"/>
                  </a:lnTo>
                  <a:lnTo>
                    <a:pt x="6" y="46"/>
                  </a:lnTo>
                  <a:lnTo>
                    <a:pt x="4" y="42"/>
                  </a:lnTo>
                  <a:lnTo>
                    <a:pt x="2" y="35"/>
                  </a:lnTo>
                  <a:lnTo>
                    <a:pt x="2" y="31"/>
                  </a:lnTo>
                  <a:lnTo>
                    <a:pt x="2" y="27"/>
                  </a:lnTo>
                  <a:lnTo>
                    <a:pt x="2" y="21"/>
                  </a:lnTo>
                  <a:lnTo>
                    <a:pt x="0" y="17"/>
                  </a:lnTo>
                  <a:lnTo>
                    <a:pt x="2" y="14"/>
                  </a:lnTo>
                  <a:lnTo>
                    <a:pt x="0" y="12"/>
                  </a:lnTo>
                  <a:lnTo>
                    <a:pt x="0" y="11"/>
                  </a:lnTo>
                  <a:lnTo>
                    <a:pt x="3" y="11"/>
                  </a:lnTo>
                  <a:lnTo>
                    <a:pt x="5" y="8"/>
                  </a:lnTo>
                  <a:lnTo>
                    <a:pt x="5" y="6"/>
                  </a:lnTo>
                  <a:lnTo>
                    <a:pt x="6" y="4"/>
                  </a:lnTo>
                  <a:lnTo>
                    <a:pt x="6" y="0"/>
                  </a:lnTo>
                  <a:lnTo>
                    <a:pt x="9" y="3"/>
                  </a:lnTo>
                  <a:lnTo>
                    <a:pt x="13" y="6"/>
                  </a:lnTo>
                  <a:lnTo>
                    <a:pt x="14" y="8"/>
                  </a:lnTo>
                  <a:lnTo>
                    <a:pt x="17" y="12"/>
                  </a:lnTo>
                  <a:lnTo>
                    <a:pt x="18" y="15"/>
                  </a:lnTo>
                  <a:lnTo>
                    <a:pt x="18" y="17"/>
                  </a:lnTo>
                  <a:lnTo>
                    <a:pt x="18" y="17"/>
                  </a:lnTo>
                  <a:lnTo>
                    <a:pt x="21" y="20"/>
                  </a:lnTo>
                  <a:lnTo>
                    <a:pt x="23" y="24"/>
                  </a:lnTo>
                  <a:lnTo>
                    <a:pt x="28" y="32"/>
                  </a:lnTo>
                  <a:lnTo>
                    <a:pt x="29" y="35"/>
                  </a:lnTo>
                  <a:lnTo>
                    <a:pt x="27" y="39"/>
                  </a:lnTo>
                  <a:lnTo>
                    <a:pt x="25" y="43"/>
                  </a:lnTo>
                  <a:lnTo>
                    <a:pt x="23" y="45"/>
                  </a:lnTo>
                  <a:lnTo>
                    <a:pt x="20" y="48"/>
                  </a:lnTo>
                  <a:lnTo>
                    <a:pt x="15" y="50"/>
                  </a:lnTo>
                  <a:lnTo>
                    <a:pt x="12" y="5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0" name="Freeform 154">
              <a:extLst>
                <a:ext uri="{FF2B5EF4-FFF2-40B4-BE49-F238E27FC236}">
                  <a16:creationId xmlns:a16="http://schemas.microsoft.com/office/drawing/2014/main" id="{8DE3C847-6737-3073-BFFB-7CE9D3D534B8}"/>
                </a:ext>
              </a:extLst>
            </p:cNvPr>
            <p:cNvSpPr>
              <a:spLocks/>
            </p:cNvSpPr>
            <p:nvPr/>
          </p:nvSpPr>
          <p:spPr bwMode="auto">
            <a:xfrm>
              <a:off x="7194134" y="4622800"/>
              <a:ext cx="185738" cy="404813"/>
            </a:xfrm>
            <a:custGeom>
              <a:avLst/>
              <a:gdLst/>
              <a:ahLst/>
              <a:cxnLst>
                <a:cxn ang="0">
                  <a:pos x="12" y="92"/>
                </a:cxn>
                <a:cxn ang="0">
                  <a:pos x="14" y="79"/>
                </a:cxn>
                <a:cxn ang="0">
                  <a:pos x="18" y="63"/>
                </a:cxn>
                <a:cxn ang="0">
                  <a:pos x="27" y="65"/>
                </a:cxn>
                <a:cxn ang="0">
                  <a:pos x="33" y="45"/>
                </a:cxn>
                <a:cxn ang="0">
                  <a:pos x="41" y="28"/>
                </a:cxn>
                <a:cxn ang="0">
                  <a:pos x="58" y="18"/>
                </a:cxn>
                <a:cxn ang="0">
                  <a:pos x="65" y="13"/>
                </a:cxn>
                <a:cxn ang="0">
                  <a:pos x="69" y="3"/>
                </a:cxn>
                <a:cxn ang="0">
                  <a:pos x="77" y="5"/>
                </a:cxn>
                <a:cxn ang="0">
                  <a:pos x="85" y="13"/>
                </a:cxn>
                <a:cxn ang="0">
                  <a:pos x="85" y="36"/>
                </a:cxn>
                <a:cxn ang="0">
                  <a:pos x="75" y="47"/>
                </a:cxn>
                <a:cxn ang="0">
                  <a:pos x="71" y="64"/>
                </a:cxn>
                <a:cxn ang="0">
                  <a:pos x="79" y="63"/>
                </a:cxn>
                <a:cxn ang="0">
                  <a:pos x="89" y="74"/>
                </a:cxn>
                <a:cxn ang="0">
                  <a:pos x="97" y="79"/>
                </a:cxn>
                <a:cxn ang="0">
                  <a:pos x="98" y="91"/>
                </a:cxn>
                <a:cxn ang="0">
                  <a:pos x="106" y="100"/>
                </a:cxn>
                <a:cxn ang="0">
                  <a:pos x="116" y="99"/>
                </a:cxn>
                <a:cxn ang="0">
                  <a:pos x="108" y="110"/>
                </a:cxn>
                <a:cxn ang="0">
                  <a:pos x="102" y="115"/>
                </a:cxn>
                <a:cxn ang="0">
                  <a:pos x="90" y="123"/>
                </a:cxn>
                <a:cxn ang="0">
                  <a:pos x="75" y="127"/>
                </a:cxn>
                <a:cxn ang="0">
                  <a:pos x="74" y="140"/>
                </a:cxn>
                <a:cxn ang="0">
                  <a:pos x="74" y="148"/>
                </a:cxn>
                <a:cxn ang="0">
                  <a:pos x="83" y="161"/>
                </a:cxn>
                <a:cxn ang="0">
                  <a:pos x="87" y="173"/>
                </a:cxn>
                <a:cxn ang="0">
                  <a:pos x="84" y="184"/>
                </a:cxn>
                <a:cxn ang="0">
                  <a:pos x="87" y="201"/>
                </a:cxn>
                <a:cxn ang="0">
                  <a:pos x="92" y="215"/>
                </a:cxn>
                <a:cxn ang="0">
                  <a:pos x="98" y="233"/>
                </a:cxn>
                <a:cxn ang="0">
                  <a:pos x="83" y="254"/>
                </a:cxn>
                <a:cxn ang="0">
                  <a:pos x="87" y="237"/>
                </a:cxn>
                <a:cxn ang="0">
                  <a:pos x="85" y="232"/>
                </a:cxn>
                <a:cxn ang="0">
                  <a:pos x="80" y="208"/>
                </a:cxn>
                <a:cxn ang="0">
                  <a:pos x="73" y="179"/>
                </a:cxn>
                <a:cxn ang="0">
                  <a:pos x="70" y="169"/>
                </a:cxn>
                <a:cxn ang="0">
                  <a:pos x="63" y="157"/>
                </a:cxn>
                <a:cxn ang="0">
                  <a:pos x="57" y="169"/>
                </a:cxn>
                <a:cxn ang="0">
                  <a:pos x="44" y="179"/>
                </a:cxn>
                <a:cxn ang="0">
                  <a:pos x="40" y="176"/>
                </a:cxn>
                <a:cxn ang="0">
                  <a:pos x="36" y="174"/>
                </a:cxn>
                <a:cxn ang="0">
                  <a:pos x="29" y="176"/>
                </a:cxn>
                <a:cxn ang="0">
                  <a:pos x="31" y="158"/>
                </a:cxn>
                <a:cxn ang="0">
                  <a:pos x="26" y="134"/>
                </a:cxn>
                <a:cxn ang="0">
                  <a:pos x="18" y="132"/>
                </a:cxn>
                <a:cxn ang="0">
                  <a:pos x="21" y="127"/>
                </a:cxn>
                <a:cxn ang="0">
                  <a:pos x="13" y="121"/>
                </a:cxn>
                <a:cxn ang="0">
                  <a:pos x="10" y="115"/>
                </a:cxn>
                <a:cxn ang="0">
                  <a:pos x="0" y="107"/>
                </a:cxn>
              </a:cxnLst>
              <a:rect l="0" t="0" r="r" b="b"/>
              <a:pathLst>
                <a:path w="117" h="255">
                  <a:moveTo>
                    <a:pt x="6" y="91"/>
                  </a:moveTo>
                  <a:lnTo>
                    <a:pt x="9" y="92"/>
                  </a:lnTo>
                  <a:lnTo>
                    <a:pt x="11" y="93"/>
                  </a:lnTo>
                  <a:lnTo>
                    <a:pt x="12" y="92"/>
                  </a:lnTo>
                  <a:lnTo>
                    <a:pt x="14" y="90"/>
                  </a:lnTo>
                  <a:lnTo>
                    <a:pt x="14" y="86"/>
                  </a:lnTo>
                  <a:lnTo>
                    <a:pt x="13" y="80"/>
                  </a:lnTo>
                  <a:lnTo>
                    <a:pt x="14" y="79"/>
                  </a:lnTo>
                  <a:lnTo>
                    <a:pt x="17" y="78"/>
                  </a:lnTo>
                  <a:lnTo>
                    <a:pt x="18" y="76"/>
                  </a:lnTo>
                  <a:lnTo>
                    <a:pt x="17" y="65"/>
                  </a:lnTo>
                  <a:lnTo>
                    <a:pt x="18" y="63"/>
                  </a:lnTo>
                  <a:lnTo>
                    <a:pt x="23" y="65"/>
                  </a:lnTo>
                  <a:lnTo>
                    <a:pt x="25" y="66"/>
                  </a:lnTo>
                  <a:lnTo>
                    <a:pt x="26" y="66"/>
                  </a:lnTo>
                  <a:lnTo>
                    <a:pt x="27" y="65"/>
                  </a:lnTo>
                  <a:lnTo>
                    <a:pt x="34" y="51"/>
                  </a:lnTo>
                  <a:lnTo>
                    <a:pt x="34" y="49"/>
                  </a:lnTo>
                  <a:lnTo>
                    <a:pt x="33" y="46"/>
                  </a:lnTo>
                  <a:lnTo>
                    <a:pt x="33" y="45"/>
                  </a:lnTo>
                  <a:lnTo>
                    <a:pt x="39" y="37"/>
                  </a:lnTo>
                  <a:lnTo>
                    <a:pt x="40" y="35"/>
                  </a:lnTo>
                  <a:lnTo>
                    <a:pt x="39" y="30"/>
                  </a:lnTo>
                  <a:lnTo>
                    <a:pt x="41" y="28"/>
                  </a:lnTo>
                  <a:lnTo>
                    <a:pt x="49" y="22"/>
                  </a:lnTo>
                  <a:lnTo>
                    <a:pt x="53" y="18"/>
                  </a:lnTo>
                  <a:lnTo>
                    <a:pt x="55" y="17"/>
                  </a:lnTo>
                  <a:lnTo>
                    <a:pt x="58" y="18"/>
                  </a:lnTo>
                  <a:lnTo>
                    <a:pt x="63" y="19"/>
                  </a:lnTo>
                  <a:lnTo>
                    <a:pt x="65" y="19"/>
                  </a:lnTo>
                  <a:lnTo>
                    <a:pt x="64" y="14"/>
                  </a:lnTo>
                  <a:lnTo>
                    <a:pt x="65" y="13"/>
                  </a:lnTo>
                  <a:lnTo>
                    <a:pt x="68" y="8"/>
                  </a:lnTo>
                  <a:lnTo>
                    <a:pt x="69" y="7"/>
                  </a:lnTo>
                  <a:lnTo>
                    <a:pt x="69" y="4"/>
                  </a:lnTo>
                  <a:lnTo>
                    <a:pt x="69" y="3"/>
                  </a:lnTo>
                  <a:lnTo>
                    <a:pt x="71" y="1"/>
                  </a:lnTo>
                  <a:lnTo>
                    <a:pt x="72" y="0"/>
                  </a:lnTo>
                  <a:lnTo>
                    <a:pt x="75" y="2"/>
                  </a:lnTo>
                  <a:lnTo>
                    <a:pt x="77" y="5"/>
                  </a:lnTo>
                  <a:lnTo>
                    <a:pt x="79" y="11"/>
                  </a:lnTo>
                  <a:lnTo>
                    <a:pt x="80" y="13"/>
                  </a:lnTo>
                  <a:lnTo>
                    <a:pt x="82" y="13"/>
                  </a:lnTo>
                  <a:lnTo>
                    <a:pt x="85" y="13"/>
                  </a:lnTo>
                  <a:lnTo>
                    <a:pt x="86" y="14"/>
                  </a:lnTo>
                  <a:lnTo>
                    <a:pt x="87" y="25"/>
                  </a:lnTo>
                  <a:lnTo>
                    <a:pt x="87" y="31"/>
                  </a:lnTo>
                  <a:lnTo>
                    <a:pt x="85" y="36"/>
                  </a:lnTo>
                  <a:lnTo>
                    <a:pt x="82" y="41"/>
                  </a:lnTo>
                  <a:lnTo>
                    <a:pt x="79" y="44"/>
                  </a:lnTo>
                  <a:lnTo>
                    <a:pt x="76" y="46"/>
                  </a:lnTo>
                  <a:lnTo>
                    <a:pt x="75" y="47"/>
                  </a:lnTo>
                  <a:lnTo>
                    <a:pt x="71" y="53"/>
                  </a:lnTo>
                  <a:lnTo>
                    <a:pt x="72" y="56"/>
                  </a:lnTo>
                  <a:lnTo>
                    <a:pt x="72" y="61"/>
                  </a:lnTo>
                  <a:lnTo>
                    <a:pt x="71" y="64"/>
                  </a:lnTo>
                  <a:lnTo>
                    <a:pt x="71" y="66"/>
                  </a:lnTo>
                  <a:lnTo>
                    <a:pt x="72" y="67"/>
                  </a:lnTo>
                  <a:lnTo>
                    <a:pt x="74" y="66"/>
                  </a:lnTo>
                  <a:lnTo>
                    <a:pt x="79" y="63"/>
                  </a:lnTo>
                  <a:lnTo>
                    <a:pt x="84" y="62"/>
                  </a:lnTo>
                  <a:lnTo>
                    <a:pt x="86" y="62"/>
                  </a:lnTo>
                  <a:lnTo>
                    <a:pt x="87" y="63"/>
                  </a:lnTo>
                  <a:lnTo>
                    <a:pt x="89" y="74"/>
                  </a:lnTo>
                  <a:lnTo>
                    <a:pt x="90" y="77"/>
                  </a:lnTo>
                  <a:lnTo>
                    <a:pt x="93" y="76"/>
                  </a:lnTo>
                  <a:lnTo>
                    <a:pt x="96" y="77"/>
                  </a:lnTo>
                  <a:lnTo>
                    <a:pt x="97" y="79"/>
                  </a:lnTo>
                  <a:lnTo>
                    <a:pt x="92" y="89"/>
                  </a:lnTo>
                  <a:lnTo>
                    <a:pt x="93" y="91"/>
                  </a:lnTo>
                  <a:lnTo>
                    <a:pt x="95" y="91"/>
                  </a:lnTo>
                  <a:lnTo>
                    <a:pt x="98" y="91"/>
                  </a:lnTo>
                  <a:lnTo>
                    <a:pt x="100" y="91"/>
                  </a:lnTo>
                  <a:lnTo>
                    <a:pt x="102" y="94"/>
                  </a:lnTo>
                  <a:lnTo>
                    <a:pt x="104" y="98"/>
                  </a:lnTo>
                  <a:lnTo>
                    <a:pt x="106" y="100"/>
                  </a:lnTo>
                  <a:lnTo>
                    <a:pt x="108" y="100"/>
                  </a:lnTo>
                  <a:lnTo>
                    <a:pt x="111" y="100"/>
                  </a:lnTo>
                  <a:lnTo>
                    <a:pt x="115" y="97"/>
                  </a:lnTo>
                  <a:lnTo>
                    <a:pt x="116" y="99"/>
                  </a:lnTo>
                  <a:lnTo>
                    <a:pt x="117" y="101"/>
                  </a:lnTo>
                  <a:lnTo>
                    <a:pt x="114" y="103"/>
                  </a:lnTo>
                  <a:lnTo>
                    <a:pt x="111" y="107"/>
                  </a:lnTo>
                  <a:lnTo>
                    <a:pt x="108" y="110"/>
                  </a:lnTo>
                  <a:lnTo>
                    <a:pt x="105" y="113"/>
                  </a:lnTo>
                  <a:lnTo>
                    <a:pt x="104" y="115"/>
                  </a:lnTo>
                  <a:lnTo>
                    <a:pt x="103" y="115"/>
                  </a:lnTo>
                  <a:lnTo>
                    <a:pt x="102" y="115"/>
                  </a:lnTo>
                  <a:lnTo>
                    <a:pt x="98" y="116"/>
                  </a:lnTo>
                  <a:lnTo>
                    <a:pt x="96" y="117"/>
                  </a:lnTo>
                  <a:lnTo>
                    <a:pt x="93" y="119"/>
                  </a:lnTo>
                  <a:lnTo>
                    <a:pt x="90" y="123"/>
                  </a:lnTo>
                  <a:lnTo>
                    <a:pt x="84" y="125"/>
                  </a:lnTo>
                  <a:lnTo>
                    <a:pt x="80" y="125"/>
                  </a:lnTo>
                  <a:lnTo>
                    <a:pt x="78" y="124"/>
                  </a:lnTo>
                  <a:lnTo>
                    <a:pt x="75" y="127"/>
                  </a:lnTo>
                  <a:lnTo>
                    <a:pt x="75" y="129"/>
                  </a:lnTo>
                  <a:lnTo>
                    <a:pt x="74" y="134"/>
                  </a:lnTo>
                  <a:lnTo>
                    <a:pt x="74" y="137"/>
                  </a:lnTo>
                  <a:lnTo>
                    <a:pt x="74" y="140"/>
                  </a:lnTo>
                  <a:lnTo>
                    <a:pt x="74" y="142"/>
                  </a:lnTo>
                  <a:lnTo>
                    <a:pt x="72" y="142"/>
                  </a:lnTo>
                  <a:lnTo>
                    <a:pt x="69" y="142"/>
                  </a:lnTo>
                  <a:lnTo>
                    <a:pt x="74" y="148"/>
                  </a:lnTo>
                  <a:lnTo>
                    <a:pt x="74" y="149"/>
                  </a:lnTo>
                  <a:lnTo>
                    <a:pt x="75" y="154"/>
                  </a:lnTo>
                  <a:lnTo>
                    <a:pt x="76" y="155"/>
                  </a:lnTo>
                  <a:lnTo>
                    <a:pt x="83" y="161"/>
                  </a:lnTo>
                  <a:lnTo>
                    <a:pt x="83" y="163"/>
                  </a:lnTo>
                  <a:lnTo>
                    <a:pt x="87" y="169"/>
                  </a:lnTo>
                  <a:lnTo>
                    <a:pt x="88" y="172"/>
                  </a:lnTo>
                  <a:lnTo>
                    <a:pt x="87" y="173"/>
                  </a:lnTo>
                  <a:lnTo>
                    <a:pt x="84" y="175"/>
                  </a:lnTo>
                  <a:lnTo>
                    <a:pt x="84" y="176"/>
                  </a:lnTo>
                  <a:lnTo>
                    <a:pt x="85" y="183"/>
                  </a:lnTo>
                  <a:lnTo>
                    <a:pt x="84" y="184"/>
                  </a:lnTo>
                  <a:lnTo>
                    <a:pt x="79" y="187"/>
                  </a:lnTo>
                  <a:lnTo>
                    <a:pt x="80" y="189"/>
                  </a:lnTo>
                  <a:lnTo>
                    <a:pt x="84" y="198"/>
                  </a:lnTo>
                  <a:lnTo>
                    <a:pt x="87" y="201"/>
                  </a:lnTo>
                  <a:lnTo>
                    <a:pt x="90" y="205"/>
                  </a:lnTo>
                  <a:lnTo>
                    <a:pt x="92" y="207"/>
                  </a:lnTo>
                  <a:lnTo>
                    <a:pt x="92" y="211"/>
                  </a:lnTo>
                  <a:lnTo>
                    <a:pt x="92" y="215"/>
                  </a:lnTo>
                  <a:lnTo>
                    <a:pt x="92" y="217"/>
                  </a:lnTo>
                  <a:lnTo>
                    <a:pt x="95" y="224"/>
                  </a:lnTo>
                  <a:lnTo>
                    <a:pt x="98" y="231"/>
                  </a:lnTo>
                  <a:lnTo>
                    <a:pt x="98" y="233"/>
                  </a:lnTo>
                  <a:lnTo>
                    <a:pt x="92" y="242"/>
                  </a:lnTo>
                  <a:lnTo>
                    <a:pt x="86" y="253"/>
                  </a:lnTo>
                  <a:lnTo>
                    <a:pt x="85" y="255"/>
                  </a:lnTo>
                  <a:lnTo>
                    <a:pt x="83" y="254"/>
                  </a:lnTo>
                  <a:lnTo>
                    <a:pt x="83" y="249"/>
                  </a:lnTo>
                  <a:lnTo>
                    <a:pt x="85" y="245"/>
                  </a:lnTo>
                  <a:lnTo>
                    <a:pt x="86" y="242"/>
                  </a:lnTo>
                  <a:lnTo>
                    <a:pt x="87" y="237"/>
                  </a:lnTo>
                  <a:lnTo>
                    <a:pt x="89" y="235"/>
                  </a:lnTo>
                  <a:lnTo>
                    <a:pt x="86" y="234"/>
                  </a:lnTo>
                  <a:lnTo>
                    <a:pt x="85" y="234"/>
                  </a:lnTo>
                  <a:lnTo>
                    <a:pt x="85" y="232"/>
                  </a:lnTo>
                  <a:lnTo>
                    <a:pt x="86" y="229"/>
                  </a:lnTo>
                  <a:lnTo>
                    <a:pt x="85" y="220"/>
                  </a:lnTo>
                  <a:lnTo>
                    <a:pt x="84" y="215"/>
                  </a:lnTo>
                  <a:lnTo>
                    <a:pt x="80" y="208"/>
                  </a:lnTo>
                  <a:lnTo>
                    <a:pt x="77" y="200"/>
                  </a:lnTo>
                  <a:lnTo>
                    <a:pt x="75" y="194"/>
                  </a:lnTo>
                  <a:lnTo>
                    <a:pt x="74" y="189"/>
                  </a:lnTo>
                  <a:lnTo>
                    <a:pt x="73" y="179"/>
                  </a:lnTo>
                  <a:lnTo>
                    <a:pt x="72" y="175"/>
                  </a:lnTo>
                  <a:lnTo>
                    <a:pt x="72" y="171"/>
                  </a:lnTo>
                  <a:lnTo>
                    <a:pt x="72" y="170"/>
                  </a:lnTo>
                  <a:lnTo>
                    <a:pt x="70" y="169"/>
                  </a:lnTo>
                  <a:lnTo>
                    <a:pt x="69" y="169"/>
                  </a:lnTo>
                  <a:lnTo>
                    <a:pt x="67" y="163"/>
                  </a:lnTo>
                  <a:lnTo>
                    <a:pt x="64" y="159"/>
                  </a:lnTo>
                  <a:lnTo>
                    <a:pt x="63" y="157"/>
                  </a:lnTo>
                  <a:lnTo>
                    <a:pt x="61" y="158"/>
                  </a:lnTo>
                  <a:lnTo>
                    <a:pt x="61" y="164"/>
                  </a:lnTo>
                  <a:lnTo>
                    <a:pt x="60" y="166"/>
                  </a:lnTo>
                  <a:lnTo>
                    <a:pt x="57" y="169"/>
                  </a:lnTo>
                  <a:lnTo>
                    <a:pt x="54" y="170"/>
                  </a:lnTo>
                  <a:lnTo>
                    <a:pt x="47" y="174"/>
                  </a:lnTo>
                  <a:lnTo>
                    <a:pt x="45" y="178"/>
                  </a:lnTo>
                  <a:lnTo>
                    <a:pt x="44" y="179"/>
                  </a:lnTo>
                  <a:lnTo>
                    <a:pt x="42" y="180"/>
                  </a:lnTo>
                  <a:lnTo>
                    <a:pt x="41" y="178"/>
                  </a:lnTo>
                  <a:lnTo>
                    <a:pt x="41" y="176"/>
                  </a:lnTo>
                  <a:lnTo>
                    <a:pt x="40" y="176"/>
                  </a:lnTo>
                  <a:lnTo>
                    <a:pt x="38" y="178"/>
                  </a:lnTo>
                  <a:lnTo>
                    <a:pt x="36" y="178"/>
                  </a:lnTo>
                  <a:lnTo>
                    <a:pt x="35" y="177"/>
                  </a:lnTo>
                  <a:lnTo>
                    <a:pt x="36" y="174"/>
                  </a:lnTo>
                  <a:lnTo>
                    <a:pt x="36" y="173"/>
                  </a:lnTo>
                  <a:lnTo>
                    <a:pt x="32" y="174"/>
                  </a:lnTo>
                  <a:lnTo>
                    <a:pt x="30" y="175"/>
                  </a:lnTo>
                  <a:lnTo>
                    <a:pt x="29" y="176"/>
                  </a:lnTo>
                  <a:lnTo>
                    <a:pt x="27" y="176"/>
                  </a:lnTo>
                  <a:lnTo>
                    <a:pt x="27" y="173"/>
                  </a:lnTo>
                  <a:lnTo>
                    <a:pt x="30" y="163"/>
                  </a:lnTo>
                  <a:lnTo>
                    <a:pt x="31" y="158"/>
                  </a:lnTo>
                  <a:lnTo>
                    <a:pt x="31" y="153"/>
                  </a:lnTo>
                  <a:lnTo>
                    <a:pt x="30" y="146"/>
                  </a:lnTo>
                  <a:lnTo>
                    <a:pt x="28" y="140"/>
                  </a:lnTo>
                  <a:lnTo>
                    <a:pt x="26" y="134"/>
                  </a:lnTo>
                  <a:lnTo>
                    <a:pt x="25" y="132"/>
                  </a:lnTo>
                  <a:lnTo>
                    <a:pt x="23" y="136"/>
                  </a:lnTo>
                  <a:lnTo>
                    <a:pt x="21" y="134"/>
                  </a:lnTo>
                  <a:lnTo>
                    <a:pt x="18" y="132"/>
                  </a:lnTo>
                  <a:lnTo>
                    <a:pt x="21" y="131"/>
                  </a:lnTo>
                  <a:lnTo>
                    <a:pt x="23" y="131"/>
                  </a:lnTo>
                  <a:lnTo>
                    <a:pt x="22" y="128"/>
                  </a:lnTo>
                  <a:lnTo>
                    <a:pt x="21" y="127"/>
                  </a:lnTo>
                  <a:lnTo>
                    <a:pt x="17" y="122"/>
                  </a:lnTo>
                  <a:lnTo>
                    <a:pt x="17" y="121"/>
                  </a:lnTo>
                  <a:lnTo>
                    <a:pt x="15" y="120"/>
                  </a:lnTo>
                  <a:lnTo>
                    <a:pt x="13" y="121"/>
                  </a:lnTo>
                  <a:lnTo>
                    <a:pt x="11" y="119"/>
                  </a:lnTo>
                  <a:lnTo>
                    <a:pt x="11" y="116"/>
                  </a:lnTo>
                  <a:lnTo>
                    <a:pt x="11" y="116"/>
                  </a:lnTo>
                  <a:lnTo>
                    <a:pt x="10" y="115"/>
                  </a:lnTo>
                  <a:lnTo>
                    <a:pt x="8" y="115"/>
                  </a:lnTo>
                  <a:lnTo>
                    <a:pt x="4" y="112"/>
                  </a:lnTo>
                  <a:lnTo>
                    <a:pt x="1" y="109"/>
                  </a:lnTo>
                  <a:lnTo>
                    <a:pt x="0" y="107"/>
                  </a:lnTo>
                  <a:lnTo>
                    <a:pt x="2" y="105"/>
                  </a:lnTo>
                  <a:lnTo>
                    <a:pt x="7" y="101"/>
                  </a:lnTo>
                  <a:lnTo>
                    <a:pt x="6" y="9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1" name="Freeform 155">
              <a:extLst>
                <a:ext uri="{FF2B5EF4-FFF2-40B4-BE49-F238E27FC236}">
                  <a16:creationId xmlns:a16="http://schemas.microsoft.com/office/drawing/2014/main" id="{56E2A44B-E28F-3514-11C9-2E2879B7D8E2}"/>
                </a:ext>
              </a:extLst>
            </p:cNvPr>
            <p:cNvSpPr>
              <a:spLocks/>
            </p:cNvSpPr>
            <p:nvPr/>
          </p:nvSpPr>
          <p:spPr bwMode="auto">
            <a:xfrm>
              <a:off x="7359234" y="4757738"/>
              <a:ext cx="153988" cy="190500"/>
            </a:xfrm>
            <a:custGeom>
              <a:avLst/>
              <a:gdLst/>
              <a:ahLst/>
              <a:cxnLst>
                <a:cxn ang="0">
                  <a:pos x="70" y="111"/>
                </a:cxn>
                <a:cxn ang="0">
                  <a:pos x="71" y="102"/>
                </a:cxn>
                <a:cxn ang="0">
                  <a:pos x="67" y="95"/>
                </a:cxn>
                <a:cxn ang="0">
                  <a:pos x="60" y="84"/>
                </a:cxn>
                <a:cxn ang="0">
                  <a:pos x="60" y="73"/>
                </a:cxn>
                <a:cxn ang="0">
                  <a:pos x="53" y="65"/>
                </a:cxn>
                <a:cxn ang="0">
                  <a:pos x="51" y="60"/>
                </a:cxn>
                <a:cxn ang="0">
                  <a:pos x="44" y="58"/>
                </a:cxn>
                <a:cxn ang="0">
                  <a:pos x="40" y="60"/>
                </a:cxn>
                <a:cxn ang="0">
                  <a:pos x="36" y="65"/>
                </a:cxn>
                <a:cxn ang="0">
                  <a:pos x="31" y="64"/>
                </a:cxn>
                <a:cxn ang="0">
                  <a:pos x="24" y="62"/>
                </a:cxn>
                <a:cxn ang="0">
                  <a:pos x="15" y="72"/>
                </a:cxn>
                <a:cxn ang="0">
                  <a:pos x="11" y="69"/>
                </a:cxn>
                <a:cxn ang="0">
                  <a:pos x="12" y="63"/>
                </a:cxn>
                <a:cxn ang="0">
                  <a:pos x="16" y="51"/>
                </a:cxn>
                <a:cxn ang="0">
                  <a:pos x="14" y="42"/>
                </a:cxn>
                <a:cxn ang="0">
                  <a:pos x="9" y="44"/>
                </a:cxn>
                <a:cxn ang="0">
                  <a:pos x="5" y="43"/>
                </a:cxn>
                <a:cxn ang="0">
                  <a:pos x="5" y="35"/>
                </a:cxn>
                <a:cxn ang="0">
                  <a:pos x="4" y="32"/>
                </a:cxn>
                <a:cxn ang="0">
                  <a:pos x="0" y="30"/>
                </a:cxn>
                <a:cxn ang="0">
                  <a:pos x="4" y="25"/>
                </a:cxn>
                <a:cxn ang="0">
                  <a:pos x="10" y="18"/>
                </a:cxn>
                <a:cxn ang="0">
                  <a:pos x="14" y="17"/>
                </a:cxn>
                <a:cxn ang="0">
                  <a:pos x="20" y="19"/>
                </a:cxn>
                <a:cxn ang="0">
                  <a:pos x="22" y="15"/>
                </a:cxn>
                <a:cxn ang="0">
                  <a:pos x="20" y="10"/>
                </a:cxn>
                <a:cxn ang="0">
                  <a:pos x="20" y="4"/>
                </a:cxn>
                <a:cxn ang="0">
                  <a:pos x="25" y="0"/>
                </a:cxn>
                <a:cxn ang="0">
                  <a:pos x="31" y="9"/>
                </a:cxn>
                <a:cxn ang="0">
                  <a:pos x="37" y="18"/>
                </a:cxn>
                <a:cxn ang="0">
                  <a:pos x="42" y="25"/>
                </a:cxn>
                <a:cxn ang="0">
                  <a:pos x="46" y="26"/>
                </a:cxn>
                <a:cxn ang="0">
                  <a:pos x="52" y="22"/>
                </a:cxn>
                <a:cxn ang="0">
                  <a:pos x="56" y="27"/>
                </a:cxn>
                <a:cxn ang="0">
                  <a:pos x="61" y="36"/>
                </a:cxn>
                <a:cxn ang="0">
                  <a:pos x="58" y="39"/>
                </a:cxn>
                <a:cxn ang="0">
                  <a:pos x="54" y="39"/>
                </a:cxn>
                <a:cxn ang="0">
                  <a:pos x="50" y="42"/>
                </a:cxn>
                <a:cxn ang="0">
                  <a:pos x="51" y="46"/>
                </a:cxn>
                <a:cxn ang="0">
                  <a:pos x="62" y="54"/>
                </a:cxn>
                <a:cxn ang="0">
                  <a:pos x="70" y="62"/>
                </a:cxn>
                <a:cxn ang="0">
                  <a:pos x="84" y="81"/>
                </a:cxn>
                <a:cxn ang="0">
                  <a:pos x="90" y="87"/>
                </a:cxn>
                <a:cxn ang="0">
                  <a:pos x="93" y="91"/>
                </a:cxn>
                <a:cxn ang="0">
                  <a:pos x="92" y="95"/>
                </a:cxn>
                <a:cxn ang="0">
                  <a:pos x="97" y="101"/>
                </a:cxn>
                <a:cxn ang="0">
                  <a:pos x="96" y="110"/>
                </a:cxn>
                <a:cxn ang="0">
                  <a:pos x="89" y="113"/>
                </a:cxn>
                <a:cxn ang="0">
                  <a:pos x="85" y="112"/>
                </a:cxn>
                <a:cxn ang="0">
                  <a:pos x="80" y="112"/>
                </a:cxn>
                <a:cxn ang="0">
                  <a:pos x="78" y="115"/>
                </a:cxn>
                <a:cxn ang="0">
                  <a:pos x="80" y="118"/>
                </a:cxn>
                <a:cxn ang="0">
                  <a:pos x="78" y="120"/>
                </a:cxn>
                <a:cxn ang="0">
                  <a:pos x="73" y="117"/>
                </a:cxn>
                <a:cxn ang="0">
                  <a:pos x="66" y="115"/>
                </a:cxn>
              </a:cxnLst>
              <a:rect l="0" t="0" r="r" b="b"/>
              <a:pathLst>
                <a:path w="97" h="120">
                  <a:moveTo>
                    <a:pt x="66" y="115"/>
                  </a:moveTo>
                  <a:lnTo>
                    <a:pt x="70" y="111"/>
                  </a:lnTo>
                  <a:lnTo>
                    <a:pt x="71" y="108"/>
                  </a:lnTo>
                  <a:lnTo>
                    <a:pt x="71" y="102"/>
                  </a:lnTo>
                  <a:lnTo>
                    <a:pt x="70" y="99"/>
                  </a:lnTo>
                  <a:lnTo>
                    <a:pt x="67" y="95"/>
                  </a:lnTo>
                  <a:lnTo>
                    <a:pt x="62" y="87"/>
                  </a:lnTo>
                  <a:lnTo>
                    <a:pt x="60" y="84"/>
                  </a:lnTo>
                  <a:lnTo>
                    <a:pt x="60" y="82"/>
                  </a:lnTo>
                  <a:lnTo>
                    <a:pt x="60" y="73"/>
                  </a:lnTo>
                  <a:lnTo>
                    <a:pt x="57" y="69"/>
                  </a:lnTo>
                  <a:lnTo>
                    <a:pt x="53" y="65"/>
                  </a:lnTo>
                  <a:lnTo>
                    <a:pt x="51" y="61"/>
                  </a:lnTo>
                  <a:lnTo>
                    <a:pt x="51" y="60"/>
                  </a:lnTo>
                  <a:lnTo>
                    <a:pt x="49" y="59"/>
                  </a:lnTo>
                  <a:lnTo>
                    <a:pt x="44" y="58"/>
                  </a:lnTo>
                  <a:lnTo>
                    <a:pt x="42" y="57"/>
                  </a:lnTo>
                  <a:lnTo>
                    <a:pt x="40" y="60"/>
                  </a:lnTo>
                  <a:lnTo>
                    <a:pt x="39" y="64"/>
                  </a:lnTo>
                  <a:lnTo>
                    <a:pt x="36" y="65"/>
                  </a:lnTo>
                  <a:lnTo>
                    <a:pt x="34" y="66"/>
                  </a:lnTo>
                  <a:lnTo>
                    <a:pt x="31" y="64"/>
                  </a:lnTo>
                  <a:lnTo>
                    <a:pt x="26" y="62"/>
                  </a:lnTo>
                  <a:lnTo>
                    <a:pt x="24" y="62"/>
                  </a:lnTo>
                  <a:lnTo>
                    <a:pt x="17" y="69"/>
                  </a:lnTo>
                  <a:lnTo>
                    <a:pt x="15" y="72"/>
                  </a:lnTo>
                  <a:lnTo>
                    <a:pt x="12" y="71"/>
                  </a:lnTo>
                  <a:lnTo>
                    <a:pt x="11" y="69"/>
                  </a:lnTo>
                  <a:lnTo>
                    <a:pt x="11" y="66"/>
                  </a:lnTo>
                  <a:lnTo>
                    <a:pt x="12" y="63"/>
                  </a:lnTo>
                  <a:lnTo>
                    <a:pt x="15" y="54"/>
                  </a:lnTo>
                  <a:lnTo>
                    <a:pt x="16" y="51"/>
                  </a:lnTo>
                  <a:lnTo>
                    <a:pt x="14" y="43"/>
                  </a:lnTo>
                  <a:lnTo>
                    <a:pt x="14" y="42"/>
                  </a:lnTo>
                  <a:lnTo>
                    <a:pt x="12" y="42"/>
                  </a:lnTo>
                  <a:lnTo>
                    <a:pt x="9" y="44"/>
                  </a:lnTo>
                  <a:lnTo>
                    <a:pt x="6" y="44"/>
                  </a:lnTo>
                  <a:lnTo>
                    <a:pt x="5" y="43"/>
                  </a:lnTo>
                  <a:lnTo>
                    <a:pt x="4" y="40"/>
                  </a:lnTo>
                  <a:lnTo>
                    <a:pt x="5" y="35"/>
                  </a:lnTo>
                  <a:lnTo>
                    <a:pt x="5" y="33"/>
                  </a:lnTo>
                  <a:lnTo>
                    <a:pt x="4" y="32"/>
                  </a:lnTo>
                  <a:lnTo>
                    <a:pt x="3" y="31"/>
                  </a:lnTo>
                  <a:lnTo>
                    <a:pt x="0" y="30"/>
                  </a:lnTo>
                  <a:lnTo>
                    <a:pt x="1" y="28"/>
                  </a:lnTo>
                  <a:lnTo>
                    <a:pt x="4" y="25"/>
                  </a:lnTo>
                  <a:lnTo>
                    <a:pt x="7" y="22"/>
                  </a:lnTo>
                  <a:lnTo>
                    <a:pt x="10" y="18"/>
                  </a:lnTo>
                  <a:lnTo>
                    <a:pt x="13" y="16"/>
                  </a:lnTo>
                  <a:lnTo>
                    <a:pt x="14" y="17"/>
                  </a:lnTo>
                  <a:lnTo>
                    <a:pt x="16" y="18"/>
                  </a:lnTo>
                  <a:lnTo>
                    <a:pt x="20" y="19"/>
                  </a:lnTo>
                  <a:lnTo>
                    <a:pt x="22" y="18"/>
                  </a:lnTo>
                  <a:lnTo>
                    <a:pt x="22" y="15"/>
                  </a:lnTo>
                  <a:lnTo>
                    <a:pt x="22" y="12"/>
                  </a:lnTo>
                  <a:lnTo>
                    <a:pt x="20" y="10"/>
                  </a:lnTo>
                  <a:lnTo>
                    <a:pt x="19" y="6"/>
                  </a:lnTo>
                  <a:lnTo>
                    <a:pt x="20" y="4"/>
                  </a:lnTo>
                  <a:lnTo>
                    <a:pt x="21" y="2"/>
                  </a:lnTo>
                  <a:lnTo>
                    <a:pt x="25" y="0"/>
                  </a:lnTo>
                  <a:lnTo>
                    <a:pt x="28" y="5"/>
                  </a:lnTo>
                  <a:lnTo>
                    <a:pt x="31" y="9"/>
                  </a:lnTo>
                  <a:lnTo>
                    <a:pt x="35" y="13"/>
                  </a:lnTo>
                  <a:lnTo>
                    <a:pt x="37" y="18"/>
                  </a:lnTo>
                  <a:lnTo>
                    <a:pt x="39" y="23"/>
                  </a:lnTo>
                  <a:lnTo>
                    <a:pt x="42" y="25"/>
                  </a:lnTo>
                  <a:lnTo>
                    <a:pt x="45" y="27"/>
                  </a:lnTo>
                  <a:lnTo>
                    <a:pt x="46" y="26"/>
                  </a:lnTo>
                  <a:lnTo>
                    <a:pt x="49" y="23"/>
                  </a:lnTo>
                  <a:lnTo>
                    <a:pt x="52" y="22"/>
                  </a:lnTo>
                  <a:lnTo>
                    <a:pt x="54" y="23"/>
                  </a:lnTo>
                  <a:lnTo>
                    <a:pt x="56" y="27"/>
                  </a:lnTo>
                  <a:lnTo>
                    <a:pt x="61" y="33"/>
                  </a:lnTo>
                  <a:lnTo>
                    <a:pt x="61" y="36"/>
                  </a:lnTo>
                  <a:lnTo>
                    <a:pt x="60" y="38"/>
                  </a:lnTo>
                  <a:lnTo>
                    <a:pt x="58" y="39"/>
                  </a:lnTo>
                  <a:lnTo>
                    <a:pt x="57" y="40"/>
                  </a:lnTo>
                  <a:lnTo>
                    <a:pt x="54" y="39"/>
                  </a:lnTo>
                  <a:lnTo>
                    <a:pt x="52" y="40"/>
                  </a:lnTo>
                  <a:lnTo>
                    <a:pt x="50" y="42"/>
                  </a:lnTo>
                  <a:lnTo>
                    <a:pt x="51" y="45"/>
                  </a:lnTo>
                  <a:lnTo>
                    <a:pt x="51" y="46"/>
                  </a:lnTo>
                  <a:lnTo>
                    <a:pt x="59" y="51"/>
                  </a:lnTo>
                  <a:lnTo>
                    <a:pt x="62" y="54"/>
                  </a:lnTo>
                  <a:lnTo>
                    <a:pt x="66" y="58"/>
                  </a:lnTo>
                  <a:lnTo>
                    <a:pt x="70" y="62"/>
                  </a:lnTo>
                  <a:lnTo>
                    <a:pt x="80" y="75"/>
                  </a:lnTo>
                  <a:lnTo>
                    <a:pt x="84" y="81"/>
                  </a:lnTo>
                  <a:lnTo>
                    <a:pt x="86" y="84"/>
                  </a:lnTo>
                  <a:lnTo>
                    <a:pt x="90" y="87"/>
                  </a:lnTo>
                  <a:lnTo>
                    <a:pt x="92" y="88"/>
                  </a:lnTo>
                  <a:lnTo>
                    <a:pt x="93" y="91"/>
                  </a:lnTo>
                  <a:lnTo>
                    <a:pt x="92" y="94"/>
                  </a:lnTo>
                  <a:lnTo>
                    <a:pt x="92" y="95"/>
                  </a:lnTo>
                  <a:lnTo>
                    <a:pt x="95" y="98"/>
                  </a:lnTo>
                  <a:lnTo>
                    <a:pt x="97" y="101"/>
                  </a:lnTo>
                  <a:lnTo>
                    <a:pt x="97" y="105"/>
                  </a:lnTo>
                  <a:lnTo>
                    <a:pt x="96" y="110"/>
                  </a:lnTo>
                  <a:lnTo>
                    <a:pt x="95" y="111"/>
                  </a:lnTo>
                  <a:lnTo>
                    <a:pt x="89" y="113"/>
                  </a:lnTo>
                  <a:lnTo>
                    <a:pt x="87" y="114"/>
                  </a:lnTo>
                  <a:lnTo>
                    <a:pt x="85" y="112"/>
                  </a:lnTo>
                  <a:lnTo>
                    <a:pt x="82" y="111"/>
                  </a:lnTo>
                  <a:lnTo>
                    <a:pt x="80" y="112"/>
                  </a:lnTo>
                  <a:lnTo>
                    <a:pt x="78" y="114"/>
                  </a:lnTo>
                  <a:lnTo>
                    <a:pt x="78" y="115"/>
                  </a:lnTo>
                  <a:lnTo>
                    <a:pt x="79" y="116"/>
                  </a:lnTo>
                  <a:lnTo>
                    <a:pt x="80" y="118"/>
                  </a:lnTo>
                  <a:lnTo>
                    <a:pt x="79" y="119"/>
                  </a:lnTo>
                  <a:lnTo>
                    <a:pt x="78" y="120"/>
                  </a:lnTo>
                  <a:lnTo>
                    <a:pt x="75" y="118"/>
                  </a:lnTo>
                  <a:lnTo>
                    <a:pt x="73" y="117"/>
                  </a:lnTo>
                  <a:lnTo>
                    <a:pt x="69" y="116"/>
                  </a:lnTo>
                  <a:lnTo>
                    <a:pt x="66" y="11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2" name="Freeform 156">
              <a:extLst>
                <a:ext uri="{FF2B5EF4-FFF2-40B4-BE49-F238E27FC236}">
                  <a16:creationId xmlns:a16="http://schemas.microsoft.com/office/drawing/2014/main" id="{A86ED988-DF4B-6B45-4716-7BF2B706F460}"/>
                </a:ext>
              </a:extLst>
            </p:cNvPr>
            <p:cNvSpPr>
              <a:spLocks/>
            </p:cNvSpPr>
            <p:nvPr/>
          </p:nvSpPr>
          <p:spPr bwMode="auto">
            <a:xfrm>
              <a:off x="7303671" y="4805363"/>
              <a:ext cx="168275" cy="317500"/>
            </a:xfrm>
            <a:custGeom>
              <a:avLst/>
              <a:gdLst/>
              <a:ahLst/>
              <a:cxnLst>
                <a:cxn ang="0">
                  <a:pos x="57" y="199"/>
                </a:cxn>
                <a:cxn ang="0">
                  <a:pos x="50" y="198"/>
                </a:cxn>
                <a:cxn ang="0">
                  <a:pos x="48" y="196"/>
                </a:cxn>
                <a:cxn ang="0">
                  <a:pos x="43" y="191"/>
                </a:cxn>
                <a:cxn ang="0">
                  <a:pos x="36" y="189"/>
                </a:cxn>
                <a:cxn ang="0">
                  <a:pos x="32" y="187"/>
                </a:cxn>
                <a:cxn ang="0">
                  <a:pos x="29" y="178"/>
                </a:cxn>
                <a:cxn ang="0">
                  <a:pos x="22" y="169"/>
                </a:cxn>
                <a:cxn ang="0">
                  <a:pos x="14" y="165"/>
                </a:cxn>
                <a:cxn ang="0">
                  <a:pos x="12" y="156"/>
                </a:cxn>
                <a:cxn ang="0">
                  <a:pos x="17" y="138"/>
                </a:cxn>
                <a:cxn ang="0">
                  <a:pos x="26" y="109"/>
                </a:cxn>
                <a:cxn ang="0">
                  <a:pos x="23" y="92"/>
                </a:cxn>
                <a:cxn ang="0">
                  <a:pos x="11" y="74"/>
                </a:cxn>
                <a:cxn ang="0">
                  <a:pos x="15" y="61"/>
                </a:cxn>
                <a:cxn ang="0">
                  <a:pos x="18" y="54"/>
                </a:cxn>
                <a:cxn ang="0">
                  <a:pos x="6" y="39"/>
                </a:cxn>
                <a:cxn ang="0">
                  <a:pos x="3" y="27"/>
                </a:cxn>
                <a:cxn ang="0">
                  <a:pos x="5" y="19"/>
                </a:cxn>
                <a:cxn ang="0">
                  <a:pos x="11" y="10"/>
                </a:cxn>
                <a:cxn ang="0">
                  <a:pos x="27" y="2"/>
                </a:cxn>
                <a:cxn ang="0">
                  <a:pos x="35" y="0"/>
                </a:cxn>
                <a:cxn ang="0">
                  <a:pos x="40" y="5"/>
                </a:cxn>
                <a:cxn ang="0">
                  <a:pos x="44" y="14"/>
                </a:cxn>
                <a:cxn ang="0">
                  <a:pos x="51" y="21"/>
                </a:cxn>
                <a:cxn ang="0">
                  <a:pos x="46" y="39"/>
                </a:cxn>
                <a:cxn ang="0">
                  <a:pos x="59" y="32"/>
                </a:cxn>
                <a:cxn ang="0">
                  <a:pos x="71" y="35"/>
                </a:cxn>
                <a:cxn ang="0">
                  <a:pos x="79" y="28"/>
                </a:cxn>
                <a:cxn ang="0">
                  <a:pos x="88" y="35"/>
                </a:cxn>
                <a:cxn ang="0">
                  <a:pos x="95" y="54"/>
                </a:cxn>
                <a:cxn ang="0">
                  <a:pos x="106" y="72"/>
                </a:cxn>
                <a:cxn ang="0">
                  <a:pos x="99" y="84"/>
                </a:cxn>
                <a:cxn ang="0">
                  <a:pos x="84" y="83"/>
                </a:cxn>
                <a:cxn ang="0">
                  <a:pos x="66" y="94"/>
                </a:cxn>
                <a:cxn ang="0">
                  <a:pos x="66" y="106"/>
                </a:cxn>
                <a:cxn ang="0">
                  <a:pos x="69" y="114"/>
                </a:cxn>
                <a:cxn ang="0">
                  <a:pos x="57" y="106"/>
                </a:cxn>
                <a:cxn ang="0">
                  <a:pos x="48" y="106"/>
                </a:cxn>
                <a:cxn ang="0">
                  <a:pos x="46" y="95"/>
                </a:cxn>
                <a:cxn ang="0">
                  <a:pos x="35" y="96"/>
                </a:cxn>
                <a:cxn ang="0">
                  <a:pos x="32" y="108"/>
                </a:cxn>
                <a:cxn ang="0">
                  <a:pos x="28" y="125"/>
                </a:cxn>
                <a:cxn ang="0">
                  <a:pos x="24" y="151"/>
                </a:cxn>
                <a:cxn ang="0">
                  <a:pos x="32" y="151"/>
                </a:cxn>
                <a:cxn ang="0">
                  <a:pos x="33" y="160"/>
                </a:cxn>
                <a:cxn ang="0">
                  <a:pos x="38" y="169"/>
                </a:cxn>
                <a:cxn ang="0">
                  <a:pos x="42" y="181"/>
                </a:cxn>
                <a:cxn ang="0">
                  <a:pos x="55" y="184"/>
                </a:cxn>
              </a:cxnLst>
              <a:rect l="0" t="0" r="r" b="b"/>
              <a:pathLst>
                <a:path w="106" h="200">
                  <a:moveTo>
                    <a:pt x="62" y="192"/>
                  </a:moveTo>
                  <a:lnTo>
                    <a:pt x="61" y="194"/>
                  </a:lnTo>
                  <a:lnTo>
                    <a:pt x="58" y="196"/>
                  </a:lnTo>
                  <a:lnTo>
                    <a:pt x="57" y="199"/>
                  </a:lnTo>
                  <a:lnTo>
                    <a:pt x="54" y="200"/>
                  </a:lnTo>
                  <a:lnTo>
                    <a:pt x="53" y="197"/>
                  </a:lnTo>
                  <a:lnTo>
                    <a:pt x="51" y="196"/>
                  </a:lnTo>
                  <a:lnTo>
                    <a:pt x="50" y="198"/>
                  </a:lnTo>
                  <a:lnTo>
                    <a:pt x="48" y="200"/>
                  </a:lnTo>
                  <a:lnTo>
                    <a:pt x="47" y="200"/>
                  </a:lnTo>
                  <a:lnTo>
                    <a:pt x="47" y="198"/>
                  </a:lnTo>
                  <a:lnTo>
                    <a:pt x="48" y="196"/>
                  </a:lnTo>
                  <a:lnTo>
                    <a:pt x="48" y="195"/>
                  </a:lnTo>
                  <a:lnTo>
                    <a:pt x="47" y="193"/>
                  </a:lnTo>
                  <a:lnTo>
                    <a:pt x="46" y="192"/>
                  </a:lnTo>
                  <a:lnTo>
                    <a:pt x="43" y="191"/>
                  </a:lnTo>
                  <a:lnTo>
                    <a:pt x="42" y="189"/>
                  </a:lnTo>
                  <a:lnTo>
                    <a:pt x="39" y="189"/>
                  </a:lnTo>
                  <a:lnTo>
                    <a:pt x="36" y="190"/>
                  </a:lnTo>
                  <a:lnTo>
                    <a:pt x="36" y="189"/>
                  </a:lnTo>
                  <a:lnTo>
                    <a:pt x="38" y="187"/>
                  </a:lnTo>
                  <a:lnTo>
                    <a:pt x="36" y="186"/>
                  </a:lnTo>
                  <a:lnTo>
                    <a:pt x="34" y="187"/>
                  </a:lnTo>
                  <a:lnTo>
                    <a:pt x="32" y="187"/>
                  </a:lnTo>
                  <a:lnTo>
                    <a:pt x="30" y="185"/>
                  </a:lnTo>
                  <a:lnTo>
                    <a:pt x="29" y="182"/>
                  </a:lnTo>
                  <a:lnTo>
                    <a:pt x="30" y="180"/>
                  </a:lnTo>
                  <a:lnTo>
                    <a:pt x="29" y="178"/>
                  </a:lnTo>
                  <a:lnTo>
                    <a:pt x="27" y="177"/>
                  </a:lnTo>
                  <a:lnTo>
                    <a:pt x="25" y="177"/>
                  </a:lnTo>
                  <a:lnTo>
                    <a:pt x="23" y="172"/>
                  </a:lnTo>
                  <a:lnTo>
                    <a:pt x="22" y="169"/>
                  </a:lnTo>
                  <a:lnTo>
                    <a:pt x="20" y="168"/>
                  </a:lnTo>
                  <a:lnTo>
                    <a:pt x="18" y="167"/>
                  </a:lnTo>
                  <a:lnTo>
                    <a:pt x="15" y="164"/>
                  </a:lnTo>
                  <a:lnTo>
                    <a:pt x="14" y="165"/>
                  </a:lnTo>
                  <a:lnTo>
                    <a:pt x="12" y="166"/>
                  </a:lnTo>
                  <a:lnTo>
                    <a:pt x="11" y="163"/>
                  </a:lnTo>
                  <a:lnTo>
                    <a:pt x="11" y="160"/>
                  </a:lnTo>
                  <a:lnTo>
                    <a:pt x="12" y="156"/>
                  </a:lnTo>
                  <a:lnTo>
                    <a:pt x="15" y="145"/>
                  </a:lnTo>
                  <a:lnTo>
                    <a:pt x="17" y="140"/>
                  </a:lnTo>
                  <a:lnTo>
                    <a:pt x="16" y="140"/>
                  </a:lnTo>
                  <a:lnTo>
                    <a:pt x="17" y="138"/>
                  </a:lnTo>
                  <a:lnTo>
                    <a:pt x="23" y="127"/>
                  </a:lnTo>
                  <a:lnTo>
                    <a:pt x="29" y="118"/>
                  </a:lnTo>
                  <a:lnTo>
                    <a:pt x="29" y="116"/>
                  </a:lnTo>
                  <a:lnTo>
                    <a:pt x="26" y="109"/>
                  </a:lnTo>
                  <a:lnTo>
                    <a:pt x="23" y="102"/>
                  </a:lnTo>
                  <a:lnTo>
                    <a:pt x="23" y="100"/>
                  </a:lnTo>
                  <a:lnTo>
                    <a:pt x="23" y="96"/>
                  </a:lnTo>
                  <a:lnTo>
                    <a:pt x="23" y="92"/>
                  </a:lnTo>
                  <a:lnTo>
                    <a:pt x="21" y="90"/>
                  </a:lnTo>
                  <a:lnTo>
                    <a:pt x="18" y="86"/>
                  </a:lnTo>
                  <a:lnTo>
                    <a:pt x="15" y="83"/>
                  </a:lnTo>
                  <a:lnTo>
                    <a:pt x="11" y="74"/>
                  </a:lnTo>
                  <a:lnTo>
                    <a:pt x="10" y="72"/>
                  </a:lnTo>
                  <a:lnTo>
                    <a:pt x="15" y="69"/>
                  </a:lnTo>
                  <a:lnTo>
                    <a:pt x="16" y="68"/>
                  </a:lnTo>
                  <a:lnTo>
                    <a:pt x="15" y="61"/>
                  </a:lnTo>
                  <a:lnTo>
                    <a:pt x="15" y="60"/>
                  </a:lnTo>
                  <a:lnTo>
                    <a:pt x="18" y="58"/>
                  </a:lnTo>
                  <a:lnTo>
                    <a:pt x="19" y="57"/>
                  </a:lnTo>
                  <a:lnTo>
                    <a:pt x="18" y="54"/>
                  </a:lnTo>
                  <a:lnTo>
                    <a:pt x="14" y="48"/>
                  </a:lnTo>
                  <a:lnTo>
                    <a:pt x="14" y="46"/>
                  </a:lnTo>
                  <a:lnTo>
                    <a:pt x="7" y="40"/>
                  </a:lnTo>
                  <a:lnTo>
                    <a:pt x="6" y="39"/>
                  </a:lnTo>
                  <a:lnTo>
                    <a:pt x="5" y="34"/>
                  </a:lnTo>
                  <a:lnTo>
                    <a:pt x="5" y="33"/>
                  </a:lnTo>
                  <a:lnTo>
                    <a:pt x="0" y="27"/>
                  </a:lnTo>
                  <a:lnTo>
                    <a:pt x="3" y="27"/>
                  </a:lnTo>
                  <a:lnTo>
                    <a:pt x="5" y="27"/>
                  </a:lnTo>
                  <a:lnTo>
                    <a:pt x="5" y="25"/>
                  </a:lnTo>
                  <a:lnTo>
                    <a:pt x="5" y="22"/>
                  </a:lnTo>
                  <a:lnTo>
                    <a:pt x="5" y="19"/>
                  </a:lnTo>
                  <a:lnTo>
                    <a:pt x="6" y="14"/>
                  </a:lnTo>
                  <a:lnTo>
                    <a:pt x="6" y="12"/>
                  </a:lnTo>
                  <a:lnTo>
                    <a:pt x="9" y="9"/>
                  </a:lnTo>
                  <a:lnTo>
                    <a:pt x="11" y="10"/>
                  </a:lnTo>
                  <a:lnTo>
                    <a:pt x="15" y="10"/>
                  </a:lnTo>
                  <a:lnTo>
                    <a:pt x="21" y="8"/>
                  </a:lnTo>
                  <a:lnTo>
                    <a:pt x="24" y="4"/>
                  </a:lnTo>
                  <a:lnTo>
                    <a:pt x="27" y="2"/>
                  </a:lnTo>
                  <a:lnTo>
                    <a:pt x="29" y="1"/>
                  </a:lnTo>
                  <a:lnTo>
                    <a:pt x="33" y="0"/>
                  </a:lnTo>
                  <a:lnTo>
                    <a:pt x="34" y="0"/>
                  </a:lnTo>
                  <a:lnTo>
                    <a:pt x="35" y="0"/>
                  </a:lnTo>
                  <a:lnTo>
                    <a:pt x="38" y="1"/>
                  </a:lnTo>
                  <a:lnTo>
                    <a:pt x="39" y="2"/>
                  </a:lnTo>
                  <a:lnTo>
                    <a:pt x="40" y="3"/>
                  </a:lnTo>
                  <a:lnTo>
                    <a:pt x="40" y="5"/>
                  </a:lnTo>
                  <a:lnTo>
                    <a:pt x="39" y="10"/>
                  </a:lnTo>
                  <a:lnTo>
                    <a:pt x="40" y="13"/>
                  </a:lnTo>
                  <a:lnTo>
                    <a:pt x="41" y="14"/>
                  </a:lnTo>
                  <a:lnTo>
                    <a:pt x="44" y="14"/>
                  </a:lnTo>
                  <a:lnTo>
                    <a:pt x="47" y="12"/>
                  </a:lnTo>
                  <a:lnTo>
                    <a:pt x="49" y="12"/>
                  </a:lnTo>
                  <a:lnTo>
                    <a:pt x="49" y="13"/>
                  </a:lnTo>
                  <a:lnTo>
                    <a:pt x="51" y="21"/>
                  </a:lnTo>
                  <a:lnTo>
                    <a:pt x="50" y="24"/>
                  </a:lnTo>
                  <a:lnTo>
                    <a:pt x="47" y="33"/>
                  </a:lnTo>
                  <a:lnTo>
                    <a:pt x="46" y="36"/>
                  </a:lnTo>
                  <a:lnTo>
                    <a:pt x="46" y="39"/>
                  </a:lnTo>
                  <a:lnTo>
                    <a:pt x="47" y="41"/>
                  </a:lnTo>
                  <a:lnTo>
                    <a:pt x="50" y="42"/>
                  </a:lnTo>
                  <a:lnTo>
                    <a:pt x="52" y="39"/>
                  </a:lnTo>
                  <a:lnTo>
                    <a:pt x="59" y="32"/>
                  </a:lnTo>
                  <a:lnTo>
                    <a:pt x="61" y="32"/>
                  </a:lnTo>
                  <a:lnTo>
                    <a:pt x="66" y="34"/>
                  </a:lnTo>
                  <a:lnTo>
                    <a:pt x="69" y="36"/>
                  </a:lnTo>
                  <a:lnTo>
                    <a:pt x="71" y="35"/>
                  </a:lnTo>
                  <a:lnTo>
                    <a:pt x="74" y="34"/>
                  </a:lnTo>
                  <a:lnTo>
                    <a:pt x="75" y="30"/>
                  </a:lnTo>
                  <a:lnTo>
                    <a:pt x="77" y="27"/>
                  </a:lnTo>
                  <a:lnTo>
                    <a:pt x="79" y="28"/>
                  </a:lnTo>
                  <a:lnTo>
                    <a:pt x="84" y="29"/>
                  </a:lnTo>
                  <a:lnTo>
                    <a:pt x="86" y="30"/>
                  </a:lnTo>
                  <a:lnTo>
                    <a:pt x="86" y="31"/>
                  </a:lnTo>
                  <a:lnTo>
                    <a:pt x="88" y="35"/>
                  </a:lnTo>
                  <a:lnTo>
                    <a:pt x="92" y="39"/>
                  </a:lnTo>
                  <a:lnTo>
                    <a:pt x="95" y="43"/>
                  </a:lnTo>
                  <a:lnTo>
                    <a:pt x="95" y="52"/>
                  </a:lnTo>
                  <a:lnTo>
                    <a:pt x="95" y="54"/>
                  </a:lnTo>
                  <a:lnTo>
                    <a:pt x="97" y="57"/>
                  </a:lnTo>
                  <a:lnTo>
                    <a:pt x="102" y="65"/>
                  </a:lnTo>
                  <a:lnTo>
                    <a:pt x="105" y="69"/>
                  </a:lnTo>
                  <a:lnTo>
                    <a:pt x="106" y="72"/>
                  </a:lnTo>
                  <a:lnTo>
                    <a:pt x="106" y="78"/>
                  </a:lnTo>
                  <a:lnTo>
                    <a:pt x="105" y="81"/>
                  </a:lnTo>
                  <a:lnTo>
                    <a:pt x="101" y="85"/>
                  </a:lnTo>
                  <a:lnTo>
                    <a:pt x="99" y="84"/>
                  </a:lnTo>
                  <a:lnTo>
                    <a:pt x="95" y="83"/>
                  </a:lnTo>
                  <a:lnTo>
                    <a:pt x="92" y="83"/>
                  </a:lnTo>
                  <a:lnTo>
                    <a:pt x="89" y="83"/>
                  </a:lnTo>
                  <a:lnTo>
                    <a:pt x="84" y="83"/>
                  </a:lnTo>
                  <a:lnTo>
                    <a:pt x="77" y="83"/>
                  </a:lnTo>
                  <a:lnTo>
                    <a:pt x="75" y="84"/>
                  </a:lnTo>
                  <a:lnTo>
                    <a:pt x="72" y="87"/>
                  </a:lnTo>
                  <a:lnTo>
                    <a:pt x="66" y="94"/>
                  </a:lnTo>
                  <a:lnTo>
                    <a:pt x="65" y="96"/>
                  </a:lnTo>
                  <a:lnTo>
                    <a:pt x="65" y="98"/>
                  </a:lnTo>
                  <a:lnTo>
                    <a:pt x="65" y="102"/>
                  </a:lnTo>
                  <a:lnTo>
                    <a:pt x="66" y="106"/>
                  </a:lnTo>
                  <a:lnTo>
                    <a:pt x="69" y="110"/>
                  </a:lnTo>
                  <a:lnTo>
                    <a:pt x="70" y="113"/>
                  </a:lnTo>
                  <a:lnTo>
                    <a:pt x="69" y="114"/>
                  </a:lnTo>
                  <a:lnTo>
                    <a:pt x="69" y="114"/>
                  </a:lnTo>
                  <a:lnTo>
                    <a:pt x="68" y="113"/>
                  </a:lnTo>
                  <a:lnTo>
                    <a:pt x="65" y="112"/>
                  </a:lnTo>
                  <a:lnTo>
                    <a:pt x="60" y="107"/>
                  </a:lnTo>
                  <a:lnTo>
                    <a:pt x="57" y="106"/>
                  </a:lnTo>
                  <a:lnTo>
                    <a:pt x="55" y="106"/>
                  </a:lnTo>
                  <a:lnTo>
                    <a:pt x="52" y="107"/>
                  </a:lnTo>
                  <a:lnTo>
                    <a:pt x="50" y="106"/>
                  </a:lnTo>
                  <a:lnTo>
                    <a:pt x="48" y="106"/>
                  </a:lnTo>
                  <a:lnTo>
                    <a:pt x="46" y="106"/>
                  </a:lnTo>
                  <a:lnTo>
                    <a:pt x="46" y="104"/>
                  </a:lnTo>
                  <a:lnTo>
                    <a:pt x="47" y="96"/>
                  </a:lnTo>
                  <a:lnTo>
                    <a:pt x="46" y="95"/>
                  </a:lnTo>
                  <a:lnTo>
                    <a:pt x="42" y="95"/>
                  </a:lnTo>
                  <a:lnTo>
                    <a:pt x="41" y="94"/>
                  </a:lnTo>
                  <a:lnTo>
                    <a:pt x="38" y="95"/>
                  </a:lnTo>
                  <a:lnTo>
                    <a:pt x="35" y="96"/>
                  </a:lnTo>
                  <a:lnTo>
                    <a:pt x="33" y="98"/>
                  </a:lnTo>
                  <a:lnTo>
                    <a:pt x="35" y="102"/>
                  </a:lnTo>
                  <a:lnTo>
                    <a:pt x="34" y="103"/>
                  </a:lnTo>
                  <a:lnTo>
                    <a:pt x="32" y="108"/>
                  </a:lnTo>
                  <a:lnTo>
                    <a:pt x="33" y="111"/>
                  </a:lnTo>
                  <a:lnTo>
                    <a:pt x="33" y="114"/>
                  </a:lnTo>
                  <a:lnTo>
                    <a:pt x="32" y="118"/>
                  </a:lnTo>
                  <a:lnTo>
                    <a:pt x="28" y="125"/>
                  </a:lnTo>
                  <a:lnTo>
                    <a:pt x="24" y="135"/>
                  </a:lnTo>
                  <a:lnTo>
                    <a:pt x="22" y="143"/>
                  </a:lnTo>
                  <a:lnTo>
                    <a:pt x="23" y="150"/>
                  </a:lnTo>
                  <a:lnTo>
                    <a:pt x="24" y="151"/>
                  </a:lnTo>
                  <a:lnTo>
                    <a:pt x="25" y="153"/>
                  </a:lnTo>
                  <a:lnTo>
                    <a:pt x="29" y="152"/>
                  </a:lnTo>
                  <a:lnTo>
                    <a:pt x="31" y="151"/>
                  </a:lnTo>
                  <a:lnTo>
                    <a:pt x="32" y="151"/>
                  </a:lnTo>
                  <a:lnTo>
                    <a:pt x="33" y="154"/>
                  </a:lnTo>
                  <a:lnTo>
                    <a:pt x="33" y="156"/>
                  </a:lnTo>
                  <a:lnTo>
                    <a:pt x="33" y="159"/>
                  </a:lnTo>
                  <a:lnTo>
                    <a:pt x="33" y="160"/>
                  </a:lnTo>
                  <a:lnTo>
                    <a:pt x="35" y="161"/>
                  </a:lnTo>
                  <a:lnTo>
                    <a:pt x="36" y="161"/>
                  </a:lnTo>
                  <a:lnTo>
                    <a:pt x="37" y="163"/>
                  </a:lnTo>
                  <a:lnTo>
                    <a:pt x="38" y="169"/>
                  </a:lnTo>
                  <a:lnTo>
                    <a:pt x="38" y="171"/>
                  </a:lnTo>
                  <a:lnTo>
                    <a:pt x="39" y="175"/>
                  </a:lnTo>
                  <a:lnTo>
                    <a:pt x="42" y="180"/>
                  </a:lnTo>
                  <a:lnTo>
                    <a:pt x="42" y="181"/>
                  </a:lnTo>
                  <a:lnTo>
                    <a:pt x="47" y="183"/>
                  </a:lnTo>
                  <a:lnTo>
                    <a:pt x="50" y="184"/>
                  </a:lnTo>
                  <a:lnTo>
                    <a:pt x="53" y="183"/>
                  </a:lnTo>
                  <a:lnTo>
                    <a:pt x="55" y="184"/>
                  </a:lnTo>
                  <a:lnTo>
                    <a:pt x="56" y="188"/>
                  </a:lnTo>
                  <a:lnTo>
                    <a:pt x="60" y="191"/>
                  </a:lnTo>
                  <a:lnTo>
                    <a:pt x="62" y="19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3" name="Freeform 157">
              <a:extLst>
                <a:ext uri="{FF2B5EF4-FFF2-40B4-BE49-F238E27FC236}">
                  <a16:creationId xmlns:a16="http://schemas.microsoft.com/office/drawing/2014/main" id="{F9886646-1A3F-CB18-CE16-71DBFA20AD3E}"/>
                </a:ext>
              </a:extLst>
            </p:cNvPr>
            <p:cNvSpPr>
              <a:spLocks/>
            </p:cNvSpPr>
            <p:nvPr/>
          </p:nvSpPr>
          <p:spPr bwMode="auto">
            <a:xfrm>
              <a:off x="7406859" y="4932363"/>
              <a:ext cx="107950" cy="90488"/>
            </a:xfrm>
            <a:custGeom>
              <a:avLst/>
              <a:gdLst/>
              <a:ahLst/>
              <a:cxnLst>
                <a:cxn ang="0">
                  <a:pos x="39" y="6"/>
                </a:cxn>
                <a:cxn ang="0">
                  <a:pos x="45" y="8"/>
                </a:cxn>
                <a:cxn ang="0">
                  <a:pos x="49" y="9"/>
                </a:cxn>
                <a:cxn ang="0">
                  <a:pos x="49" y="6"/>
                </a:cxn>
                <a:cxn ang="0">
                  <a:pos x="48" y="4"/>
                </a:cxn>
                <a:cxn ang="0">
                  <a:pos x="52" y="1"/>
                </a:cxn>
                <a:cxn ang="0">
                  <a:pos x="57" y="4"/>
                </a:cxn>
                <a:cxn ang="0">
                  <a:pos x="65" y="1"/>
                </a:cxn>
                <a:cxn ang="0">
                  <a:pos x="65" y="5"/>
                </a:cxn>
                <a:cxn ang="0">
                  <a:pos x="68" y="16"/>
                </a:cxn>
                <a:cxn ang="0">
                  <a:pos x="67" y="20"/>
                </a:cxn>
                <a:cxn ang="0">
                  <a:pos x="66" y="30"/>
                </a:cxn>
                <a:cxn ang="0">
                  <a:pos x="60" y="33"/>
                </a:cxn>
                <a:cxn ang="0">
                  <a:pos x="52" y="37"/>
                </a:cxn>
                <a:cxn ang="0">
                  <a:pos x="45" y="43"/>
                </a:cxn>
                <a:cxn ang="0">
                  <a:pos x="49" y="48"/>
                </a:cxn>
                <a:cxn ang="0">
                  <a:pos x="48" y="51"/>
                </a:cxn>
                <a:cxn ang="0">
                  <a:pos x="41" y="50"/>
                </a:cxn>
                <a:cxn ang="0">
                  <a:pos x="32" y="54"/>
                </a:cxn>
                <a:cxn ang="0">
                  <a:pos x="27" y="57"/>
                </a:cxn>
                <a:cxn ang="0">
                  <a:pos x="24" y="55"/>
                </a:cxn>
                <a:cxn ang="0">
                  <a:pos x="19" y="55"/>
                </a:cxn>
                <a:cxn ang="0">
                  <a:pos x="16" y="55"/>
                </a:cxn>
                <a:cxn ang="0">
                  <a:pos x="16" y="53"/>
                </a:cxn>
                <a:cxn ang="0">
                  <a:pos x="17" y="50"/>
                </a:cxn>
                <a:cxn ang="0">
                  <a:pos x="14" y="47"/>
                </a:cxn>
                <a:cxn ang="0">
                  <a:pos x="9" y="49"/>
                </a:cxn>
                <a:cxn ang="0">
                  <a:pos x="4" y="34"/>
                </a:cxn>
                <a:cxn ang="0">
                  <a:pos x="4" y="30"/>
                </a:cxn>
                <a:cxn ang="0">
                  <a:pos x="0" y="22"/>
                </a:cxn>
                <a:cxn ang="0">
                  <a:pos x="0" y="16"/>
                </a:cxn>
                <a:cxn ang="0">
                  <a:pos x="7" y="7"/>
                </a:cxn>
                <a:cxn ang="0">
                  <a:pos x="12" y="3"/>
                </a:cxn>
                <a:cxn ang="0">
                  <a:pos x="24" y="3"/>
                </a:cxn>
                <a:cxn ang="0">
                  <a:pos x="30" y="3"/>
                </a:cxn>
                <a:cxn ang="0">
                  <a:pos x="36" y="5"/>
                </a:cxn>
              </a:cxnLst>
              <a:rect l="0" t="0" r="r" b="b"/>
              <a:pathLst>
                <a:path w="68" h="57">
                  <a:moveTo>
                    <a:pt x="36" y="5"/>
                  </a:moveTo>
                  <a:lnTo>
                    <a:pt x="39" y="6"/>
                  </a:lnTo>
                  <a:lnTo>
                    <a:pt x="43" y="7"/>
                  </a:lnTo>
                  <a:lnTo>
                    <a:pt x="45" y="8"/>
                  </a:lnTo>
                  <a:lnTo>
                    <a:pt x="48" y="10"/>
                  </a:lnTo>
                  <a:lnTo>
                    <a:pt x="49" y="9"/>
                  </a:lnTo>
                  <a:lnTo>
                    <a:pt x="50" y="8"/>
                  </a:lnTo>
                  <a:lnTo>
                    <a:pt x="49" y="6"/>
                  </a:lnTo>
                  <a:lnTo>
                    <a:pt x="48" y="5"/>
                  </a:lnTo>
                  <a:lnTo>
                    <a:pt x="48" y="4"/>
                  </a:lnTo>
                  <a:lnTo>
                    <a:pt x="50" y="2"/>
                  </a:lnTo>
                  <a:lnTo>
                    <a:pt x="52" y="1"/>
                  </a:lnTo>
                  <a:lnTo>
                    <a:pt x="55" y="2"/>
                  </a:lnTo>
                  <a:lnTo>
                    <a:pt x="57" y="4"/>
                  </a:lnTo>
                  <a:lnTo>
                    <a:pt x="59" y="3"/>
                  </a:lnTo>
                  <a:lnTo>
                    <a:pt x="65" y="1"/>
                  </a:lnTo>
                  <a:lnTo>
                    <a:pt x="66" y="0"/>
                  </a:lnTo>
                  <a:lnTo>
                    <a:pt x="65" y="5"/>
                  </a:lnTo>
                  <a:lnTo>
                    <a:pt x="65" y="10"/>
                  </a:lnTo>
                  <a:lnTo>
                    <a:pt x="68" y="16"/>
                  </a:lnTo>
                  <a:lnTo>
                    <a:pt x="67" y="18"/>
                  </a:lnTo>
                  <a:lnTo>
                    <a:pt x="67" y="20"/>
                  </a:lnTo>
                  <a:lnTo>
                    <a:pt x="67" y="27"/>
                  </a:lnTo>
                  <a:lnTo>
                    <a:pt x="66" y="30"/>
                  </a:lnTo>
                  <a:lnTo>
                    <a:pt x="64" y="32"/>
                  </a:lnTo>
                  <a:lnTo>
                    <a:pt x="60" y="33"/>
                  </a:lnTo>
                  <a:lnTo>
                    <a:pt x="55" y="35"/>
                  </a:lnTo>
                  <a:lnTo>
                    <a:pt x="52" y="37"/>
                  </a:lnTo>
                  <a:lnTo>
                    <a:pt x="46" y="40"/>
                  </a:lnTo>
                  <a:lnTo>
                    <a:pt x="45" y="43"/>
                  </a:lnTo>
                  <a:lnTo>
                    <a:pt x="46" y="46"/>
                  </a:lnTo>
                  <a:lnTo>
                    <a:pt x="49" y="48"/>
                  </a:lnTo>
                  <a:lnTo>
                    <a:pt x="49" y="49"/>
                  </a:lnTo>
                  <a:lnTo>
                    <a:pt x="48" y="51"/>
                  </a:lnTo>
                  <a:lnTo>
                    <a:pt x="44" y="50"/>
                  </a:lnTo>
                  <a:lnTo>
                    <a:pt x="41" y="50"/>
                  </a:lnTo>
                  <a:lnTo>
                    <a:pt x="38" y="51"/>
                  </a:lnTo>
                  <a:lnTo>
                    <a:pt x="32" y="54"/>
                  </a:lnTo>
                  <a:lnTo>
                    <a:pt x="28" y="55"/>
                  </a:lnTo>
                  <a:lnTo>
                    <a:pt x="27" y="57"/>
                  </a:lnTo>
                  <a:lnTo>
                    <a:pt x="25" y="56"/>
                  </a:lnTo>
                  <a:lnTo>
                    <a:pt x="24" y="55"/>
                  </a:lnTo>
                  <a:lnTo>
                    <a:pt x="22" y="54"/>
                  </a:lnTo>
                  <a:lnTo>
                    <a:pt x="19" y="55"/>
                  </a:lnTo>
                  <a:lnTo>
                    <a:pt x="18" y="55"/>
                  </a:lnTo>
                  <a:lnTo>
                    <a:pt x="16" y="55"/>
                  </a:lnTo>
                  <a:lnTo>
                    <a:pt x="16" y="55"/>
                  </a:lnTo>
                  <a:lnTo>
                    <a:pt x="16" y="53"/>
                  </a:lnTo>
                  <a:lnTo>
                    <a:pt x="18" y="51"/>
                  </a:lnTo>
                  <a:lnTo>
                    <a:pt x="17" y="50"/>
                  </a:lnTo>
                  <a:lnTo>
                    <a:pt x="16" y="47"/>
                  </a:lnTo>
                  <a:lnTo>
                    <a:pt x="14" y="47"/>
                  </a:lnTo>
                  <a:lnTo>
                    <a:pt x="11" y="49"/>
                  </a:lnTo>
                  <a:lnTo>
                    <a:pt x="9" y="49"/>
                  </a:lnTo>
                  <a:lnTo>
                    <a:pt x="8" y="43"/>
                  </a:lnTo>
                  <a:lnTo>
                    <a:pt x="4" y="34"/>
                  </a:lnTo>
                  <a:lnTo>
                    <a:pt x="5" y="33"/>
                  </a:lnTo>
                  <a:lnTo>
                    <a:pt x="4" y="30"/>
                  </a:lnTo>
                  <a:lnTo>
                    <a:pt x="1" y="26"/>
                  </a:lnTo>
                  <a:lnTo>
                    <a:pt x="0" y="22"/>
                  </a:lnTo>
                  <a:lnTo>
                    <a:pt x="0" y="18"/>
                  </a:lnTo>
                  <a:lnTo>
                    <a:pt x="0" y="16"/>
                  </a:lnTo>
                  <a:lnTo>
                    <a:pt x="1" y="14"/>
                  </a:lnTo>
                  <a:lnTo>
                    <a:pt x="7" y="7"/>
                  </a:lnTo>
                  <a:lnTo>
                    <a:pt x="10" y="4"/>
                  </a:lnTo>
                  <a:lnTo>
                    <a:pt x="12" y="3"/>
                  </a:lnTo>
                  <a:lnTo>
                    <a:pt x="19" y="3"/>
                  </a:lnTo>
                  <a:lnTo>
                    <a:pt x="24" y="3"/>
                  </a:lnTo>
                  <a:lnTo>
                    <a:pt x="27" y="3"/>
                  </a:lnTo>
                  <a:lnTo>
                    <a:pt x="30" y="3"/>
                  </a:lnTo>
                  <a:lnTo>
                    <a:pt x="34" y="4"/>
                  </a:lnTo>
                  <a:lnTo>
                    <a:pt x="36" y="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4" name="Freeform 158">
              <a:extLst>
                <a:ext uri="{FF2B5EF4-FFF2-40B4-BE49-F238E27FC236}">
                  <a16:creationId xmlns:a16="http://schemas.microsoft.com/office/drawing/2014/main" id="{3A8956FF-D12C-42A5-C665-31A5B153758A}"/>
                </a:ext>
              </a:extLst>
            </p:cNvPr>
            <p:cNvSpPr>
              <a:spLocks/>
            </p:cNvSpPr>
            <p:nvPr/>
          </p:nvSpPr>
          <p:spPr bwMode="auto">
            <a:xfrm>
              <a:off x="7398921" y="4740275"/>
              <a:ext cx="152400" cy="322263"/>
            </a:xfrm>
            <a:custGeom>
              <a:avLst/>
              <a:gdLst/>
              <a:ahLst/>
              <a:cxnLst>
                <a:cxn ang="0">
                  <a:pos x="6" y="9"/>
                </a:cxn>
                <a:cxn ang="0">
                  <a:pos x="14" y="12"/>
                </a:cxn>
                <a:cxn ang="0">
                  <a:pos x="28" y="9"/>
                </a:cxn>
                <a:cxn ang="0">
                  <a:pos x="39" y="3"/>
                </a:cxn>
                <a:cxn ang="0">
                  <a:pos x="48" y="4"/>
                </a:cxn>
                <a:cxn ang="0">
                  <a:pos x="60" y="6"/>
                </a:cxn>
                <a:cxn ang="0">
                  <a:pos x="60" y="14"/>
                </a:cxn>
                <a:cxn ang="0">
                  <a:pos x="67" y="24"/>
                </a:cxn>
                <a:cxn ang="0">
                  <a:pos x="77" y="26"/>
                </a:cxn>
                <a:cxn ang="0">
                  <a:pos x="72" y="33"/>
                </a:cxn>
                <a:cxn ang="0">
                  <a:pos x="63" y="35"/>
                </a:cxn>
                <a:cxn ang="0">
                  <a:pos x="58" y="45"/>
                </a:cxn>
                <a:cxn ang="0">
                  <a:pos x="53" y="48"/>
                </a:cxn>
                <a:cxn ang="0">
                  <a:pos x="47" y="63"/>
                </a:cxn>
                <a:cxn ang="0">
                  <a:pos x="58" y="74"/>
                </a:cxn>
                <a:cxn ang="0">
                  <a:pos x="59" y="81"/>
                </a:cxn>
                <a:cxn ang="0">
                  <a:pos x="75" y="97"/>
                </a:cxn>
                <a:cxn ang="0">
                  <a:pos x="82" y="101"/>
                </a:cxn>
                <a:cxn ang="0">
                  <a:pos x="89" y="114"/>
                </a:cxn>
                <a:cxn ang="0">
                  <a:pos x="96" y="144"/>
                </a:cxn>
                <a:cxn ang="0">
                  <a:pos x="93" y="154"/>
                </a:cxn>
                <a:cxn ang="0">
                  <a:pos x="93" y="161"/>
                </a:cxn>
                <a:cxn ang="0">
                  <a:pos x="87" y="168"/>
                </a:cxn>
                <a:cxn ang="0">
                  <a:pos x="78" y="172"/>
                </a:cxn>
                <a:cxn ang="0">
                  <a:pos x="69" y="178"/>
                </a:cxn>
                <a:cxn ang="0">
                  <a:pos x="63" y="174"/>
                </a:cxn>
                <a:cxn ang="0">
                  <a:pos x="63" y="182"/>
                </a:cxn>
                <a:cxn ang="0">
                  <a:pos x="57" y="189"/>
                </a:cxn>
                <a:cxn ang="0">
                  <a:pos x="52" y="193"/>
                </a:cxn>
                <a:cxn ang="0">
                  <a:pos x="44" y="198"/>
                </a:cxn>
                <a:cxn ang="0">
                  <a:pos x="39" y="203"/>
                </a:cxn>
                <a:cxn ang="0">
                  <a:pos x="38" y="189"/>
                </a:cxn>
                <a:cxn ang="0">
                  <a:pos x="39" y="183"/>
                </a:cxn>
                <a:cxn ang="0">
                  <a:pos x="32" y="178"/>
                </a:cxn>
                <a:cxn ang="0">
                  <a:pos x="43" y="172"/>
                </a:cxn>
                <a:cxn ang="0">
                  <a:pos x="53" y="172"/>
                </a:cxn>
                <a:cxn ang="0">
                  <a:pos x="51" y="167"/>
                </a:cxn>
                <a:cxn ang="0">
                  <a:pos x="57" y="158"/>
                </a:cxn>
                <a:cxn ang="0">
                  <a:pos x="69" y="153"/>
                </a:cxn>
                <a:cxn ang="0">
                  <a:pos x="72" y="141"/>
                </a:cxn>
                <a:cxn ang="0">
                  <a:pos x="70" y="131"/>
                </a:cxn>
                <a:cxn ang="0">
                  <a:pos x="72" y="116"/>
                </a:cxn>
                <a:cxn ang="0">
                  <a:pos x="67" y="106"/>
                </a:cxn>
                <a:cxn ang="0">
                  <a:pos x="67" y="99"/>
                </a:cxn>
                <a:cxn ang="0">
                  <a:pos x="59" y="92"/>
                </a:cxn>
                <a:cxn ang="0">
                  <a:pos x="41" y="69"/>
                </a:cxn>
                <a:cxn ang="0">
                  <a:pos x="26" y="57"/>
                </a:cxn>
                <a:cxn ang="0">
                  <a:pos x="27" y="51"/>
                </a:cxn>
                <a:cxn ang="0">
                  <a:pos x="33" y="50"/>
                </a:cxn>
                <a:cxn ang="0">
                  <a:pos x="36" y="44"/>
                </a:cxn>
                <a:cxn ang="0">
                  <a:pos x="27" y="33"/>
                </a:cxn>
                <a:cxn ang="0">
                  <a:pos x="20" y="38"/>
                </a:cxn>
                <a:cxn ang="0">
                  <a:pos x="12" y="29"/>
                </a:cxn>
                <a:cxn ang="0">
                  <a:pos x="3" y="16"/>
                </a:cxn>
              </a:cxnLst>
              <a:rect l="0" t="0" r="r" b="b"/>
              <a:pathLst>
                <a:path w="96" h="203">
                  <a:moveTo>
                    <a:pt x="0" y="11"/>
                  </a:moveTo>
                  <a:lnTo>
                    <a:pt x="3" y="10"/>
                  </a:lnTo>
                  <a:lnTo>
                    <a:pt x="6" y="9"/>
                  </a:lnTo>
                  <a:lnTo>
                    <a:pt x="8" y="9"/>
                  </a:lnTo>
                  <a:lnTo>
                    <a:pt x="12" y="12"/>
                  </a:lnTo>
                  <a:lnTo>
                    <a:pt x="14" y="12"/>
                  </a:lnTo>
                  <a:lnTo>
                    <a:pt x="17" y="9"/>
                  </a:lnTo>
                  <a:lnTo>
                    <a:pt x="19" y="9"/>
                  </a:lnTo>
                  <a:lnTo>
                    <a:pt x="28" y="9"/>
                  </a:lnTo>
                  <a:lnTo>
                    <a:pt x="33" y="8"/>
                  </a:lnTo>
                  <a:lnTo>
                    <a:pt x="35" y="7"/>
                  </a:lnTo>
                  <a:lnTo>
                    <a:pt x="39" y="3"/>
                  </a:lnTo>
                  <a:lnTo>
                    <a:pt x="42" y="1"/>
                  </a:lnTo>
                  <a:lnTo>
                    <a:pt x="44" y="0"/>
                  </a:lnTo>
                  <a:lnTo>
                    <a:pt x="48" y="4"/>
                  </a:lnTo>
                  <a:lnTo>
                    <a:pt x="52" y="6"/>
                  </a:lnTo>
                  <a:lnTo>
                    <a:pt x="56" y="6"/>
                  </a:lnTo>
                  <a:lnTo>
                    <a:pt x="60" y="6"/>
                  </a:lnTo>
                  <a:lnTo>
                    <a:pt x="62" y="7"/>
                  </a:lnTo>
                  <a:lnTo>
                    <a:pt x="62" y="9"/>
                  </a:lnTo>
                  <a:lnTo>
                    <a:pt x="60" y="14"/>
                  </a:lnTo>
                  <a:lnTo>
                    <a:pt x="60" y="18"/>
                  </a:lnTo>
                  <a:lnTo>
                    <a:pt x="62" y="20"/>
                  </a:lnTo>
                  <a:lnTo>
                    <a:pt x="67" y="24"/>
                  </a:lnTo>
                  <a:lnTo>
                    <a:pt x="71" y="25"/>
                  </a:lnTo>
                  <a:lnTo>
                    <a:pt x="76" y="26"/>
                  </a:lnTo>
                  <a:lnTo>
                    <a:pt x="77" y="26"/>
                  </a:lnTo>
                  <a:lnTo>
                    <a:pt x="76" y="27"/>
                  </a:lnTo>
                  <a:lnTo>
                    <a:pt x="71" y="30"/>
                  </a:lnTo>
                  <a:lnTo>
                    <a:pt x="72" y="33"/>
                  </a:lnTo>
                  <a:lnTo>
                    <a:pt x="71" y="35"/>
                  </a:lnTo>
                  <a:lnTo>
                    <a:pt x="63" y="34"/>
                  </a:lnTo>
                  <a:lnTo>
                    <a:pt x="63" y="35"/>
                  </a:lnTo>
                  <a:lnTo>
                    <a:pt x="63" y="38"/>
                  </a:lnTo>
                  <a:lnTo>
                    <a:pt x="61" y="41"/>
                  </a:lnTo>
                  <a:lnTo>
                    <a:pt x="58" y="45"/>
                  </a:lnTo>
                  <a:lnTo>
                    <a:pt x="57" y="46"/>
                  </a:lnTo>
                  <a:lnTo>
                    <a:pt x="53" y="48"/>
                  </a:lnTo>
                  <a:lnTo>
                    <a:pt x="53" y="48"/>
                  </a:lnTo>
                  <a:lnTo>
                    <a:pt x="51" y="51"/>
                  </a:lnTo>
                  <a:lnTo>
                    <a:pt x="49" y="57"/>
                  </a:lnTo>
                  <a:lnTo>
                    <a:pt x="47" y="63"/>
                  </a:lnTo>
                  <a:lnTo>
                    <a:pt x="48" y="64"/>
                  </a:lnTo>
                  <a:lnTo>
                    <a:pt x="51" y="68"/>
                  </a:lnTo>
                  <a:lnTo>
                    <a:pt x="58" y="74"/>
                  </a:lnTo>
                  <a:lnTo>
                    <a:pt x="58" y="76"/>
                  </a:lnTo>
                  <a:lnTo>
                    <a:pt x="58" y="79"/>
                  </a:lnTo>
                  <a:lnTo>
                    <a:pt x="59" y="81"/>
                  </a:lnTo>
                  <a:lnTo>
                    <a:pt x="61" y="84"/>
                  </a:lnTo>
                  <a:lnTo>
                    <a:pt x="68" y="89"/>
                  </a:lnTo>
                  <a:lnTo>
                    <a:pt x="75" y="97"/>
                  </a:lnTo>
                  <a:lnTo>
                    <a:pt x="77" y="98"/>
                  </a:lnTo>
                  <a:lnTo>
                    <a:pt x="80" y="98"/>
                  </a:lnTo>
                  <a:lnTo>
                    <a:pt x="82" y="101"/>
                  </a:lnTo>
                  <a:lnTo>
                    <a:pt x="84" y="107"/>
                  </a:lnTo>
                  <a:lnTo>
                    <a:pt x="86" y="110"/>
                  </a:lnTo>
                  <a:lnTo>
                    <a:pt x="89" y="114"/>
                  </a:lnTo>
                  <a:lnTo>
                    <a:pt x="91" y="118"/>
                  </a:lnTo>
                  <a:lnTo>
                    <a:pt x="93" y="126"/>
                  </a:lnTo>
                  <a:lnTo>
                    <a:pt x="96" y="144"/>
                  </a:lnTo>
                  <a:lnTo>
                    <a:pt x="94" y="146"/>
                  </a:lnTo>
                  <a:lnTo>
                    <a:pt x="93" y="149"/>
                  </a:lnTo>
                  <a:lnTo>
                    <a:pt x="93" y="154"/>
                  </a:lnTo>
                  <a:lnTo>
                    <a:pt x="93" y="156"/>
                  </a:lnTo>
                  <a:lnTo>
                    <a:pt x="93" y="161"/>
                  </a:lnTo>
                  <a:lnTo>
                    <a:pt x="93" y="161"/>
                  </a:lnTo>
                  <a:lnTo>
                    <a:pt x="91" y="164"/>
                  </a:lnTo>
                  <a:lnTo>
                    <a:pt x="88" y="167"/>
                  </a:lnTo>
                  <a:lnTo>
                    <a:pt x="87" y="168"/>
                  </a:lnTo>
                  <a:lnTo>
                    <a:pt x="84" y="168"/>
                  </a:lnTo>
                  <a:lnTo>
                    <a:pt x="81" y="170"/>
                  </a:lnTo>
                  <a:lnTo>
                    <a:pt x="78" y="172"/>
                  </a:lnTo>
                  <a:lnTo>
                    <a:pt x="75" y="175"/>
                  </a:lnTo>
                  <a:lnTo>
                    <a:pt x="71" y="177"/>
                  </a:lnTo>
                  <a:lnTo>
                    <a:pt x="69" y="178"/>
                  </a:lnTo>
                  <a:lnTo>
                    <a:pt x="66" y="177"/>
                  </a:lnTo>
                  <a:lnTo>
                    <a:pt x="64" y="175"/>
                  </a:lnTo>
                  <a:lnTo>
                    <a:pt x="63" y="174"/>
                  </a:lnTo>
                  <a:lnTo>
                    <a:pt x="62" y="176"/>
                  </a:lnTo>
                  <a:lnTo>
                    <a:pt x="62" y="179"/>
                  </a:lnTo>
                  <a:lnTo>
                    <a:pt x="63" y="182"/>
                  </a:lnTo>
                  <a:lnTo>
                    <a:pt x="62" y="186"/>
                  </a:lnTo>
                  <a:lnTo>
                    <a:pt x="59" y="188"/>
                  </a:lnTo>
                  <a:lnTo>
                    <a:pt x="57" y="189"/>
                  </a:lnTo>
                  <a:lnTo>
                    <a:pt x="56" y="188"/>
                  </a:lnTo>
                  <a:lnTo>
                    <a:pt x="54" y="191"/>
                  </a:lnTo>
                  <a:lnTo>
                    <a:pt x="52" y="193"/>
                  </a:lnTo>
                  <a:lnTo>
                    <a:pt x="49" y="194"/>
                  </a:lnTo>
                  <a:lnTo>
                    <a:pt x="47" y="195"/>
                  </a:lnTo>
                  <a:lnTo>
                    <a:pt x="44" y="198"/>
                  </a:lnTo>
                  <a:lnTo>
                    <a:pt x="42" y="200"/>
                  </a:lnTo>
                  <a:lnTo>
                    <a:pt x="40" y="202"/>
                  </a:lnTo>
                  <a:lnTo>
                    <a:pt x="39" y="203"/>
                  </a:lnTo>
                  <a:lnTo>
                    <a:pt x="36" y="202"/>
                  </a:lnTo>
                  <a:lnTo>
                    <a:pt x="37" y="197"/>
                  </a:lnTo>
                  <a:lnTo>
                    <a:pt x="38" y="189"/>
                  </a:lnTo>
                  <a:lnTo>
                    <a:pt x="38" y="186"/>
                  </a:lnTo>
                  <a:lnTo>
                    <a:pt x="40" y="185"/>
                  </a:lnTo>
                  <a:lnTo>
                    <a:pt x="39" y="183"/>
                  </a:lnTo>
                  <a:lnTo>
                    <a:pt x="37" y="180"/>
                  </a:lnTo>
                  <a:lnTo>
                    <a:pt x="32" y="179"/>
                  </a:lnTo>
                  <a:lnTo>
                    <a:pt x="32" y="178"/>
                  </a:lnTo>
                  <a:lnTo>
                    <a:pt x="33" y="176"/>
                  </a:lnTo>
                  <a:lnTo>
                    <a:pt x="37" y="175"/>
                  </a:lnTo>
                  <a:lnTo>
                    <a:pt x="43" y="172"/>
                  </a:lnTo>
                  <a:lnTo>
                    <a:pt x="46" y="171"/>
                  </a:lnTo>
                  <a:lnTo>
                    <a:pt x="49" y="171"/>
                  </a:lnTo>
                  <a:lnTo>
                    <a:pt x="53" y="172"/>
                  </a:lnTo>
                  <a:lnTo>
                    <a:pt x="54" y="170"/>
                  </a:lnTo>
                  <a:lnTo>
                    <a:pt x="54" y="169"/>
                  </a:lnTo>
                  <a:lnTo>
                    <a:pt x="51" y="167"/>
                  </a:lnTo>
                  <a:lnTo>
                    <a:pt x="50" y="164"/>
                  </a:lnTo>
                  <a:lnTo>
                    <a:pt x="51" y="161"/>
                  </a:lnTo>
                  <a:lnTo>
                    <a:pt x="57" y="158"/>
                  </a:lnTo>
                  <a:lnTo>
                    <a:pt x="60" y="156"/>
                  </a:lnTo>
                  <a:lnTo>
                    <a:pt x="65" y="154"/>
                  </a:lnTo>
                  <a:lnTo>
                    <a:pt x="69" y="153"/>
                  </a:lnTo>
                  <a:lnTo>
                    <a:pt x="71" y="151"/>
                  </a:lnTo>
                  <a:lnTo>
                    <a:pt x="72" y="148"/>
                  </a:lnTo>
                  <a:lnTo>
                    <a:pt x="72" y="141"/>
                  </a:lnTo>
                  <a:lnTo>
                    <a:pt x="72" y="139"/>
                  </a:lnTo>
                  <a:lnTo>
                    <a:pt x="73" y="137"/>
                  </a:lnTo>
                  <a:lnTo>
                    <a:pt x="70" y="131"/>
                  </a:lnTo>
                  <a:lnTo>
                    <a:pt x="70" y="126"/>
                  </a:lnTo>
                  <a:lnTo>
                    <a:pt x="71" y="121"/>
                  </a:lnTo>
                  <a:lnTo>
                    <a:pt x="72" y="116"/>
                  </a:lnTo>
                  <a:lnTo>
                    <a:pt x="72" y="112"/>
                  </a:lnTo>
                  <a:lnTo>
                    <a:pt x="70" y="109"/>
                  </a:lnTo>
                  <a:lnTo>
                    <a:pt x="67" y="106"/>
                  </a:lnTo>
                  <a:lnTo>
                    <a:pt x="67" y="105"/>
                  </a:lnTo>
                  <a:lnTo>
                    <a:pt x="68" y="102"/>
                  </a:lnTo>
                  <a:lnTo>
                    <a:pt x="67" y="99"/>
                  </a:lnTo>
                  <a:lnTo>
                    <a:pt x="65" y="98"/>
                  </a:lnTo>
                  <a:lnTo>
                    <a:pt x="61" y="95"/>
                  </a:lnTo>
                  <a:lnTo>
                    <a:pt x="59" y="92"/>
                  </a:lnTo>
                  <a:lnTo>
                    <a:pt x="55" y="86"/>
                  </a:lnTo>
                  <a:lnTo>
                    <a:pt x="45" y="73"/>
                  </a:lnTo>
                  <a:lnTo>
                    <a:pt x="41" y="69"/>
                  </a:lnTo>
                  <a:lnTo>
                    <a:pt x="37" y="65"/>
                  </a:lnTo>
                  <a:lnTo>
                    <a:pt x="34" y="62"/>
                  </a:lnTo>
                  <a:lnTo>
                    <a:pt x="26" y="57"/>
                  </a:lnTo>
                  <a:lnTo>
                    <a:pt x="26" y="56"/>
                  </a:lnTo>
                  <a:lnTo>
                    <a:pt x="25" y="53"/>
                  </a:lnTo>
                  <a:lnTo>
                    <a:pt x="27" y="51"/>
                  </a:lnTo>
                  <a:lnTo>
                    <a:pt x="29" y="50"/>
                  </a:lnTo>
                  <a:lnTo>
                    <a:pt x="32" y="51"/>
                  </a:lnTo>
                  <a:lnTo>
                    <a:pt x="33" y="50"/>
                  </a:lnTo>
                  <a:lnTo>
                    <a:pt x="35" y="49"/>
                  </a:lnTo>
                  <a:lnTo>
                    <a:pt x="36" y="47"/>
                  </a:lnTo>
                  <a:lnTo>
                    <a:pt x="36" y="44"/>
                  </a:lnTo>
                  <a:lnTo>
                    <a:pt x="31" y="38"/>
                  </a:lnTo>
                  <a:lnTo>
                    <a:pt x="29" y="34"/>
                  </a:lnTo>
                  <a:lnTo>
                    <a:pt x="27" y="33"/>
                  </a:lnTo>
                  <a:lnTo>
                    <a:pt x="24" y="34"/>
                  </a:lnTo>
                  <a:lnTo>
                    <a:pt x="21" y="37"/>
                  </a:lnTo>
                  <a:lnTo>
                    <a:pt x="20" y="38"/>
                  </a:lnTo>
                  <a:lnTo>
                    <a:pt x="17" y="36"/>
                  </a:lnTo>
                  <a:lnTo>
                    <a:pt x="14" y="34"/>
                  </a:lnTo>
                  <a:lnTo>
                    <a:pt x="12" y="29"/>
                  </a:lnTo>
                  <a:lnTo>
                    <a:pt x="10" y="24"/>
                  </a:lnTo>
                  <a:lnTo>
                    <a:pt x="6" y="20"/>
                  </a:lnTo>
                  <a:lnTo>
                    <a:pt x="3" y="16"/>
                  </a:lnTo>
                  <a:lnTo>
                    <a:pt x="0" y="1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5" name="Freeform 159">
              <a:extLst>
                <a:ext uri="{FF2B5EF4-FFF2-40B4-BE49-F238E27FC236}">
                  <a16:creationId xmlns:a16="http://schemas.microsoft.com/office/drawing/2014/main" id="{A7C48F2A-99F8-214E-A960-037CDEA14B37}"/>
                </a:ext>
              </a:extLst>
            </p:cNvPr>
            <p:cNvSpPr>
              <a:spLocks noEditPoints="1"/>
            </p:cNvSpPr>
            <p:nvPr/>
          </p:nvSpPr>
          <p:spPr bwMode="auto">
            <a:xfrm>
              <a:off x="7360821" y="5094288"/>
              <a:ext cx="392113" cy="128588"/>
            </a:xfrm>
            <a:custGeom>
              <a:avLst/>
              <a:gdLst/>
              <a:ahLst/>
              <a:cxnLst>
                <a:cxn ang="0">
                  <a:pos x="29" y="11"/>
                </a:cxn>
                <a:cxn ang="0">
                  <a:pos x="42" y="28"/>
                </a:cxn>
                <a:cxn ang="0">
                  <a:pos x="42" y="41"/>
                </a:cxn>
                <a:cxn ang="0">
                  <a:pos x="42" y="54"/>
                </a:cxn>
                <a:cxn ang="0">
                  <a:pos x="48" y="62"/>
                </a:cxn>
                <a:cxn ang="0">
                  <a:pos x="51" y="72"/>
                </a:cxn>
                <a:cxn ang="0">
                  <a:pos x="42" y="72"/>
                </a:cxn>
                <a:cxn ang="0">
                  <a:pos x="30" y="64"/>
                </a:cxn>
                <a:cxn ang="0">
                  <a:pos x="16" y="54"/>
                </a:cxn>
                <a:cxn ang="0">
                  <a:pos x="7" y="40"/>
                </a:cxn>
                <a:cxn ang="0">
                  <a:pos x="6" y="31"/>
                </a:cxn>
                <a:cxn ang="0">
                  <a:pos x="2" y="14"/>
                </a:cxn>
                <a:cxn ang="0">
                  <a:pos x="3" y="7"/>
                </a:cxn>
                <a:cxn ang="0">
                  <a:pos x="10" y="10"/>
                </a:cxn>
                <a:cxn ang="0">
                  <a:pos x="12" y="14"/>
                </a:cxn>
                <a:cxn ang="0">
                  <a:pos x="12" y="18"/>
                </a:cxn>
                <a:cxn ang="0">
                  <a:pos x="17" y="15"/>
                </a:cxn>
                <a:cxn ang="0">
                  <a:pos x="22" y="14"/>
                </a:cxn>
                <a:cxn ang="0">
                  <a:pos x="123" y="67"/>
                </a:cxn>
                <a:cxn ang="0">
                  <a:pos x="128" y="70"/>
                </a:cxn>
                <a:cxn ang="0">
                  <a:pos x="140" y="74"/>
                </a:cxn>
                <a:cxn ang="0">
                  <a:pos x="141" y="71"/>
                </a:cxn>
                <a:cxn ang="0">
                  <a:pos x="147" y="57"/>
                </a:cxn>
                <a:cxn ang="0">
                  <a:pos x="165" y="51"/>
                </a:cxn>
                <a:cxn ang="0">
                  <a:pos x="174" y="41"/>
                </a:cxn>
                <a:cxn ang="0">
                  <a:pos x="182" y="33"/>
                </a:cxn>
                <a:cxn ang="0">
                  <a:pos x="183" y="35"/>
                </a:cxn>
                <a:cxn ang="0">
                  <a:pos x="187" y="38"/>
                </a:cxn>
                <a:cxn ang="0">
                  <a:pos x="197" y="34"/>
                </a:cxn>
                <a:cxn ang="0">
                  <a:pos x="195" y="31"/>
                </a:cxn>
                <a:cxn ang="0">
                  <a:pos x="195" y="27"/>
                </a:cxn>
                <a:cxn ang="0">
                  <a:pos x="199" y="27"/>
                </a:cxn>
                <a:cxn ang="0">
                  <a:pos x="197" y="22"/>
                </a:cxn>
                <a:cxn ang="0">
                  <a:pos x="204" y="19"/>
                </a:cxn>
                <a:cxn ang="0">
                  <a:pos x="209" y="11"/>
                </a:cxn>
                <a:cxn ang="0">
                  <a:pos x="215" y="0"/>
                </a:cxn>
                <a:cxn ang="0">
                  <a:pos x="221" y="1"/>
                </a:cxn>
                <a:cxn ang="0">
                  <a:pos x="227" y="7"/>
                </a:cxn>
                <a:cxn ang="0">
                  <a:pos x="225" y="14"/>
                </a:cxn>
                <a:cxn ang="0">
                  <a:pos x="232" y="13"/>
                </a:cxn>
                <a:cxn ang="0">
                  <a:pos x="235" y="17"/>
                </a:cxn>
                <a:cxn ang="0">
                  <a:pos x="245" y="21"/>
                </a:cxn>
                <a:cxn ang="0">
                  <a:pos x="246" y="25"/>
                </a:cxn>
                <a:cxn ang="0">
                  <a:pos x="239" y="26"/>
                </a:cxn>
                <a:cxn ang="0">
                  <a:pos x="234" y="29"/>
                </a:cxn>
                <a:cxn ang="0">
                  <a:pos x="235" y="37"/>
                </a:cxn>
                <a:cxn ang="0">
                  <a:pos x="228" y="39"/>
                </a:cxn>
                <a:cxn ang="0">
                  <a:pos x="220" y="36"/>
                </a:cxn>
                <a:cxn ang="0">
                  <a:pos x="208" y="35"/>
                </a:cxn>
                <a:cxn ang="0">
                  <a:pos x="201" y="40"/>
                </a:cxn>
                <a:cxn ang="0">
                  <a:pos x="200" y="52"/>
                </a:cxn>
                <a:cxn ang="0">
                  <a:pos x="195" y="59"/>
                </a:cxn>
                <a:cxn ang="0">
                  <a:pos x="183" y="73"/>
                </a:cxn>
                <a:cxn ang="0">
                  <a:pos x="176" y="76"/>
                </a:cxn>
                <a:cxn ang="0">
                  <a:pos x="166" y="72"/>
                </a:cxn>
                <a:cxn ang="0">
                  <a:pos x="158" y="74"/>
                </a:cxn>
                <a:cxn ang="0">
                  <a:pos x="150" y="81"/>
                </a:cxn>
                <a:cxn ang="0">
                  <a:pos x="142" y="79"/>
                </a:cxn>
                <a:cxn ang="0">
                  <a:pos x="132" y="79"/>
                </a:cxn>
                <a:cxn ang="0">
                  <a:pos x="123" y="67"/>
                </a:cxn>
              </a:cxnLst>
              <a:rect l="0" t="0" r="r" b="b"/>
              <a:pathLst>
                <a:path w="247" h="81">
                  <a:moveTo>
                    <a:pt x="26" y="10"/>
                  </a:moveTo>
                  <a:lnTo>
                    <a:pt x="26" y="10"/>
                  </a:lnTo>
                  <a:lnTo>
                    <a:pt x="29" y="11"/>
                  </a:lnTo>
                  <a:lnTo>
                    <a:pt x="35" y="18"/>
                  </a:lnTo>
                  <a:lnTo>
                    <a:pt x="39" y="23"/>
                  </a:lnTo>
                  <a:lnTo>
                    <a:pt x="42" y="28"/>
                  </a:lnTo>
                  <a:lnTo>
                    <a:pt x="42" y="31"/>
                  </a:lnTo>
                  <a:lnTo>
                    <a:pt x="42" y="36"/>
                  </a:lnTo>
                  <a:lnTo>
                    <a:pt x="42" y="41"/>
                  </a:lnTo>
                  <a:lnTo>
                    <a:pt x="42" y="47"/>
                  </a:lnTo>
                  <a:lnTo>
                    <a:pt x="42" y="51"/>
                  </a:lnTo>
                  <a:lnTo>
                    <a:pt x="42" y="54"/>
                  </a:lnTo>
                  <a:lnTo>
                    <a:pt x="44" y="56"/>
                  </a:lnTo>
                  <a:lnTo>
                    <a:pt x="47" y="59"/>
                  </a:lnTo>
                  <a:lnTo>
                    <a:pt x="48" y="62"/>
                  </a:lnTo>
                  <a:lnTo>
                    <a:pt x="53" y="72"/>
                  </a:lnTo>
                  <a:lnTo>
                    <a:pt x="53" y="73"/>
                  </a:lnTo>
                  <a:lnTo>
                    <a:pt x="51" y="72"/>
                  </a:lnTo>
                  <a:lnTo>
                    <a:pt x="45" y="72"/>
                  </a:lnTo>
                  <a:lnTo>
                    <a:pt x="43" y="73"/>
                  </a:lnTo>
                  <a:lnTo>
                    <a:pt x="42" y="72"/>
                  </a:lnTo>
                  <a:lnTo>
                    <a:pt x="39" y="70"/>
                  </a:lnTo>
                  <a:lnTo>
                    <a:pt x="34" y="66"/>
                  </a:lnTo>
                  <a:lnTo>
                    <a:pt x="30" y="64"/>
                  </a:lnTo>
                  <a:lnTo>
                    <a:pt x="23" y="60"/>
                  </a:lnTo>
                  <a:lnTo>
                    <a:pt x="17" y="56"/>
                  </a:lnTo>
                  <a:lnTo>
                    <a:pt x="16" y="54"/>
                  </a:lnTo>
                  <a:lnTo>
                    <a:pt x="15" y="49"/>
                  </a:lnTo>
                  <a:lnTo>
                    <a:pt x="12" y="44"/>
                  </a:lnTo>
                  <a:lnTo>
                    <a:pt x="7" y="40"/>
                  </a:lnTo>
                  <a:lnTo>
                    <a:pt x="6" y="36"/>
                  </a:lnTo>
                  <a:lnTo>
                    <a:pt x="6" y="33"/>
                  </a:lnTo>
                  <a:lnTo>
                    <a:pt x="6" y="31"/>
                  </a:lnTo>
                  <a:lnTo>
                    <a:pt x="6" y="29"/>
                  </a:lnTo>
                  <a:lnTo>
                    <a:pt x="3" y="25"/>
                  </a:lnTo>
                  <a:lnTo>
                    <a:pt x="2" y="14"/>
                  </a:lnTo>
                  <a:lnTo>
                    <a:pt x="0" y="10"/>
                  </a:lnTo>
                  <a:lnTo>
                    <a:pt x="0" y="8"/>
                  </a:lnTo>
                  <a:lnTo>
                    <a:pt x="3" y="7"/>
                  </a:lnTo>
                  <a:lnTo>
                    <a:pt x="6" y="7"/>
                  </a:lnTo>
                  <a:lnTo>
                    <a:pt x="7" y="9"/>
                  </a:lnTo>
                  <a:lnTo>
                    <a:pt x="10" y="10"/>
                  </a:lnTo>
                  <a:lnTo>
                    <a:pt x="11" y="11"/>
                  </a:lnTo>
                  <a:lnTo>
                    <a:pt x="12" y="13"/>
                  </a:lnTo>
                  <a:lnTo>
                    <a:pt x="12" y="14"/>
                  </a:lnTo>
                  <a:lnTo>
                    <a:pt x="11" y="16"/>
                  </a:lnTo>
                  <a:lnTo>
                    <a:pt x="11" y="18"/>
                  </a:lnTo>
                  <a:lnTo>
                    <a:pt x="12" y="18"/>
                  </a:lnTo>
                  <a:lnTo>
                    <a:pt x="14" y="16"/>
                  </a:lnTo>
                  <a:lnTo>
                    <a:pt x="15" y="14"/>
                  </a:lnTo>
                  <a:lnTo>
                    <a:pt x="17" y="15"/>
                  </a:lnTo>
                  <a:lnTo>
                    <a:pt x="18" y="18"/>
                  </a:lnTo>
                  <a:lnTo>
                    <a:pt x="21" y="17"/>
                  </a:lnTo>
                  <a:lnTo>
                    <a:pt x="22" y="14"/>
                  </a:lnTo>
                  <a:lnTo>
                    <a:pt x="25" y="12"/>
                  </a:lnTo>
                  <a:lnTo>
                    <a:pt x="26" y="10"/>
                  </a:lnTo>
                  <a:close/>
                  <a:moveTo>
                    <a:pt x="123" y="67"/>
                  </a:moveTo>
                  <a:lnTo>
                    <a:pt x="123" y="67"/>
                  </a:lnTo>
                  <a:lnTo>
                    <a:pt x="126" y="70"/>
                  </a:lnTo>
                  <a:lnTo>
                    <a:pt x="128" y="70"/>
                  </a:lnTo>
                  <a:lnTo>
                    <a:pt x="133" y="71"/>
                  </a:lnTo>
                  <a:lnTo>
                    <a:pt x="135" y="72"/>
                  </a:lnTo>
                  <a:lnTo>
                    <a:pt x="140" y="74"/>
                  </a:lnTo>
                  <a:lnTo>
                    <a:pt x="142" y="75"/>
                  </a:lnTo>
                  <a:lnTo>
                    <a:pt x="144" y="74"/>
                  </a:lnTo>
                  <a:lnTo>
                    <a:pt x="141" y="71"/>
                  </a:lnTo>
                  <a:lnTo>
                    <a:pt x="142" y="68"/>
                  </a:lnTo>
                  <a:lnTo>
                    <a:pt x="144" y="64"/>
                  </a:lnTo>
                  <a:lnTo>
                    <a:pt x="147" y="57"/>
                  </a:lnTo>
                  <a:lnTo>
                    <a:pt x="150" y="55"/>
                  </a:lnTo>
                  <a:lnTo>
                    <a:pt x="159" y="53"/>
                  </a:lnTo>
                  <a:lnTo>
                    <a:pt x="165" y="51"/>
                  </a:lnTo>
                  <a:lnTo>
                    <a:pt x="168" y="49"/>
                  </a:lnTo>
                  <a:lnTo>
                    <a:pt x="171" y="43"/>
                  </a:lnTo>
                  <a:lnTo>
                    <a:pt x="174" y="41"/>
                  </a:lnTo>
                  <a:lnTo>
                    <a:pt x="179" y="35"/>
                  </a:lnTo>
                  <a:lnTo>
                    <a:pt x="180" y="34"/>
                  </a:lnTo>
                  <a:lnTo>
                    <a:pt x="182" y="33"/>
                  </a:lnTo>
                  <a:lnTo>
                    <a:pt x="182" y="32"/>
                  </a:lnTo>
                  <a:lnTo>
                    <a:pt x="183" y="33"/>
                  </a:lnTo>
                  <a:lnTo>
                    <a:pt x="183" y="35"/>
                  </a:lnTo>
                  <a:lnTo>
                    <a:pt x="185" y="35"/>
                  </a:lnTo>
                  <a:lnTo>
                    <a:pt x="185" y="37"/>
                  </a:lnTo>
                  <a:lnTo>
                    <a:pt x="187" y="38"/>
                  </a:lnTo>
                  <a:lnTo>
                    <a:pt x="189" y="37"/>
                  </a:lnTo>
                  <a:lnTo>
                    <a:pt x="197" y="34"/>
                  </a:lnTo>
                  <a:lnTo>
                    <a:pt x="197" y="34"/>
                  </a:lnTo>
                  <a:lnTo>
                    <a:pt x="195" y="33"/>
                  </a:lnTo>
                  <a:lnTo>
                    <a:pt x="195" y="31"/>
                  </a:lnTo>
                  <a:lnTo>
                    <a:pt x="195" y="31"/>
                  </a:lnTo>
                  <a:lnTo>
                    <a:pt x="195" y="28"/>
                  </a:lnTo>
                  <a:lnTo>
                    <a:pt x="194" y="27"/>
                  </a:lnTo>
                  <a:lnTo>
                    <a:pt x="195" y="27"/>
                  </a:lnTo>
                  <a:lnTo>
                    <a:pt x="196" y="28"/>
                  </a:lnTo>
                  <a:lnTo>
                    <a:pt x="197" y="28"/>
                  </a:lnTo>
                  <a:lnTo>
                    <a:pt x="199" y="27"/>
                  </a:lnTo>
                  <a:lnTo>
                    <a:pt x="200" y="25"/>
                  </a:lnTo>
                  <a:lnTo>
                    <a:pt x="200" y="24"/>
                  </a:lnTo>
                  <a:lnTo>
                    <a:pt x="197" y="22"/>
                  </a:lnTo>
                  <a:lnTo>
                    <a:pt x="198" y="19"/>
                  </a:lnTo>
                  <a:lnTo>
                    <a:pt x="201" y="19"/>
                  </a:lnTo>
                  <a:lnTo>
                    <a:pt x="204" y="19"/>
                  </a:lnTo>
                  <a:lnTo>
                    <a:pt x="205" y="16"/>
                  </a:lnTo>
                  <a:lnTo>
                    <a:pt x="207" y="14"/>
                  </a:lnTo>
                  <a:lnTo>
                    <a:pt x="209" y="11"/>
                  </a:lnTo>
                  <a:lnTo>
                    <a:pt x="212" y="7"/>
                  </a:lnTo>
                  <a:lnTo>
                    <a:pt x="215" y="1"/>
                  </a:lnTo>
                  <a:lnTo>
                    <a:pt x="215" y="0"/>
                  </a:lnTo>
                  <a:lnTo>
                    <a:pt x="217" y="3"/>
                  </a:lnTo>
                  <a:lnTo>
                    <a:pt x="219" y="4"/>
                  </a:lnTo>
                  <a:lnTo>
                    <a:pt x="221" y="1"/>
                  </a:lnTo>
                  <a:lnTo>
                    <a:pt x="223" y="4"/>
                  </a:lnTo>
                  <a:lnTo>
                    <a:pt x="225" y="6"/>
                  </a:lnTo>
                  <a:lnTo>
                    <a:pt x="227" y="7"/>
                  </a:lnTo>
                  <a:lnTo>
                    <a:pt x="228" y="9"/>
                  </a:lnTo>
                  <a:lnTo>
                    <a:pt x="227" y="11"/>
                  </a:lnTo>
                  <a:lnTo>
                    <a:pt x="225" y="14"/>
                  </a:lnTo>
                  <a:lnTo>
                    <a:pt x="225" y="15"/>
                  </a:lnTo>
                  <a:lnTo>
                    <a:pt x="229" y="14"/>
                  </a:lnTo>
                  <a:lnTo>
                    <a:pt x="232" y="13"/>
                  </a:lnTo>
                  <a:lnTo>
                    <a:pt x="233" y="15"/>
                  </a:lnTo>
                  <a:lnTo>
                    <a:pt x="231" y="18"/>
                  </a:lnTo>
                  <a:lnTo>
                    <a:pt x="235" y="17"/>
                  </a:lnTo>
                  <a:lnTo>
                    <a:pt x="237" y="17"/>
                  </a:lnTo>
                  <a:lnTo>
                    <a:pt x="239" y="17"/>
                  </a:lnTo>
                  <a:lnTo>
                    <a:pt x="245" y="21"/>
                  </a:lnTo>
                  <a:lnTo>
                    <a:pt x="247" y="22"/>
                  </a:lnTo>
                  <a:lnTo>
                    <a:pt x="247" y="23"/>
                  </a:lnTo>
                  <a:lnTo>
                    <a:pt x="246" y="25"/>
                  </a:lnTo>
                  <a:lnTo>
                    <a:pt x="245" y="26"/>
                  </a:lnTo>
                  <a:lnTo>
                    <a:pt x="243" y="26"/>
                  </a:lnTo>
                  <a:lnTo>
                    <a:pt x="239" y="26"/>
                  </a:lnTo>
                  <a:lnTo>
                    <a:pt x="235" y="26"/>
                  </a:lnTo>
                  <a:lnTo>
                    <a:pt x="233" y="28"/>
                  </a:lnTo>
                  <a:lnTo>
                    <a:pt x="234" y="29"/>
                  </a:lnTo>
                  <a:lnTo>
                    <a:pt x="239" y="34"/>
                  </a:lnTo>
                  <a:lnTo>
                    <a:pt x="238" y="35"/>
                  </a:lnTo>
                  <a:lnTo>
                    <a:pt x="235" y="37"/>
                  </a:lnTo>
                  <a:lnTo>
                    <a:pt x="231" y="37"/>
                  </a:lnTo>
                  <a:lnTo>
                    <a:pt x="228" y="38"/>
                  </a:lnTo>
                  <a:lnTo>
                    <a:pt x="228" y="39"/>
                  </a:lnTo>
                  <a:lnTo>
                    <a:pt x="227" y="38"/>
                  </a:lnTo>
                  <a:lnTo>
                    <a:pt x="222" y="37"/>
                  </a:lnTo>
                  <a:lnTo>
                    <a:pt x="220" y="36"/>
                  </a:lnTo>
                  <a:lnTo>
                    <a:pt x="216" y="36"/>
                  </a:lnTo>
                  <a:lnTo>
                    <a:pt x="212" y="36"/>
                  </a:lnTo>
                  <a:lnTo>
                    <a:pt x="208" y="35"/>
                  </a:lnTo>
                  <a:lnTo>
                    <a:pt x="205" y="35"/>
                  </a:lnTo>
                  <a:lnTo>
                    <a:pt x="204" y="36"/>
                  </a:lnTo>
                  <a:lnTo>
                    <a:pt x="201" y="40"/>
                  </a:lnTo>
                  <a:lnTo>
                    <a:pt x="201" y="43"/>
                  </a:lnTo>
                  <a:lnTo>
                    <a:pt x="201" y="49"/>
                  </a:lnTo>
                  <a:lnTo>
                    <a:pt x="200" y="52"/>
                  </a:lnTo>
                  <a:lnTo>
                    <a:pt x="196" y="53"/>
                  </a:lnTo>
                  <a:lnTo>
                    <a:pt x="195" y="55"/>
                  </a:lnTo>
                  <a:lnTo>
                    <a:pt x="195" y="59"/>
                  </a:lnTo>
                  <a:lnTo>
                    <a:pt x="190" y="70"/>
                  </a:lnTo>
                  <a:lnTo>
                    <a:pt x="188" y="71"/>
                  </a:lnTo>
                  <a:lnTo>
                    <a:pt x="183" y="73"/>
                  </a:lnTo>
                  <a:lnTo>
                    <a:pt x="180" y="74"/>
                  </a:lnTo>
                  <a:lnTo>
                    <a:pt x="177" y="76"/>
                  </a:lnTo>
                  <a:lnTo>
                    <a:pt x="176" y="76"/>
                  </a:lnTo>
                  <a:lnTo>
                    <a:pt x="172" y="75"/>
                  </a:lnTo>
                  <a:lnTo>
                    <a:pt x="169" y="74"/>
                  </a:lnTo>
                  <a:lnTo>
                    <a:pt x="166" y="72"/>
                  </a:lnTo>
                  <a:lnTo>
                    <a:pt x="163" y="71"/>
                  </a:lnTo>
                  <a:lnTo>
                    <a:pt x="161" y="72"/>
                  </a:lnTo>
                  <a:lnTo>
                    <a:pt x="158" y="74"/>
                  </a:lnTo>
                  <a:lnTo>
                    <a:pt x="155" y="78"/>
                  </a:lnTo>
                  <a:lnTo>
                    <a:pt x="152" y="80"/>
                  </a:lnTo>
                  <a:lnTo>
                    <a:pt x="150" y="81"/>
                  </a:lnTo>
                  <a:lnTo>
                    <a:pt x="146" y="80"/>
                  </a:lnTo>
                  <a:lnTo>
                    <a:pt x="143" y="79"/>
                  </a:lnTo>
                  <a:lnTo>
                    <a:pt x="142" y="79"/>
                  </a:lnTo>
                  <a:lnTo>
                    <a:pt x="136" y="81"/>
                  </a:lnTo>
                  <a:lnTo>
                    <a:pt x="134" y="80"/>
                  </a:lnTo>
                  <a:lnTo>
                    <a:pt x="132" y="79"/>
                  </a:lnTo>
                  <a:lnTo>
                    <a:pt x="126" y="73"/>
                  </a:lnTo>
                  <a:lnTo>
                    <a:pt x="125" y="71"/>
                  </a:lnTo>
                  <a:lnTo>
                    <a:pt x="123" y="6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6" name="Freeform 160">
              <a:extLst>
                <a:ext uri="{FF2B5EF4-FFF2-40B4-BE49-F238E27FC236}">
                  <a16:creationId xmlns:a16="http://schemas.microsoft.com/office/drawing/2014/main" id="{668A4442-3DDE-23B4-E612-E71FB0126F79}"/>
                </a:ext>
              </a:extLst>
            </p:cNvPr>
            <p:cNvSpPr>
              <a:spLocks noEditPoints="1"/>
            </p:cNvSpPr>
            <p:nvPr/>
          </p:nvSpPr>
          <p:spPr bwMode="auto">
            <a:xfrm>
              <a:off x="7259221" y="5122863"/>
              <a:ext cx="949325" cy="331788"/>
            </a:xfrm>
            <a:custGeom>
              <a:avLst/>
              <a:gdLst/>
              <a:ahLst/>
              <a:cxnLst>
                <a:cxn ang="0">
                  <a:pos x="574" y="176"/>
                </a:cxn>
                <a:cxn ang="0">
                  <a:pos x="547" y="139"/>
                </a:cxn>
                <a:cxn ang="0">
                  <a:pos x="504" y="114"/>
                </a:cxn>
                <a:cxn ang="0">
                  <a:pos x="481" y="112"/>
                </a:cxn>
                <a:cxn ang="0">
                  <a:pos x="504" y="102"/>
                </a:cxn>
                <a:cxn ang="0">
                  <a:pos x="473" y="86"/>
                </a:cxn>
                <a:cxn ang="0">
                  <a:pos x="509" y="107"/>
                </a:cxn>
                <a:cxn ang="0">
                  <a:pos x="538" y="104"/>
                </a:cxn>
                <a:cxn ang="0">
                  <a:pos x="325" y="63"/>
                </a:cxn>
                <a:cxn ang="0">
                  <a:pos x="378" y="62"/>
                </a:cxn>
                <a:cxn ang="0">
                  <a:pos x="376" y="69"/>
                </a:cxn>
                <a:cxn ang="0">
                  <a:pos x="322" y="82"/>
                </a:cxn>
                <a:cxn ang="0">
                  <a:pos x="356" y="85"/>
                </a:cxn>
                <a:cxn ang="0">
                  <a:pos x="343" y="99"/>
                </a:cxn>
                <a:cxn ang="0">
                  <a:pos x="356" y="131"/>
                </a:cxn>
                <a:cxn ang="0">
                  <a:pos x="336" y="110"/>
                </a:cxn>
                <a:cxn ang="0">
                  <a:pos x="317" y="149"/>
                </a:cxn>
                <a:cxn ang="0">
                  <a:pos x="307" y="109"/>
                </a:cxn>
                <a:cxn ang="0">
                  <a:pos x="289" y="26"/>
                </a:cxn>
                <a:cxn ang="0">
                  <a:pos x="308" y="62"/>
                </a:cxn>
                <a:cxn ang="0">
                  <a:pos x="277" y="94"/>
                </a:cxn>
                <a:cxn ang="0">
                  <a:pos x="253" y="129"/>
                </a:cxn>
                <a:cxn ang="0">
                  <a:pos x="227" y="118"/>
                </a:cxn>
                <a:cxn ang="0">
                  <a:pos x="194" y="109"/>
                </a:cxn>
                <a:cxn ang="0">
                  <a:pos x="178" y="65"/>
                </a:cxn>
                <a:cxn ang="0">
                  <a:pos x="210" y="62"/>
                </a:cxn>
                <a:cxn ang="0">
                  <a:pos x="254" y="52"/>
                </a:cxn>
                <a:cxn ang="0">
                  <a:pos x="291" y="20"/>
                </a:cxn>
                <a:cxn ang="0">
                  <a:pos x="331" y="205"/>
                </a:cxn>
                <a:cxn ang="0">
                  <a:pos x="411" y="185"/>
                </a:cxn>
                <a:cxn ang="0">
                  <a:pos x="130" y="163"/>
                </a:cxn>
                <a:cxn ang="0">
                  <a:pos x="152" y="155"/>
                </a:cxn>
                <a:cxn ang="0">
                  <a:pos x="185" y="164"/>
                </a:cxn>
                <a:cxn ang="0">
                  <a:pos x="226" y="170"/>
                </a:cxn>
                <a:cxn ang="0">
                  <a:pos x="238" y="184"/>
                </a:cxn>
                <a:cxn ang="0">
                  <a:pos x="163" y="175"/>
                </a:cxn>
                <a:cxn ang="0">
                  <a:pos x="139" y="108"/>
                </a:cxn>
                <a:cxn ang="0">
                  <a:pos x="149" y="108"/>
                </a:cxn>
                <a:cxn ang="0">
                  <a:pos x="428" y="54"/>
                </a:cxn>
                <a:cxn ang="0">
                  <a:pos x="431" y="64"/>
                </a:cxn>
                <a:cxn ang="0">
                  <a:pos x="433" y="85"/>
                </a:cxn>
                <a:cxn ang="0">
                  <a:pos x="116" y="88"/>
                </a:cxn>
                <a:cxn ang="0">
                  <a:pos x="140" y="115"/>
                </a:cxn>
                <a:cxn ang="0">
                  <a:pos x="122" y="146"/>
                </a:cxn>
                <a:cxn ang="0">
                  <a:pos x="73" y="101"/>
                </a:cxn>
                <a:cxn ang="0">
                  <a:pos x="36" y="45"/>
                </a:cxn>
                <a:cxn ang="0">
                  <a:pos x="0" y="2"/>
                </a:cxn>
                <a:cxn ang="0">
                  <a:pos x="39" y="16"/>
                </a:cxn>
                <a:cxn ang="0">
                  <a:pos x="73" y="46"/>
                </a:cxn>
                <a:cxn ang="0">
                  <a:pos x="111" y="73"/>
                </a:cxn>
                <a:cxn ang="0">
                  <a:pos x="294" y="183"/>
                </a:cxn>
                <a:cxn ang="0">
                  <a:pos x="309" y="184"/>
                </a:cxn>
                <a:cxn ang="0">
                  <a:pos x="295" y="190"/>
                </a:cxn>
                <a:cxn ang="0">
                  <a:pos x="289" y="185"/>
                </a:cxn>
                <a:cxn ang="0">
                  <a:pos x="346" y="191"/>
                </a:cxn>
                <a:cxn ang="0">
                  <a:pos x="340" y="187"/>
                </a:cxn>
                <a:cxn ang="0">
                  <a:pos x="361" y="179"/>
                </a:cxn>
                <a:cxn ang="0">
                  <a:pos x="561" y="185"/>
                </a:cxn>
                <a:cxn ang="0">
                  <a:pos x="465" y="124"/>
                </a:cxn>
                <a:cxn ang="0">
                  <a:pos x="430" y="115"/>
                </a:cxn>
                <a:cxn ang="0">
                  <a:pos x="465" y="124"/>
                </a:cxn>
              </a:cxnLst>
              <a:rect l="0" t="0" r="r" b="b"/>
              <a:pathLst>
                <a:path w="598" h="209">
                  <a:moveTo>
                    <a:pt x="597" y="109"/>
                  </a:moveTo>
                  <a:lnTo>
                    <a:pt x="597" y="156"/>
                  </a:lnTo>
                  <a:lnTo>
                    <a:pt x="595" y="161"/>
                  </a:lnTo>
                  <a:lnTo>
                    <a:pt x="597" y="169"/>
                  </a:lnTo>
                  <a:lnTo>
                    <a:pt x="598" y="174"/>
                  </a:lnTo>
                  <a:lnTo>
                    <a:pt x="598" y="194"/>
                  </a:lnTo>
                  <a:lnTo>
                    <a:pt x="594" y="191"/>
                  </a:lnTo>
                  <a:lnTo>
                    <a:pt x="589" y="186"/>
                  </a:lnTo>
                  <a:lnTo>
                    <a:pt x="585" y="181"/>
                  </a:lnTo>
                  <a:lnTo>
                    <a:pt x="582" y="180"/>
                  </a:lnTo>
                  <a:lnTo>
                    <a:pt x="578" y="181"/>
                  </a:lnTo>
                  <a:lnTo>
                    <a:pt x="574" y="182"/>
                  </a:lnTo>
                  <a:lnTo>
                    <a:pt x="571" y="182"/>
                  </a:lnTo>
                  <a:lnTo>
                    <a:pt x="571" y="179"/>
                  </a:lnTo>
                  <a:lnTo>
                    <a:pt x="574" y="176"/>
                  </a:lnTo>
                  <a:lnTo>
                    <a:pt x="574" y="174"/>
                  </a:lnTo>
                  <a:lnTo>
                    <a:pt x="571" y="171"/>
                  </a:lnTo>
                  <a:lnTo>
                    <a:pt x="567" y="166"/>
                  </a:lnTo>
                  <a:lnTo>
                    <a:pt x="568" y="165"/>
                  </a:lnTo>
                  <a:lnTo>
                    <a:pt x="570" y="166"/>
                  </a:lnTo>
                  <a:lnTo>
                    <a:pt x="572" y="165"/>
                  </a:lnTo>
                  <a:lnTo>
                    <a:pt x="573" y="165"/>
                  </a:lnTo>
                  <a:lnTo>
                    <a:pt x="570" y="162"/>
                  </a:lnTo>
                  <a:lnTo>
                    <a:pt x="566" y="160"/>
                  </a:lnTo>
                  <a:lnTo>
                    <a:pt x="565" y="158"/>
                  </a:lnTo>
                  <a:lnTo>
                    <a:pt x="563" y="154"/>
                  </a:lnTo>
                  <a:lnTo>
                    <a:pt x="557" y="144"/>
                  </a:lnTo>
                  <a:lnTo>
                    <a:pt x="554" y="142"/>
                  </a:lnTo>
                  <a:lnTo>
                    <a:pt x="551" y="140"/>
                  </a:lnTo>
                  <a:lnTo>
                    <a:pt x="547" y="139"/>
                  </a:lnTo>
                  <a:lnTo>
                    <a:pt x="536" y="135"/>
                  </a:lnTo>
                  <a:lnTo>
                    <a:pt x="528" y="133"/>
                  </a:lnTo>
                  <a:lnTo>
                    <a:pt x="525" y="132"/>
                  </a:lnTo>
                  <a:lnTo>
                    <a:pt x="520" y="131"/>
                  </a:lnTo>
                  <a:lnTo>
                    <a:pt x="517" y="129"/>
                  </a:lnTo>
                  <a:lnTo>
                    <a:pt x="517" y="127"/>
                  </a:lnTo>
                  <a:lnTo>
                    <a:pt x="517" y="125"/>
                  </a:lnTo>
                  <a:lnTo>
                    <a:pt x="516" y="125"/>
                  </a:lnTo>
                  <a:lnTo>
                    <a:pt x="512" y="126"/>
                  </a:lnTo>
                  <a:lnTo>
                    <a:pt x="510" y="125"/>
                  </a:lnTo>
                  <a:lnTo>
                    <a:pt x="507" y="124"/>
                  </a:lnTo>
                  <a:lnTo>
                    <a:pt x="505" y="122"/>
                  </a:lnTo>
                  <a:lnTo>
                    <a:pt x="504" y="119"/>
                  </a:lnTo>
                  <a:lnTo>
                    <a:pt x="504" y="116"/>
                  </a:lnTo>
                  <a:lnTo>
                    <a:pt x="504" y="114"/>
                  </a:lnTo>
                  <a:lnTo>
                    <a:pt x="502" y="115"/>
                  </a:lnTo>
                  <a:lnTo>
                    <a:pt x="501" y="117"/>
                  </a:lnTo>
                  <a:lnTo>
                    <a:pt x="500" y="121"/>
                  </a:lnTo>
                  <a:lnTo>
                    <a:pt x="499" y="125"/>
                  </a:lnTo>
                  <a:lnTo>
                    <a:pt x="497" y="127"/>
                  </a:lnTo>
                  <a:lnTo>
                    <a:pt x="493" y="128"/>
                  </a:lnTo>
                  <a:lnTo>
                    <a:pt x="492" y="128"/>
                  </a:lnTo>
                  <a:lnTo>
                    <a:pt x="490" y="124"/>
                  </a:lnTo>
                  <a:lnTo>
                    <a:pt x="490" y="122"/>
                  </a:lnTo>
                  <a:lnTo>
                    <a:pt x="492" y="121"/>
                  </a:lnTo>
                  <a:lnTo>
                    <a:pt x="492" y="119"/>
                  </a:lnTo>
                  <a:lnTo>
                    <a:pt x="490" y="117"/>
                  </a:lnTo>
                  <a:lnTo>
                    <a:pt x="487" y="115"/>
                  </a:lnTo>
                  <a:lnTo>
                    <a:pt x="483" y="112"/>
                  </a:lnTo>
                  <a:lnTo>
                    <a:pt x="481" y="112"/>
                  </a:lnTo>
                  <a:lnTo>
                    <a:pt x="481" y="111"/>
                  </a:lnTo>
                  <a:lnTo>
                    <a:pt x="481" y="110"/>
                  </a:lnTo>
                  <a:lnTo>
                    <a:pt x="483" y="109"/>
                  </a:lnTo>
                  <a:lnTo>
                    <a:pt x="486" y="110"/>
                  </a:lnTo>
                  <a:lnTo>
                    <a:pt x="489" y="111"/>
                  </a:lnTo>
                  <a:lnTo>
                    <a:pt x="490" y="111"/>
                  </a:lnTo>
                  <a:lnTo>
                    <a:pt x="492" y="109"/>
                  </a:lnTo>
                  <a:lnTo>
                    <a:pt x="495" y="107"/>
                  </a:lnTo>
                  <a:lnTo>
                    <a:pt x="496" y="107"/>
                  </a:lnTo>
                  <a:lnTo>
                    <a:pt x="498" y="109"/>
                  </a:lnTo>
                  <a:lnTo>
                    <a:pt x="504" y="108"/>
                  </a:lnTo>
                  <a:lnTo>
                    <a:pt x="505" y="107"/>
                  </a:lnTo>
                  <a:lnTo>
                    <a:pt x="505" y="104"/>
                  </a:lnTo>
                  <a:lnTo>
                    <a:pt x="505" y="102"/>
                  </a:lnTo>
                  <a:lnTo>
                    <a:pt x="504" y="102"/>
                  </a:lnTo>
                  <a:lnTo>
                    <a:pt x="501" y="103"/>
                  </a:lnTo>
                  <a:lnTo>
                    <a:pt x="498" y="104"/>
                  </a:lnTo>
                  <a:lnTo>
                    <a:pt x="494" y="104"/>
                  </a:lnTo>
                  <a:lnTo>
                    <a:pt x="489" y="104"/>
                  </a:lnTo>
                  <a:lnTo>
                    <a:pt x="483" y="103"/>
                  </a:lnTo>
                  <a:lnTo>
                    <a:pt x="481" y="101"/>
                  </a:lnTo>
                  <a:lnTo>
                    <a:pt x="480" y="100"/>
                  </a:lnTo>
                  <a:lnTo>
                    <a:pt x="479" y="97"/>
                  </a:lnTo>
                  <a:lnTo>
                    <a:pt x="478" y="94"/>
                  </a:lnTo>
                  <a:lnTo>
                    <a:pt x="476" y="94"/>
                  </a:lnTo>
                  <a:lnTo>
                    <a:pt x="468" y="93"/>
                  </a:lnTo>
                  <a:lnTo>
                    <a:pt x="470" y="91"/>
                  </a:lnTo>
                  <a:lnTo>
                    <a:pt x="470" y="89"/>
                  </a:lnTo>
                  <a:lnTo>
                    <a:pt x="470" y="86"/>
                  </a:lnTo>
                  <a:lnTo>
                    <a:pt x="473" y="86"/>
                  </a:lnTo>
                  <a:lnTo>
                    <a:pt x="478" y="83"/>
                  </a:lnTo>
                  <a:lnTo>
                    <a:pt x="481" y="81"/>
                  </a:lnTo>
                  <a:lnTo>
                    <a:pt x="484" y="80"/>
                  </a:lnTo>
                  <a:lnTo>
                    <a:pt x="486" y="80"/>
                  </a:lnTo>
                  <a:lnTo>
                    <a:pt x="488" y="80"/>
                  </a:lnTo>
                  <a:lnTo>
                    <a:pt x="497" y="84"/>
                  </a:lnTo>
                  <a:lnTo>
                    <a:pt x="500" y="85"/>
                  </a:lnTo>
                  <a:lnTo>
                    <a:pt x="505" y="86"/>
                  </a:lnTo>
                  <a:lnTo>
                    <a:pt x="508" y="90"/>
                  </a:lnTo>
                  <a:lnTo>
                    <a:pt x="508" y="92"/>
                  </a:lnTo>
                  <a:lnTo>
                    <a:pt x="507" y="97"/>
                  </a:lnTo>
                  <a:lnTo>
                    <a:pt x="507" y="99"/>
                  </a:lnTo>
                  <a:lnTo>
                    <a:pt x="508" y="101"/>
                  </a:lnTo>
                  <a:lnTo>
                    <a:pt x="508" y="104"/>
                  </a:lnTo>
                  <a:lnTo>
                    <a:pt x="509" y="107"/>
                  </a:lnTo>
                  <a:lnTo>
                    <a:pt x="510" y="110"/>
                  </a:lnTo>
                  <a:lnTo>
                    <a:pt x="511" y="111"/>
                  </a:lnTo>
                  <a:lnTo>
                    <a:pt x="513" y="112"/>
                  </a:lnTo>
                  <a:lnTo>
                    <a:pt x="514" y="108"/>
                  </a:lnTo>
                  <a:lnTo>
                    <a:pt x="514" y="109"/>
                  </a:lnTo>
                  <a:lnTo>
                    <a:pt x="515" y="110"/>
                  </a:lnTo>
                  <a:lnTo>
                    <a:pt x="517" y="116"/>
                  </a:lnTo>
                  <a:lnTo>
                    <a:pt x="518" y="117"/>
                  </a:lnTo>
                  <a:lnTo>
                    <a:pt x="519" y="118"/>
                  </a:lnTo>
                  <a:lnTo>
                    <a:pt x="521" y="119"/>
                  </a:lnTo>
                  <a:lnTo>
                    <a:pt x="523" y="119"/>
                  </a:lnTo>
                  <a:lnTo>
                    <a:pt x="526" y="118"/>
                  </a:lnTo>
                  <a:lnTo>
                    <a:pt x="529" y="115"/>
                  </a:lnTo>
                  <a:lnTo>
                    <a:pt x="537" y="104"/>
                  </a:lnTo>
                  <a:lnTo>
                    <a:pt x="538" y="104"/>
                  </a:lnTo>
                  <a:lnTo>
                    <a:pt x="545" y="103"/>
                  </a:lnTo>
                  <a:lnTo>
                    <a:pt x="547" y="102"/>
                  </a:lnTo>
                  <a:lnTo>
                    <a:pt x="547" y="101"/>
                  </a:lnTo>
                  <a:lnTo>
                    <a:pt x="547" y="98"/>
                  </a:lnTo>
                  <a:lnTo>
                    <a:pt x="549" y="98"/>
                  </a:lnTo>
                  <a:lnTo>
                    <a:pt x="555" y="94"/>
                  </a:lnTo>
                  <a:lnTo>
                    <a:pt x="557" y="94"/>
                  </a:lnTo>
                  <a:lnTo>
                    <a:pt x="567" y="98"/>
                  </a:lnTo>
                  <a:lnTo>
                    <a:pt x="580" y="104"/>
                  </a:lnTo>
                  <a:lnTo>
                    <a:pt x="589" y="107"/>
                  </a:lnTo>
                  <a:lnTo>
                    <a:pt x="597" y="109"/>
                  </a:lnTo>
                  <a:close/>
                  <a:moveTo>
                    <a:pt x="320" y="73"/>
                  </a:moveTo>
                  <a:lnTo>
                    <a:pt x="320" y="73"/>
                  </a:lnTo>
                  <a:lnTo>
                    <a:pt x="323" y="66"/>
                  </a:lnTo>
                  <a:lnTo>
                    <a:pt x="325" y="63"/>
                  </a:lnTo>
                  <a:lnTo>
                    <a:pt x="327" y="62"/>
                  </a:lnTo>
                  <a:lnTo>
                    <a:pt x="330" y="64"/>
                  </a:lnTo>
                  <a:lnTo>
                    <a:pt x="331" y="62"/>
                  </a:lnTo>
                  <a:lnTo>
                    <a:pt x="332" y="61"/>
                  </a:lnTo>
                  <a:lnTo>
                    <a:pt x="334" y="58"/>
                  </a:lnTo>
                  <a:lnTo>
                    <a:pt x="337" y="58"/>
                  </a:lnTo>
                  <a:lnTo>
                    <a:pt x="340" y="58"/>
                  </a:lnTo>
                  <a:lnTo>
                    <a:pt x="345" y="61"/>
                  </a:lnTo>
                  <a:lnTo>
                    <a:pt x="347" y="62"/>
                  </a:lnTo>
                  <a:lnTo>
                    <a:pt x="352" y="61"/>
                  </a:lnTo>
                  <a:lnTo>
                    <a:pt x="355" y="62"/>
                  </a:lnTo>
                  <a:lnTo>
                    <a:pt x="360" y="64"/>
                  </a:lnTo>
                  <a:lnTo>
                    <a:pt x="363" y="62"/>
                  </a:lnTo>
                  <a:lnTo>
                    <a:pt x="374" y="63"/>
                  </a:lnTo>
                  <a:lnTo>
                    <a:pt x="378" y="62"/>
                  </a:lnTo>
                  <a:lnTo>
                    <a:pt x="382" y="60"/>
                  </a:lnTo>
                  <a:lnTo>
                    <a:pt x="383" y="59"/>
                  </a:lnTo>
                  <a:lnTo>
                    <a:pt x="382" y="57"/>
                  </a:lnTo>
                  <a:lnTo>
                    <a:pt x="383" y="55"/>
                  </a:lnTo>
                  <a:lnTo>
                    <a:pt x="385" y="54"/>
                  </a:lnTo>
                  <a:lnTo>
                    <a:pt x="387" y="52"/>
                  </a:lnTo>
                  <a:lnTo>
                    <a:pt x="389" y="51"/>
                  </a:lnTo>
                  <a:lnTo>
                    <a:pt x="389" y="53"/>
                  </a:lnTo>
                  <a:lnTo>
                    <a:pt x="389" y="56"/>
                  </a:lnTo>
                  <a:lnTo>
                    <a:pt x="388" y="58"/>
                  </a:lnTo>
                  <a:lnTo>
                    <a:pt x="388" y="58"/>
                  </a:lnTo>
                  <a:lnTo>
                    <a:pt x="387" y="59"/>
                  </a:lnTo>
                  <a:lnTo>
                    <a:pt x="382" y="67"/>
                  </a:lnTo>
                  <a:lnTo>
                    <a:pt x="379" y="69"/>
                  </a:lnTo>
                  <a:lnTo>
                    <a:pt x="376" y="69"/>
                  </a:lnTo>
                  <a:lnTo>
                    <a:pt x="369" y="71"/>
                  </a:lnTo>
                  <a:lnTo>
                    <a:pt x="366" y="70"/>
                  </a:lnTo>
                  <a:lnTo>
                    <a:pt x="363" y="68"/>
                  </a:lnTo>
                  <a:lnTo>
                    <a:pt x="356" y="67"/>
                  </a:lnTo>
                  <a:lnTo>
                    <a:pt x="349" y="68"/>
                  </a:lnTo>
                  <a:lnTo>
                    <a:pt x="344" y="68"/>
                  </a:lnTo>
                  <a:lnTo>
                    <a:pt x="338" y="68"/>
                  </a:lnTo>
                  <a:lnTo>
                    <a:pt x="334" y="67"/>
                  </a:lnTo>
                  <a:lnTo>
                    <a:pt x="331" y="67"/>
                  </a:lnTo>
                  <a:lnTo>
                    <a:pt x="328" y="68"/>
                  </a:lnTo>
                  <a:lnTo>
                    <a:pt x="326" y="70"/>
                  </a:lnTo>
                  <a:lnTo>
                    <a:pt x="324" y="73"/>
                  </a:lnTo>
                  <a:lnTo>
                    <a:pt x="323" y="74"/>
                  </a:lnTo>
                  <a:lnTo>
                    <a:pt x="322" y="79"/>
                  </a:lnTo>
                  <a:lnTo>
                    <a:pt x="322" y="82"/>
                  </a:lnTo>
                  <a:lnTo>
                    <a:pt x="324" y="85"/>
                  </a:lnTo>
                  <a:lnTo>
                    <a:pt x="325" y="86"/>
                  </a:lnTo>
                  <a:lnTo>
                    <a:pt x="328" y="87"/>
                  </a:lnTo>
                  <a:lnTo>
                    <a:pt x="329" y="88"/>
                  </a:lnTo>
                  <a:lnTo>
                    <a:pt x="330" y="92"/>
                  </a:lnTo>
                  <a:lnTo>
                    <a:pt x="331" y="92"/>
                  </a:lnTo>
                  <a:lnTo>
                    <a:pt x="333" y="93"/>
                  </a:lnTo>
                  <a:lnTo>
                    <a:pt x="337" y="93"/>
                  </a:lnTo>
                  <a:lnTo>
                    <a:pt x="339" y="91"/>
                  </a:lnTo>
                  <a:lnTo>
                    <a:pt x="343" y="86"/>
                  </a:lnTo>
                  <a:lnTo>
                    <a:pt x="345" y="86"/>
                  </a:lnTo>
                  <a:lnTo>
                    <a:pt x="347" y="87"/>
                  </a:lnTo>
                  <a:lnTo>
                    <a:pt x="350" y="87"/>
                  </a:lnTo>
                  <a:lnTo>
                    <a:pt x="352" y="86"/>
                  </a:lnTo>
                  <a:lnTo>
                    <a:pt x="356" y="85"/>
                  </a:lnTo>
                  <a:lnTo>
                    <a:pt x="360" y="84"/>
                  </a:lnTo>
                  <a:lnTo>
                    <a:pt x="361" y="82"/>
                  </a:lnTo>
                  <a:lnTo>
                    <a:pt x="363" y="82"/>
                  </a:lnTo>
                  <a:lnTo>
                    <a:pt x="366" y="83"/>
                  </a:lnTo>
                  <a:lnTo>
                    <a:pt x="366" y="85"/>
                  </a:lnTo>
                  <a:lnTo>
                    <a:pt x="366" y="89"/>
                  </a:lnTo>
                  <a:lnTo>
                    <a:pt x="363" y="87"/>
                  </a:lnTo>
                  <a:lnTo>
                    <a:pt x="360" y="87"/>
                  </a:lnTo>
                  <a:lnTo>
                    <a:pt x="358" y="89"/>
                  </a:lnTo>
                  <a:lnTo>
                    <a:pt x="355" y="92"/>
                  </a:lnTo>
                  <a:lnTo>
                    <a:pt x="353" y="94"/>
                  </a:lnTo>
                  <a:lnTo>
                    <a:pt x="346" y="97"/>
                  </a:lnTo>
                  <a:lnTo>
                    <a:pt x="345" y="99"/>
                  </a:lnTo>
                  <a:lnTo>
                    <a:pt x="345" y="99"/>
                  </a:lnTo>
                  <a:lnTo>
                    <a:pt x="343" y="99"/>
                  </a:lnTo>
                  <a:lnTo>
                    <a:pt x="340" y="98"/>
                  </a:lnTo>
                  <a:lnTo>
                    <a:pt x="340" y="98"/>
                  </a:lnTo>
                  <a:lnTo>
                    <a:pt x="340" y="100"/>
                  </a:lnTo>
                  <a:lnTo>
                    <a:pt x="342" y="101"/>
                  </a:lnTo>
                  <a:lnTo>
                    <a:pt x="346" y="104"/>
                  </a:lnTo>
                  <a:lnTo>
                    <a:pt x="348" y="107"/>
                  </a:lnTo>
                  <a:lnTo>
                    <a:pt x="353" y="115"/>
                  </a:lnTo>
                  <a:lnTo>
                    <a:pt x="353" y="116"/>
                  </a:lnTo>
                  <a:lnTo>
                    <a:pt x="352" y="121"/>
                  </a:lnTo>
                  <a:lnTo>
                    <a:pt x="352" y="123"/>
                  </a:lnTo>
                  <a:lnTo>
                    <a:pt x="355" y="126"/>
                  </a:lnTo>
                  <a:lnTo>
                    <a:pt x="358" y="129"/>
                  </a:lnTo>
                  <a:lnTo>
                    <a:pt x="359" y="130"/>
                  </a:lnTo>
                  <a:lnTo>
                    <a:pt x="358" y="132"/>
                  </a:lnTo>
                  <a:lnTo>
                    <a:pt x="356" y="131"/>
                  </a:lnTo>
                  <a:lnTo>
                    <a:pt x="352" y="132"/>
                  </a:lnTo>
                  <a:lnTo>
                    <a:pt x="349" y="133"/>
                  </a:lnTo>
                  <a:lnTo>
                    <a:pt x="348" y="137"/>
                  </a:lnTo>
                  <a:lnTo>
                    <a:pt x="345" y="137"/>
                  </a:lnTo>
                  <a:lnTo>
                    <a:pt x="343" y="136"/>
                  </a:lnTo>
                  <a:lnTo>
                    <a:pt x="342" y="135"/>
                  </a:lnTo>
                  <a:lnTo>
                    <a:pt x="342" y="131"/>
                  </a:lnTo>
                  <a:lnTo>
                    <a:pt x="343" y="128"/>
                  </a:lnTo>
                  <a:lnTo>
                    <a:pt x="338" y="123"/>
                  </a:lnTo>
                  <a:lnTo>
                    <a:pt x="335" y="121"/>
                  </a:lnTo>
                  <a:lnTo>
                    <a:pt x="334" y="120"/>
                  </a:lnTo>
                  <a:lnTo>
                    <a:pt x="334" y="118"/>
                  </a:lnTo>
                  <a:lnTo>
                    <a:pt x="336" y="116"/>
                  </a:lnTo>
                  <a:lnTo>
                    <a:pt x="337" y="113"/>
                  </a:lnTo>
                  <a:lnTo>
                    <a:pt x="336" y="110"/>
                  </a:lnTo>
                  <a:lnTo>
                    <a:pt x="331" y="109"/>
                  </a:lnTo>
                  <a:lnTo>
                    <a:pt x="328" y="110"/>
                  </a:lnTo>
                  <a:lnTo>
                    <a:pt x="326" y="113"/>
                  </a:lnTo>
                  <a:lnTo>
                    <a:pt x="327" y="115"/>
                  </a:lnTo>
                  <a:lnTo>
                    <a:pt x="327" y="121"/>
                  </a:lnTo>
                  <a:lnTo>
                    <a:pt x="327" y="124"/>
                  </a:lnTo>
                  <a:lnTo>
                    <a:pt x="326" y="130"/>
                  </a:lnTo>
                  <a:lnTo>
                    <a:pt x="328" y="136"/>
                  </a:lnTo>
                  <a:lnTo>
                    <a:pt x="328" y="137"/>
                  </a:lnTo>
                  <a:lnTo>
                    <a:pt x="325" y="141"/>
                  </a:lnTo>
                  <a:lnTo>
                    <a:pt x="325" y="142"/>
                  </a:lnTo>
                  <a:lnTo>
                    <a:pt x="327" y="146"/>
                  </a:lnTo>
                  <a:lnTo>
                    <a:pt x="323" y="147"/>
                  </a:lnTo>
                  <a:lnTo>
                    <a:pt x="320" y="148"/>
                  </a:lnTo>
                  <a:lnTo>
                    <a:pt x="317" y="149"/>
                  </a:lnTo>
                  <a:lnTo>
                    <a:pt x="316" y="147"/>
                  </a:lnTo>
                  <a:lnTo>
                    <a:pt x="315" y="144"/>
                  </a:lnTo>
                  <a:lnTo>
                    <a:pt x="316" y="142"/>
                  </a:lnTo>
                  <a:lnTo>
                    <a:pt x="316" y="139"/>
                  </a:lnTo>
                  <a:lnTo>
                    <a:pt x="317" y="134"/>
                  </a:lnTo>
                  <a:lnTo>
                    <a:pt x="317" y="127"/>
                  </a:lnTo>
                  <a:lnTo>
                    <a:pt x="316" y="124"/>
                  </a:lnTo>
                  <a:lnTo>
                    <a:pt x="317" y="122"/>
                  </a:lnTo>
                  <a:lnTo>
                    <a:pt x="316" y="120"/>
                  </a:lnTo>
                  <a:lnTo>
                    <a:pt x="314" y="119"/>
                  </a:lnTo>
                  <a:lnTo>
                    <a:pt x="312" y="121"/>
                  </a:lnTo>
                  <a:lnTo>
                    <a:pt x="308" y="121"/>
                  </a:lnTo>
                  <a:lnTo>
                    <a:pt x="308" y="118"/>
                  </a:lnTo>
                  <a:lnTo>
                    <a:pt x="307" y="110"/>
                  </a:lnTo>
                  <a:lnTo>
                    <a:pt x="307" y="109"/>
                  </a:lnTo>
                  <a:lnTo>
                    <a:pt x="310" y="106"/>
                  </a:lnTo>
                  <a:lnTo>
                    <a:pt x="313" y="101"/>
                  </a:lnTo>
                  <a:lnTo>
                    <a:pt x="314" y="98"/>
                  </a:lnTo>
                  <a:lnTo>
                    <a:pt x="313" y="93"/>
                  </a:lnTo>
                  <a:lnTo>
                    <a:pt x="313" y="91"/>
                  </a:lnTo>
                  <a:lnTo>
                    <a:pt x="314" y="89"/>
                  </a:lnTo>
                  <a:lnTo>
                    <a:pt x="316" y="85"/>
                  </a:lnTo>
                  <a:lnTo>
                    <a:pt x="319" y="84"/>
                  </a:lnTo>
                  <a:lnTo>
                    <a:pt x="318" y="79"/>
                  </a:lnTo>
                  <a:lnTo>
                    <a:pt x="320" y="73"/>
                  </a:lnTo>
                  <a:close/>
                  <a:moveTo>
                    <a:pt x="292" y="21"/>
                  </a:moveTo>
                  <a:lnTo>
                    <a:pt x="292" y="21"/>
                  </a:lnTo>
                  <a:lnTo>
                    <a:pt x="294" y="25"/>
                  </a:lnTo>
                  <a:lnTo>
                    <a:pt x="292" y="26"/>
                  </a:lnTo>
                  <a:lnTo>
                    <a:pt x="289" y="26"/>
                  </a:lnTo>
                  <a:lnTo>
                    <a:pt x="286" y="27"/>
                  </a:lnTo>
                  <a:lnTo>
                    <a:pt x="287" y="28"/>
                  </a:lnTo>
                  <a:lnTo>
                    <a:pt x="288" y="30"/>
                  </a:lnTo>
                  <a:lnTo>
                    <a:pt x="286" y="31"/>
                  </a:lnTo>
                  <a:lnTo>
                    <a:pt x="288" y="32"/>
                  </a:lnTo>
                  <a:lnTo>
                    <a:pt x="289" y="33"/>
                  </a:lnTo>
                  <a:lnTo>
                    <a:pt x="292" y="38"/>
                  </a:lnTo>
                  <a:lnTo>
                    <a:pt x="295" y="43"/>
                  </a:lnTo>
                  <a:lnTo>
                    <a:pt x="296" y="44"/>
                  </a:lnTo>
                  <a:lnTo>
                    <a:pt x="294" y="48"/>
                  </a:lnTo>
                  <a:lnTo>
                    <a:pt x="294" y="49"/>
                  </a:lnTo>
                  <a:lnTo>
                    <a:pt x="297" y="52"/>
                  </a:lnTo>
                  <a:lnTo>
                    <a:pt x="301" y="55"/>
                  </a:lnTo>
                  <a:lnTo>
                    <a:pt x="304" y="58"/>
                  </a:lnTo>
                  <a:lnTo>
                    <a:pt x="308" y="62"/>
                  </a:lnTo>
                  <a:lnTo>
                    <a:pt x="305" y="63"/>
                  </a:lnTo>
                  <a:lnTo>
                    <a:pt x="301" y="63"/>
                  </a:lnTo>
                  <a:lnTo>
                    <a:pt x="296" y="61"/>
                  </a:lnTo>
                  <a:lnTo>
                    <a:pt x="294" y="62"/>
                  </a:lnTo>
                  <a:lnTo>
                    <a:pt x="292" y="65"/>
                  </a:lnTo>
                  <a:lnTo>
                    <a:pt x="289" y="70"/>
                  </a:lnTo>
                  <a:lnTo>
                    <a:pt x="289" y="73"/>
                  </a:lnTo>
                  <a:lnTo>
                    <a:pt x="289" y="74"/>
                  </a:lnTo>
                  <a:lnTo>
                    <a:pt x="289" y="78"/>
                  </a:lnTo>
                  <a:lnTo>
                    <a:pt x="290" y="81"/>
                  </a:lnTo>
                  <a:lnTo>
                    <a:pt x="289" y="86"/>
                  </a:lnTo>
                  <a:lnTo>
                    <a:pt x="288" y="86"/>
                  </a:lnTo>
                  <a:lnTo>
                    <a:pt x="285" y="85"/>
                  </a:lnTo>
                  <a:lnTo>
                    <a:pt x="279" y="91"/>
                  </a:lnTo>
                  <a:lnTo>
                    <a:pt x="277" y="94"/>
                  </a:lnTo>
                  <a:lnTo>
                    <a:pt x="272" y="98"/>
                  </a:lnTo>
                  <a:lnTo>
                    <a:pt x="275" y="100"/>
                  </a:lnTo>
                  <a:lnTo>
                    <a:pt x="275" y="103"/>
                  </a:lnTo>
                  <a:lnTo>
                    <a:pt x="276" y="104"/>
                  </a:lnTo>
                  <a:lnTo>
                    <a:pt x="272" y="104"/>
                  </a:lnTo>
                  <a:lnTo>
                    <a:pt x="275" y="108"/>
                  </a:lnTo>
                  <a:lnTo>
                    <a:pt x="275" y="109"/>
                  </a:lnTo>
                  <a:lnTo>
                    <a:pt x="274" y="110"/>
                  </a:lnTo>
                  <a:lnTo>
                    <a:pt x="271" y="115"/>
                  </a:lnTo>
                  <a:lnTo>
                    <a:pt x="270" y="117"/>
                  </a:lnTo>
                  <a:lnTo>
                    <a:pt x="269" y="119"/>
                  </a:lnTo>
                  <a:lnTo>
                    <a:pt x="266" y="122"/>
                  </a:lnTo>
                  <a:lnTo>
                    <a:pt x="258" y="126"/>
                  </a:lnTo>
                  <a:lnTo>
                    <a:pt x="255" y="128"/>
                  </a:lnTo>
                  <a:lnTo>
                    <a:pt x="253" y="129"/>
                  </a:lnTo>
                  <a:lnTo>
                    <a:pt x="252" y="127"/>
                  </a:lnTo>
                  <a:lnTo>
                    <a:pt x="252" y="125"/>
                  </a:lnTo>
                  <a:lnTo>
                    <a:pt x="250" y="120"/>
                  </a:lnTo>
                  <a:lnTo>
                    <a:pt x="248" y="118"/>
                  </a:lnTo>
                  <a:lnTo>
                    <a:pt x="247" y="116"/>
                  </a:lnTo>
                  <a:lnTo>
                    <a:pt x="245" y="117"/>
                  </a:lnTo>
                  <a:lnTo>
                    <a:pt x="242" y="120"/>
                  </a:lnTo>
                  <a:lnTo>
                    <a:pt x="240" y="120"/>
                  </a:lnTo>
                  <a:lnTo>
                    <a:pt x="238" y="117"/>
                  </a:lnTo>
                  <a:lnTo>
                    <a:pt x="237" y="116"/>
                  </a:lnTo>
                  <a:lnTo>
                    <a:pt x="234" y="115"/>
                  </a:lnTo>
                  <a:lnTo>
                    <a:pt x="232" y="112"/>
                  </a:lnTo>
                  <a:lnTo>
                    <a:pt x="230" y="112"/>
                  </a:lnTo>
                  <a:lnTo>
                    <a:pt x="228" y="116"/>
                  </a:lnTo>
                  <a:lnTo>
                    <a:pt x="227" y="118"/>
                  </a:lnTo>
                  <a:lnTo>
                    <a:pt x="225" y="118"/>
                  </a:lnTo>
                  <a:lnTo>
                    <a:pt x="222" y="117"/>
                  </a:lnTo>
                  <a:lnTo>
                    <a:pt x="220" y="118"/>
                  </a:lnTo>
                  <a:lnTo>
                    <a:pt x="218" y="120"/>
                  </a:lnTo>
                  <a:lnTo>
                    <a:pt x="216" y="120"/>
                  </a:lnTo>
                  <a:lnTo>
                    <a:pt x="216" y="117"/>
                  </a:lnTo>
                  <a:lnTo>
                    <a:pt x="216" y="115"/>
                  </a:lnTo>
                  <a:lnTo>
                    <a:pt x="214" y="109"/>
                  </a:lnTo>
                  <a:lnTo>
                    <a:pt x="212" y="112"/>
                  </a:lnTo>
                  <a:lnTo>
                    <a:pt x="204" y="114"/>
                  </a:lnTo>
                  <a:lnTo>
                    <a:pt x="202" y="112"/>
                  </a:lnTo>
                  <a:lnTo>
                    <a:pt x="198" y="112"/>
                  </a:lnTo>
                  <a:lnTo>
                    <a:pt x="196" y="113"/>
                  </a:lnTo>
                  <a:lnTo>
                    <a:pt x="195" y="113"/>
                  </a:lnTo>
                  <a:lnTo>
                    <a:pt x="194" y="109"/>
                  </a:lnTo>
                  <a:lnTo>
                    <a:pt x="194" y="105"/>
                  </a:lnTo>
                  <a:lnTo>
                    <a:pt x="192" y="97"/>
                  </a:lnTo>
                  <a:lnTo>
                    <a:pt x="192" y="94"/>
                  </a:lnTo>
                  <a:lnTo>
                    <a:pt x="190" y="90"/>
                  </a:lnTo>
                  <a:lnTo>
                    <a:pt x="188" y="87"/>
                  </a:lnTo>
                  <a:lnTo>
                    <a:pt x="183" y="85"/>
                  </a:lnTo>
                  <a:lnTo>
                    <a:pt x="183" y="84"/>
                  </a:lnTo>
                  <a:lnTo>
                    <a:pt x="186" y="82"/>
                  </a:lnTo>
                  <a:lnTo>
                    <a:pt x="183" y="80"/>
                  </a:lnTo>
                  <a:lnTo>
                    <a:pt x="181" y="78"/>
                  </a:lnTo>
                  <a:lnTo>
                    <a:pt x="182" y="74"/>
                  </a:lnTo>
                  <a:lnTo>
                    <a:pt x="182" y="73"/>
                  </a:lnTo>
                  <a:lnTo>
                    <a:pt x="180" y="70"/>
                  </a:lnTo>
                  <a:lnTo>
                    <a:pt x="178" y="68"/>
                  </a:lnTo>
                  <a:lnTo>
                    <a:pt x="178" y="65"/>
                  </a:lnTo>
                  <a:lnTo>
                    <a:pt x="178" y="62"/>
                  </a:lnTo>
                  <a:lnTo>
                    <a:pt x="179" y="58"/>
                  </a:lnTo>
                  <a:lnTo>
                    <a:pt x="180" y="56"/>
                  </a:lnTo>
                  <a:lnTo>
                    <a:pt x="182" y="53"/>
                  </a:lnTo>
                  <a:lnTo>
                    <a:pt x="184" y="48"/>
                  </a:lnTo>
                  <a:lnTo>
                    <a:pt x="186" y="48"/>
                  </a:lnTo>
                  <a:lnTo>
                    <a:pt x="187" y="49"/>
                  </a:lnTo>
                  <a:lnTo>
                    <a:pt x="189" y="53"/>
                  </a:lnTo>
                  <a:lnTo>
                    <a:pt x="190" y="55"/>
                  </a:lnTo>
                  <a:lnTo>
                    <a:pt x="196" y="61"/>
                  </a:lnTo>
                  <a:lnTo>
                    <a:pt x="198" y="62"/>
                  </a:lnTo>
                  <a:lnTo>
                    <a:pt x="200" y="63"/>
                  </a:lnTo>
                  <a:lnTo>
                    <a:pt x="206" y="61"/>
                  </a:lnTo>
                  <a:lnTo>
                    <a:pt x="207" y="61"/>
                  </a:lnTo>
                  <a:lnTo>
                    <a:pt x="210" y="62"/>
                  </a:lnTo>
                  <a:lnTo>
                    <a:pt x="214" y="63"/>
                  </a:lnTo>
                  <a:lnTo>
                    <a:pt x="216" y="62"/>
                  </a:lnTo>
                  <a:lnTo>
                    <a:pt x="219" y="60"/>
                  </a:lnTo>
                  <a:lnTo>
                    <a:pt x="222" y="56"/>
                  </a:lnTo>
                  <a:lnTo>
                    <a:pt x="225" y="54"/>
                  </a:lnTo>
                  <a:lnTo>
                    <a:pt x="227" y="53"/>
                  </a:lnTo>
                  <a:lnTo>
                    <a:pt x="230" y="54"/>
                  </a:lnTo>
                  <a:lnTo>
                    <a:pt x="233" y="56"/>
                  </a:lnTo>
                  <a:lnTo>
                    <a:pt x="236" y="57"/>
                  </a:lnTo>
                  <a:lnTo>
                    <a:pt x="240" y="58"/>
                  </a:lnTo>
                  <a:lnTo>
                    <a:pt x="241" y="58"/>
                  </a:lnTo>
                  <a:lnTo>
                    <a:pt x="244" y="56"/>
                  </a:lnTo>
                  <a:lnTo>
                    <a:pt x="247" y="55"/>
                  </a:lnTo>
                  <a:lnTo>
                    <a:pt x="252" y="53"/>
                  </a:lnTo>
                  <a:lnTo>
                    <a:pt x="254" y="52"/>
                  </a:lnTo>
                  <a:lnTo>
                    <a:pt x="259" y="41"/>
                  </a:lnTo>
                  <a:lnTo>
                    <a:pt x="259" y="37"/>
                  </a:lnTo>
                  <a:lnTo>
                    <a:pt x="260" y="35"/>
                  </a:lnTo>
                  <a:lnTo>
                    <a:pt x="264" y="34"/>
                  </a:lnTo>
                  <a:lnTo>
                    <a:pt x="265" y="31"/>
                  </a:lnTo>
                  <a:lnTo>
                    <a:pt x="265" y="25"/>
                  </a:lnTo>
                  <a:lnTo>
                    <a:pt x="265" y="22"/>
                  </a:lnTo>
                  <a:lnTo>
                    <a:pt x="268" y="18"/>
                  </a:lnTo>
                  <a:lnTo>
                    <a:pt x="269" y="17"/>
                  </a:lnTo>
                  <a:lnTo>
                    <a:pt x="272" y="17"/>
                  </a:lnTo>
                  <a:lnTo>
                    <a:pt x="276" y="18"/>
                  </a:lnTo>
                  <a:lnTo>
                    <a:pt x="280" y="18"/>
                  </a:lnTo>
                  <a:lnTo>
                    <a:pt x="284" y="18"/>
                  </a:lnTo>
                  <a:lnTo>
                    <a:pt x="286" y="19"/>
                  </a:lnTo>
                  <a:lnTo>
                    <a:pt x="291" y="20"/>
                  </a:lnTo>
                  <a:lnTo>
                    <a:pt x="292" y="21"/>
                  </a:lnTo>
                  <a:close/>
                  <a:moveTo>
                    <a:pt x="327" y="209"/>
                  </a:moveTo>
                  <a:lnTo>
                    <a:pt x="326" y="209"/>
                  </a:lnTo>
                  <a:lnTo>
                    <a:pt x="321" y="205"/>
                  </a:lnTo>
                  <a:lnTo>
                    <a:pt x="316" y="202"/>
                  </a:lnTo>
                  <a:lnTo>
                    <a:pt x="314" y="202"/>
                  </a:lnTo>
                  <a:lnTo>
                    <a:pt x="311" y="201"/>
                  </a:lnTo>
                  <a:lnTo>
                    <a:pt x="309" y="200"/>
                  </a:lnTo>
                  <a:lnTo>
                    <a:pt x="310" y="199"/>
                  </a:lnTo>
                  <a:lnTo>
                    <a:pt x="312" y="198"/>
                  </a:lnTo>
                  <a:lnTo>
                    <a:pt x="318" y="197"/>
                  </a:lnTo>
                  <a:lnTo>
                    <a:pt x="321" y="197"/>
                  </a:lnTo>
                  <a:lnTo>
                    <a:pt x="323" y="199"/>
                  </a:lnTo>
                  <a:lnTo>
                    <a:pt x="330" y="203"/>
                  </a:lnTo>
                  <a:lnTo>
                    <a:pt x="331" y="205"/>
                  </a:lnTo>
                  <a:lnTo>
                    <a:pt x="331" y="207"/>
                  </a:lnTo>
                  <a:lnTo>
                    <a:pt x="329" y="209"/>
                  </a:lnTo>
                  <a:lnTo>
                    <a:pt x="327" y="209"/>
                  </a:lnTo>
                  <a:close/>
                  <a:moveTo>
                    <a:pt x="369" y="209"/>
                  </a:moveTo>
                  <a:lnTo>
                    <a:pt x="371" y="206"/>
                  </a:lnTo>
                  <a:lnTo>
                    <a:pt x="371" y="203"/>
                  </a:lnTo>
                  <a:lnTo>
                    <a:pt x="372" y="201"/>
                  </a:lnTo>
                  <a:lnTo>
                    <a:pt x="376" y="198"/>
                  </a:lnTo>
                  <a:lnTo>
                    <a:pt x="384" y="194"/>
                  </a:lnTo>
                  <a:lnTo>
                    <a:pt x="388" y="191"/>
                  </a:lnTo>
                  <a:lnTo>
                    <a:pt x="390" y="188"/>
                  </a:lnTo>
                  <a:lnTo>
                    <a:pt x="393" y="187"/>
                  </a:lnTo>
                  <a:lnTo>
                    <a:pt x="402" y="186"/>
                  </a:lnTo>
                  <a:lnTo>
                    <a:pt x="408" y="185"/>
                  </a:lnTo>
                  <a:lnTo>
                    <a:pt x="411" y="185"/>
                  </a:lnTo>
                  <a:lnTo>
                    <a:pt x="416" y="184"/>
                  </a:lnTo>
                  <a:lnTo>
                    <a:pt x="417" y="184"/>
                  </a:lnTo>
                  <a:lnTo>
                    <a:pt x="417" y="185"/>
                  </a:lnTo>
                  <a:lnTo>
                    <a:pt x="416" y="187"/>
                  </a:lnTo>
                  <a:lnTo>
                    <a:pt x="414" y="188"/>
                  </a:lnTo>
                  <a:lnTo>
                    <a:pt x="404" y="192"/>
                  </a:lnTo>
                  <a:lnTo>
                    <a:pt x="396" y="194"/>
                  </a:lnTo>
                  <a:lnTo>
                    <a:pt x="392" y="196"/>
                  </a:lnTo>
                  <a:lnTo>
                    <a:pt x="388" y="198"/>
                  </a:lnTo>
                  <a:lnTo>
                    <a:pt x="382" y="204"/>
                  </a:lnTo>
                  <a:lnTo>
                    <a:pt x="378" y="207"/>
                  </a:lnTo>
                  <a:lnTo>
                    <a:pt x="375" y="207"/>
                  </a:lnTo>
                  <a:lnTo>
                    <a:pt x="372" y="209"/>
                  </a:lnTo>
                  <a:lnTo>
                    <a:pt x="369" y="209"/>
                  </a:lnTo>
                  <a:close/>
                  <a:moveTo>
                    <a:pt x="130" y="163"/>
                  </a:moveTo>
                  <a:lnTo>
                    <a:pt x="130" y="161"/>
                  </a:lnTo>
                  <a:lnTo>
                    <a:pt x="132" y="161"/>
                  </a:lnTo>
                  <a:lnTo>
                    <a:pt x="134" y="162"/>
                  </a:lnTo>
                  <a:lnTo>
                    <a:pt x="136" y="161"/>
                  </a:lnTo>
                  <a:lnTo>
                    <a:pt x="136" y="158"/>
                  </a:lnTo>
                  <a:lnTo>
                    <a:pt x="136" y="157"/>
                  </a:lnTo>
                  <a:lnTo>
                    <a:pt x="138" y="158"/>
                  </a:lnTo>
                  <a:lnTo>
                    <a:pt x="138" y="155"/>
                  </a:lnTo>
                  <a:lnTo>
                    <a:pt x="139" y="153"/>
                  </a:lnTo>
                  <a:lnTo>
                    <a:pt x="140" y="152"/>
                  </a:lnTo>
                  <a:lnTo>
                    <a:pt x="141" y="152"/>
                  </a:lnTo>
                  <a:lnTo>
                    <a:pt x="145" y="153"/>
                  </a:lnTo>
                  <a:lnTo>
                    <a:pt x="148" y="153"/>
                  </a:lnTo>
                  <a:lnTo>
                    <a:pt x="149" y="155"/>
                  </a:lnTo>
                  <a:lnTo>
                    <a:pt x="152" y="155"/>
                  </a:lnTo>
                  <a:lnTo>
                    <a:pt x="153" y="153"/>
                  </a:lnTo>
                  <a:lnTo>
                    <a:pt x="153" y="152"/>
                  </a:lnTo>
                  <a:lnTo>
                    <a:pt x="155" y="152"/>
                  </a:lnTo>
                  <a:lnTo>
                    <a:pt x="159" y="153"/>
                  </a:lnTo>
                  <a:lnTo>
                    <a:pt x="161" y="156"/>
                  </a:lnTo>
                  <a:lnTo>
                    <a:pt x="163" y="155"/>
                  </a:lnTo>
                  <a:lnTo>
                    <a:pt x="164" y="157"/>
                  </a:lnTo>
                  <a:lnTo>
                    <a:pt x="166" y="157"/>
                  </a:lnTo>
                  <a:lnTo>
                    <a:pt x="169" y="156"/>
                  </a:lnTo>
                  <a:lnTo>
                    <a:pt x="171" y="157"/>
                  </a:lnTo>
                  <a:lnTo>
                    <a:pt x="173" y="160"/>
                  </a:lnTo>
                  <a:lnTo>
                    <a:pt x="174" y="163"/>
                  </a:lnTo>
                  <a:lnTo>
                    <a:pt x="180" y="164"/>
                  </a:lnTo>
                  <a:lnTo>
                    <a:pt x="182" y="165"/>
                  </a:lnTo>
                  <a:lnTo>
                    <a:pt x="185" y="164"/>
                  </a:lnTo>
                  <a:lnTo>
                    <a:pt x="193" y="165"/>
                  </a:lnTo>
                  <a:lnTo>
                    <a:pt x="196" y="165"/>
                  </a:lnTo>
                  <a:lnTo>
                    <a:pt x="198" y="164"/>
                  </a:lnTo>
                  <a:lnTo>
                    <a:pt x="199" y="160"/>
                  </a:lnTo>
                  <a:lnTo>
                    <a:pt x="201" y="158"/>
                  </a:lnTo>
                  <a:lnTo>
                    <a:pt x="204" y="158"/>
                  </a:lnTo>
                  <a:lnTo>
                    <a:pt x="205" y="160"/>
                  </a:lnTo>
                  <a:lnTo>
                    <a:pt x="207" y="163"/>
                  </a:lnTo>
                  <a:lnTo>
                    <a:pt x="211" y="163"/>
                  </a:lnTo>
                  <a:lnTo>
                    <a:pt x="214" y="163"/>
                  </a:lnTo>
                  <a:lnTo>
                    <a:pt x="218" y="164"/>
                  </a:lnTo>
                  <a:lnTo>
                    <a:pt x="223" y="165"/>
                  </a:lnTo>
                  <a:lnTo>
                    <a:pt x="225" y="166"/>
                  </a:lnTo>
                  <a:lnTo>
                    <a:pt x="226" y="168"/>
                  </a:lnTo>
                  <a:lnTo>
                    <a:pt x="226" y="170"/>
                  </a:lnTo>
                  <a:lnTo>
                    <a:pt x="228" y="173"/>
                  </a:lnTo>
                  <a:lnTo>
                    <a:pt x="228" y="174"/>
                  </a:lnTo>
                  <a:lnTo>
                    <a:pt x="233" y="176"/>
                  </a:lnTo>
                  <a:lnTo>
                    <a:pt x="236" y="176"/>
                  </a:lnTo>
                  <a:lnTo>
                    <a:pt x="240" y="176"/>
                  </a:lnTo>
                  <a:lnTo>
                    <a:pt x="242" y="175"/>
                  </a:lnTo>
                  <a:lnTo>
                    <a:pt x="245" y="175"/>
                  </a:lnTo>
                  <a:lnTo>
                    <a:pt x="249" y="177"/>
                  </a:lnTo>
                  <a:lnTo>
                    <a:pt x="249" y="178"/>
                  </a:lnTo>
                  <a:lnTo>
                    <a:pt x="247" y="180"/>
                  </a:lnTo>
                  <a:lnTo>
                    <a:pt x="246" y="183"/>
                  </a:lnTo>
                  <a:lnTo>
                    <a:pt x="250" y="188"/>
                  </a:lnTo>
                  <a:lnTo>
                    <a:pt x="247" y="187"/>
                  </a:lnTo>
                  <a:lnTo>
                    <a:pt x="242" y="185"/>
                  </a:lnTo>
                  <a:lnTo>
                    <a:pt x="238" y="184"/>
                  </a:lnTo>
                  <a:lnTo>
                    <a:pt x="233" y="182"/>
                  </a:lnTo>
                  <a:lnTo>
                    <a:pt x="230" y="182"/>
                  </a:lnTo>
                  <a:lnTo>
                    <a:pt x="227" y="184"/>
                  </a:lnTo>
                  <a:lnTo>
                    <a:pt x="225" y="184"/>
                  </a:lnTo>
                  <a:lnTo>
                    <a:pt x="220" y="184"/>
                  </a:lnTo>
                  <a:lnTo>
                    <a:pt x="212" y="182"/>
                  </a:lnTo>
                  <a:lnTo>
                    <a:pt x="203" y="182"/>
                  </a:lnTo>
                  <a:lnTo>
                    <a:pt x="199" y="180"/>
                  </a:lnTo>
                  <a:lnTo>
                    <a:pt x="194" y="178"/>
                  </a:lnTo>
                  <a:lnTo>
                    <a:pt x="187" y="175"/>
                  </a:lnTo>
                  <a:lnTo>
                    <a:pt x="181" y="174"/>
                  </a:lnTo>
                  <a:lnTo>
                    <a:pt x="175" y="174"/>
                  </a:lnTo>
                  <a:lnTo>
                    <a:pt x="172" y="175"/>
                  </a:lnTo>
                  <a:lnTo>
                    <a:pt x="169" y="176"/>
                  </a:lnTo>
                  <a:lnTo>
                    <a:pt x="163" y="175"/>
                  </a:lnTo>
                  <a:lnTo>
                    <a:pt x="159" y="172"/>
                  </a:lnTo>
                  <a:lnTo>
                    <a:pt x="157" y="172"/>
                  </a:lnTo>
                  <a:lnTo>
                    <a:pt x="147" y="171"/>
                  </a:lnTo>
                  <a:lnTo>
                    <a:pt x="145" y="170"/>
                  </a:lnTo>
                  <a:lnTo>
                    <a:pt x="145" y="169"/>
                  </a:lnTo>
                  <a:lnTo>
                    <a:pt x="148" y="166"/>
                  </a:lnTo>
                  <a:lnTo>
                    <a:pt x="146" y="165"/>
                  </a:lnTo>
                  <a:lnTo>
                    <a:pt x="142" y="164"/>
                  </a:lnTo>
                  <a:lnTo>
                    <a:pt x="139" y="163"/>
                  </a:lnTo>
                  <a:lnTo>
                    <a:pt x="138" y="163"/>
                  </a:lnTo>
                  <a:lnTo>
                    <a:pt x="130" y="163"/>
                  </a:lnTo>
                  <a:close/>
                  <a:moveTo>
                    <a:pt x="148" y="114"/>
                  </a:moveTo>
                  <a:lnTo>
                    <a:pt x="143" y="112"/>
                  </a:lnTo>
                  <a:lnTo>
                    <a:pt x="141" y="110"/>
                  </a:lnTo>
                  <a:lnTo>
                    <a:pt x="139" y="108"/>
                  </a:lnTo>
                  <a:lnTo>
                    <a:pt x="139" y="106"/>
                  </a:lnTo>
                  <a:lnTo>
                    <a:pt x="138" y="104"/>
                  </a:lnTo>
                  <a:lnTo>
                    <a:pt x="135" y="101"/>
                  </a:lnTo>
                  <a:lnTo>
                    <a:pt x="134" y="101"/>
                  </a:lnTo>
                  <a:lnTo>
                    <a:pt x="131" y="101"/>
                  </a:lnTo>
                  <a:lnTo>
                    <a:pt x="130" y="100"/>
                  </a:lnTo>
                  <a:lnTo>
                    <a:pt x="132" y="97"/>
                  </a:lnTo>
                  <a:lnTo>
                    <a:pt x="133" y="95"/>
                  </a:lnTo>
                  <a:lnTo>
                    <a:pt x="136" y="98"/>
                  </a:lnTo>
                  <a:lnTo>
                    <a:pt x="137" y="95"/>
                  </a:lnTo>
                  <a:lnTo>
                    <a:pt x="139" y="94"/>
                  </a:lnTo>
                  <a:lnTo>
                    <a:pt x="139" y="96"/>
                  </a:lnTo>
                  <a:lnTo>
                    <a:pt x="141" y="101"/>
                  </a:lnTo>
                  <a:lnTo>
                    <a:pt x="145" y="106"/>
                  </a:lnTo>
                  <a:lnTo>
                    <a:pt x="149" y="108"/>
                  </a:lnTo>
                  <a:lnTo>
                    <a:pt x="148" y="109"/>
                  </a:lnTo>
                  <a:lnTo>
                    <a:pt x="147" y="111"/>
                  </a:lnTo>
                  <a:lnTo>
                    <a:pt x="148" y="114"/>
                  </a:lnTo>
                  <a:close/>
                  <a:moveTo>
                    <a:pt x="424" y="73"/>
                  </a:moveTo>
                  <a:lnTo>
                    <a:pt x="423" y="72"/>
                  </a:lnTo>
                  <a:lnTo>
                    <a:pt x="421" y="66"/>
                  </a:lnTo>
                  <a:lnTo>
                    <a:pt x="422" y="62"/>
                  </a:lnTo>
                  <a:lnTo>
                    <a:pt x="422" y="62"/>
                  </a:lnTo>
                  <a:lnTo>
                    <a:pt x="421" y="60"/>
                  </a:lnTo>
                  <a:lnTo>
                    <a:pt x="421" y="58"/>
                  </a:lnTo>
                  <a:lnTo>
                    <a:pt x="423" y="53"/>
                  </a:lnTo>
                  <a:lnTo>
                    <a:pt x="426" y="48"/>
                  </a:lnTo>
                  <a:lnTo>
                    <a:pt x="427" y="50"/>
                  </a:lnTo>
                  <a:lnTo>
                    <a:pt x="428" y="52"/>
                  </a:lnTo>
                  <a:lnTo>
                    <a:pt x="428" y="54"/>
                  </a:lnTo>
                  <a:lnTo>
                    <a:pt x="426" y="56"/>
                  </a:lnTo>
                  <a:lnTo>
                    <a:pt x="424" y="61"/>
                  </a:lnTo>
                  <a:lnTo>
                    <a:pt x="425" y="62"/>
                  </a:lnTo>
                  <a:lnTo>
                    <a:pt x="426" y="63"/>
                  </a:lnTo>
                  <a:lnTo>
                    <a:pt x="426" y="62"/>
                  </a:lnTo>
                  <a:lnTo>
                    <a:pt x="429" y="60"/>
                  </a:lnTo>
                  <a:lnTo>
                    <a:pt x="430" y="57"/>
                  </a:lnTo>
                  <a:lnTo>
                    <a:pt x="431" y="56"/>
                  </a:lnTo>
                  <a:lnTo>
                    <a:pt x="435" y="54"/>
                  </a:lnTo>
                  <a:lnTo>
                    <a:pt x="436" y="55"/>
                  </a:lnTo>
                  <a:lnTo>
                    <a:pt x="436" y="56"/>
                  </a:lnTo>
                  <a:lnTo>
                    <a:pt x="436" y="59"/>
                  </a:lnTo>
                  <a:lnTo>
                    <a:pt x="435" y="61"/>
                  </a:lnTo>
                  <a:lnTo>
                    <a:pt x="432" y="63"/>
                  </a:lnTo>
                  <a:lnTo>
                    <a:pt x="431" y="64"/>
                  </a:lnTo>
                  <a:lnTo>
                    <a:pt x="432" y="65"/>
                  </a:lnTo>
                  <a:lnTo>
                    <a:pt x="434" y="66"/>
                  </a:lnTo>
                  <a:lnTo>
                    <a:pt x="437" y="67"/>
                  </a:lnTo>
                  <a:lnTo>
                    <a:pt x="436" y="68"/>
                  </a:lnTo>
                  <a:lnTo>
                    <a:pt x="438" y="70"/>
                  </a:lnTo>
                  <a:lnTo>
                    <a:pt x="433" y="69"/>
                  </a:lnTo>
                  <a:lnTo>
                    <a:pt x="431" y="68"/>
                  </a:lnTo>
                  <a:lnTo>
                    <a:pt x="429" y="68"/>
                  </a:lnTo>
                  <a:lnTo>
                    <a:pt x="427" y="69"/>
                  </a:lnTo>
                  <a:lnTo>
                    <a:pt x="427" y="71"/>
                  </a:lnTo>
                  <a:lnTo>
                    <a:pt x="427" y="73"/>
                  </a:lnTo>
                  <a:lnTo>
                    <a:pt x="427" y="77"/>
                  </a:lnTo>
                  <a:lnTo>
                    <a:pt x="430" y="80"/>
                  </a:lnTo>
                  <a:lnTo>
                    <a:pt x="432" y="83"/>
                  </a:lnTo>
                  <a:lnTo>
                    <a:pt x="433" y="85"/>
                  </a:lnTo>
                  <a:lnTo>
                    <a:pt x="432" y="86"/>
                  </a:lnTo>
                  <a:lnTo>
                    <a:pt x="431" y="85"/>
                  </a:lnTo>
                  <a:lnTo>
                    <a:pt x="427" y="81"/>
                  </a:lnTo>
                  <a:lnTo>
                    <a:pt x="424" y="77"/>
                  </a:lnTo>
                  <a:lnTo>
                    <a:pt x="424" y="74"/>
                  </a:lnTo>
                  <a:lnTo>
                    <a:pt x="424" y="73"/>
                  </a:lnTo>
                  <a:close/>
                  <a:moveTo>
                    <a:pt x="111" y="73"/>
                  </a:moveTo>
                  <a:lnTo>
                    <a:pt x="111" y="74"/>
                  </a:lnTo>
                  <a:lnTo>
                    <a:pt x="108" y="77"/>
                  </a:lnTo>
                  <a:lnTo>
                    <a:pt x="107" y="79"/>
                  </a:lnTo>
                  <a:lnTo>
                    <a:pt x="105" y="81"/>
                  </a:lnTo>
                  <a:lnTo>
                    <a:pt x="106" y="83"/>
                  </a:lnTo>
                  <a:lnTo>
                    <a:pt x="107" y="84"/>
                  </a:lnTo>
                  <a:lnTo>
                    <a:pt x="111" y="87"/>
                  </a:lnTo>
                  <a:lnTo>
                    <a:pt x="116" y="88"/>
                  </a:lnTo>
                  <a:lnTo>
                    <a:pt x="118" y="88"/>
                  </a:lnTo>
                  <a:lnTo>
                    <a:pt x="119" y="91"/>
                  </a:lnTo>
                  <a:lnTo>
                    <a:pt x="120" y="95"/>
                  </a:lnTo>
                  <a:lnTo>
                    <a:pt x="119" y="97"/>
                  </a:lnTo>
                  <a:lnTo>
                    <a:pt x="121" y="100"/>
                  </a:lnTo>
                  <a:lnTo>
                    <a:pt x="122" y="101"/>
                  </a:lnTo>
                  <a:lnTo>
                    <a:pt x="125" y="101"/>
                  </a:lnTo>
                  <a:lnTo>
                    <a:pt x="123" y="106"/>
                  </a:lnTo>
                  <a:lnTo>
                    <a:pt x="124" y="107"/>
                  </a:lnTo>
                  <a:lnTo>
                    <a:pt x="128" y="105"/>
                  </a:lnTo>
                  <a:lnTo>
                    <a:pt x="133" y="106"/>
                  </a:lnTo>
                  <a:lnTo>
                    <a:pt x="133" y="107"/>
                  </a:lnTo>
                  <a:lnTo>
                    <a:pt x="135" y="108"/>
                  </a:lnTo>
                  <a:lnTo>
                    <a:pt x="136" y="111"/>
                  </a:lnTo>
                  <a:lnTo>
                    <a:pt x="140" y="115"/>
                  </a:lnTo>
                  <a:lnTo>
                    <a:pt x="137" y="126"/>
                  </a:lnTo>
                  <a:lnTo>
                    <a:pt x="137" y="129"/>
                  </a:lnTo>
                  <a:lnTo>
                    <a:pt x="138" y="134"/>
                  </a:lnTo>
                  <a:lnTo>
                    <a:pt x="138" y="137"/>
                  </a:lnTo>
                  <a:lnTo>
                    <a:pt x="138" y="141"/>
                  </a:lnTo>
                  <a:lnTo>
                    <a:pt x="138" y="143"/>
                  </a:lnTo>
                  <a:lnTo>
                    <a:pt x="137" y="149"/>
                  </a:lnTo>
                  <a:lnTo>
                    <a:pt x="137" y="150"/>
                  </a:lnTo>
                  <a:lnTo>
                    <a:pt x="136" y="150"/>
                  </a:lnTo>
                  <a:lnTo>
                    <a:pt x="134" y="149"/>
                  </a:lnTo>
                  <a:lnTo>
                    <a:pt x="132" y="146"/>
                  </a:lnTo>
                  <a:lnTo>
                    <a:pt x="130" y="145"/>
                  </a:lnTo>
                  <a:lnTo>
                    <a:pt x="129" y="148"/>
                  </a:lnTo>
                  <a:lnTo>
                    <a:pt x="128" y="150"/>
                  </a:lnTo>
                  <a:lnTo>
                    <a:pt x="122" y="146"/>
                  </a:lnTo>
                  <a:lnTo>
                    <a:pt x="121" y="146"/>
                  </a:lnTo>
                  <a:lnTo>
                    <a:pt x="123" y="151"/>
                  </a:lnTo>
                  <a:lnTo>
                    <a:pt x="122" y="152"/>
                  </a:lnTo>
                  <a:lnTo>
                    <a:pt x="121" y="151"/>
                  </a:lnTo>
                  <a:lnTo>
                    <a:pt x="113" y="143"/>
                  </a:lnTo>
                  <a:lnTo>
                    <a:pt x="109" y="138"/>
                  </a:lnTo>
                  <a:lnTo>
                    <a:pt x="103" y="133"/>
                  </a:lnTo>
                  <a:lnTo>
                    <a:pt x="95" y="127"/>
                  </a:lnTo>
                  <a:lnTo>
                    <a:pt x="92" y="125"/>
                  </a:lnTo>
                  <a:lnTo>
                    <a:pt x="91" y="122"/>
                  </a:lnTo>
                  <a:lnTo>
                    <a:pt x="90" y="120"/>
                  </a:lnTo>
                  <a:lnTo>
                    <a:pt x="84" y="116"/>
                  </a:lnTo>
                  <a:lnTo>
                    <a:pt x="80" y="112"/>
                  </a:lnTo>
                  <a:lnTo>
                    <a:pt x="73" y="103"/>
                  </a:lnTo>
                  <a:lnTo>
                    <a:pt x="73" y="101"/>
                  </a:lnTo>
                  <a:lnTo>
                    <a:pt x="73" y="99"/>
                  </a:lnTo>
                  <a:lnTo>
                    <a:pt x="71" y="94"/>
                  </a:lnTo>
                  <a:lnTo>
                    <a:pt x="66" y="85"/>
                  </a:lnTo>
                  <a:lnTo>
                    <a:pt x="62" y="79"/>
                  </a:lnTo>
                  <a:lnTo>
                    <a:pt x="58" y="75"/>
                  </a:lnTo>
                  <a:lnTo>
                    <a:pt x="56" y="73"/>
                  </a:lnTo>
                  <a:lnTo>
                    <a:pt x="55" y="71"/>
                  </a:lnTo>
                  <a:lnTo>
                    <a:pt x="51" y="70"/>
                  </a:lnTo>
                  <a:lnTo>
                    <a:pt x="49" y="65"/>
                  </a:lnTo>
                  <a:lnTo>
                    <a:pt x="45" y="55"/>
                  </a:lnTo>
                  <a:lnTo>
                    <a:pt x="46" y="53"/>
                  </a:lnTo>
                  <a:lnTo>
                    <a:pt x="45" y="52"/>
                  </a:lnTo>
                  <a:lnTo>
                    <a:pt x="44" y="50"/>
                  </a:lnTo>
                  <a:lnTo>
                    <a:pt x="40" y="47"/>
                  </a:lnTo>
                  <a:lnTo>
                    <a:pt x="36" y="45"/>
                  </a:lnTo>
                  <a:lnTo>
                    <a:pt x="33" y="44"/>
                  </a:lnTo>
                  <a:lnTo>
                    <a:pt x="31" y="43"/>
                  </a:lnTo>
                  <a:lnTo>
                    <a:pt x="30" y="41"/>
                  </a:lnTo>
                  <a:lnTo>
                    <a:pt x="30" y="37"/>
                  </a:lnTo>
                  <a:lnTo>
                    <a:pt x="29" y="34"/>
                  </a:lnTo>
                  <a:lnTo>
                    <a:pt x="27" y="32"/>
                  </a:lnTo>
                  <a:lnTo>
                    <a:pt x="22" y="27"/>
                  </a:lnTo>
                  <a:lnTo>
                    <a:pt x="19" y="24"/>
                  </a:lnTo>
                  <a:lnTo>
                    <a:pt x="15" y="25"/>
                  </a:lnTo>
                  <a:lnTo>
                    <a:pt x="12" y="21"/>
                  </a:lnTo>
                  <a:lnTo>
                    <a:pt x="8" y="17"/>
                  </a:lnTo>
                  <a:lnTo>
                    <a:pt x="4" y="13"/>
                  </a:lnTo>
                  <a:lnTo>
                    <a:pt x="1" y="8"/>
                  </a:lnTo>
                  <a:lnTo>
                    <a:pt x="0" y="4"/>
                  </a:lnTo>
                  <a:lnTo>
                    <a:pt x="0" y="2"/>
                  </a:lnTo>
                  <a:lnTo>
                    <a:pt x="0" y="1"/>
                  </a:lnTo>
                  <a:lnTo>
                    <a:pt x="1" y="0"/>
                  </a:lnTo>
                  <a:lnTo>
                    <a:pt x="3" y="0"/>
                  </a:lnTo>
                  <a:lnTo>
                    <a:pt x="5" y="0"/>
                  </a:lnTo>
                  <a:lnTo>
                    <a:pt x="7" y="1"/>
                  </a:lnTo>
                  <a:lnTo>
                    <a:pt x="10" y="4"/>
                  </a:lnTo>
                  <a:lnTo>
                    <a:pt x="13" y="5"/>
                  </a:lnTo>
                  <a:lnTo>
                    <a:pt x="18" y="6"/>
                  </a:lnTo>
                  <a:lnTo>
                    <a:pt x="20" y="7"/>
                  </a:lnTo>
                  <a:lnTo>
                    <a:pt x="23" y="6"/>
                  </a:lnTo>
                  <a:lnTo>
                    <a:pt x="26" y="5"/>
                  </a:lnTo>
                  <a:lnTo>
                    <a:pt x="28" y="5"/>
                  </a:lnTo>
                  <a:lnTo>
                    <a:pt x="30" y="7"/>
                  </a:lnTo>
                  <a:lnTo>
                    <a:pt x="36" y="14"/>
                  </a:lnTo>
                  <a:lnTo>
                    <a:pt x="39" y="16"/>
                  </a:lnTo>
                  <a:lnTo>
                    <a:pt x="39" y="16"/>
                  </a:lnTo>
                  <a:lnTo>
                    <a:pt x="38" y="19"/>
                  </a:lnTo>
                  <a:lnTo>
                    <a:pt x="45" y="25"/>
                  </a:lnTo>
                  <a:lnTo>
                    <a:pt x="49" y="28"/>
                  </a:lnTo>
                  <a:lnTo>
                    <a:pt x="56" y="32"/>
                  </a:lnTo>
                  <a:lnTo>
                    <a:pt x="60" y="34"/>
                  </a:lnTo>
                  <a:lnTo>
                    <a:pt x="61" y="35"/>
                  </a:lnTo>
                  <a:lnTo>
                    <a:pt x="61" y="38"/>
                  </a:lnTo>
                  <a:lnTo>
                    <a:pt x="61" y="39"/>
                  </a:lnTo>
                  <a:lnTo>
                    <a:pt x="64" y="40"/>
                  </a:lnTo>
                  <a:lnTo>
                    <a:pt x="69" y="45"/>
                  </a:lnTo>
                  <a:lnTo>
                    <a:pt x="72" y="48"/>
                  </a:lnTo>
                  <a:lnTo>
                    <a:pt x="74" y="48"/>
                  </a:lnTo>
                  <a:lnTo>
                    <a:pt x="74" y="47"/>
                  </a:lnTo>
                  <a:lnTo>
                    <a:pt x="73" y="46"/>
                  </a:lnTo>
                  <a:lnTo>
                    <a:pt x="73" y="44"/>
                  </a:lnTo>
                  <a:lnTo>
                    <a:pt x="76" y="46"/>
                  </a:lnTo>
                  <a:lnTo>
                    <a:pt x="79" y="50"/>
                  </a:lnTo>
                  <a:lnTo>
                    <a:pt x="82" y="52"/>
                  </a:lnTo>
                  <a:lnTo>
                    <a:pt x="84" y="53"/>
                  </a:lnTo>
                  <a:lnTo>
                    <a:pt x="87" y="54"/>
                  </a:lnTo>
                  <a:lnTo>
                    <a:pt x="89" y="56"/>
                  </a:lnTo>
                  <a:lnTo>
                    <a:pt x="90" y="61"/>
                  </a:lnTo>
                  <a:lnTo>
                    <a:pt x="92" y="63"/>
                  </a:lnTo>
                  <a:lnTo>
                    <a:pt x="95" y="65"/>
                  </a:lnTo>
                  <a:lnTo>
                    <a:pt x="98" y="65"/>
                  </a:lnTo>
                  <a:lnTo>
                    <a:pt x="102" y="66"/>
                  </a:lnTo>
                  <a:lnTo>
                    <a:pt x="105" y="67"/>
                  </a:lnTo>
                  <a:lnTo>
                    <a:pt x="108" y="69"/>
                  </a:lnTo>
                  <a:lnTo>
                    <a:pt x="111" y="73"/>
                  </a:lnTo>
                  <a:lnTo>
                    <a:pt x="111" y="73"/>
                  </a:lnTo>
                  <a:close/>
                  <a:moveTo>
                    <a:pt x="259" y="188"/>
                  </a:moveTo>
                  <a:lnTo>
                    <a:pt x="257" y="186"/>
                  </a:lnTo>
                  <a:lnTo>
                    <a:pt x="252" y="184"/>
                  </a:lnTo>
                  <a:lnTo>
                    <a:pt x="252" y="182"/>
                  </a:lnTo>
                  <a:lnTo>
                    <a:pt x="254" y="182"/>
                  </a:lnTo>
                  <a:lnTo>
                    <a:pt x="257" y="181"/>
                  </a:lnTo>
                  <a:lnTo>
                    <a:pt x="259" y="181"/>
                  </a:lnTo>
                  <a:lnTo>
                    <a:pt x="265" y="184"/>
                  </a:lnTo>
                  <a:lnTo>
                    <a:pt x="263" y="185"/>
                  </a:lnTo>
                  <a:lnTo>
                    <a:pt x="262" y="185"/>
                  </a:lnTo>
                  <a:lnTo>
                    <a:pt x="259" y="188"/>
                  </a:lnTo>
                  <a:close/>
                  <a:moveTo>
                    <a:pt x="297" y="185"/>
                  </a:moveTo>
                  <a:lnTo>
                    <a:pt x="295" y="184"/>
                  </a:lnTo>
                  <a:lnTo>
                    <a:pt x="294" y="183"/>
                  </a:lnTo>
                  <a:lnTo>
                    <a:pt x="294" y="182"/>
                  </a:lnTo>
                  <a:lnTo>
                    <a:pt x="294" y="181"/>
                  </a:lnTo>
                  <a:lnTo>
                    <a:pt x="295" y="180"/>
                  </a:lnTo>
                  <a:lnTo>
                    <a:pt x="297" y="180"/>
                  </a:lnTo>
                  <a:lnTo>
                    <a:pt x="298" y="180"/>
                  </a:lnTo>
                  <a:lnTo>
                    <a:pt x="298" y="181"/>
                  </a:lnTo>
                  <a:lnTo>
                    <a:pt x="299" y="182"/>
                  </a:lnTo>
                  <a:lnTo>
                    <a:pt x="301" y="181"/>
                  </a:lnTo>
                  <a:lnTo>
                    <a:pt x="303" y="182"/>
                  </a:lnTo>
                  <a:lnTo>
                    <a:pt x="304" y="183"/>
                  </a:lnTo>
                  <a:lnTo>
                    <a:pt x="304" y="185"/>
                  </a:lnTo>
                  <a:lnTo>
                    <a:pt x="305" y="185"/>
                  </a:lnTo>
                  <a:lnTo>
                    <a:pt x="306" y="183"/>
                  </a:lnTo>
                  <a:lnTo>
                    <a:pt x="307" y="182"/>
                  </a:lnTo>
                  <a:lnTo>
                    <a:pt x="309" y="184"/>
                  </a:lnTo>
                  <a:lnTo>
                    <a:pt x="309" y="187"/>
                  </a:lnTo>
                  <a:lnTo>
                    <a:pt x="310" y="186"/>
                  </a:lnTo>
                  <a:lnTo>
                    <a:pt x="310" y="187"/>
                  </a:lnTo>
                  <a:lnTo>
                    <a:pt x="310" y="189"/>
                  </a:lnTo>
                  <a:lnTo>
                    <a:pt x="309" y="188"/>
                  </a:lnTo>
                  <a:lnTo>
                    <a:pt x="307" y="188"/>
                  </a:lnTo>
                  <a:lnTo>
                    <a:pt x="306" y="188"/>
                  </a:lnTo>
                  <a:lnTo>
                    <a:pt x="306" y="189"/>
                  </a:lnTo>
                  <a:lnTo>
                    <a:pt x="301" y="190"/>
                  </a:lnTo>
                  <a:lnTo>
                    <a:pt x="300" y="189"/>
                  </a:lnTo>
                  <a:lnTo>
                    <a:pt x="301" y="188"/>
                  </a:lnTo>
                  <a:lnTo>
                    <a:pt x="300" y="187"/>
                  </a:lnTo>
                  <a:lnTo>
                    <a:pt x="299" y="189"/>
                  </a:lnTo>
                  <a:lnTo>
                    <a:pt x="297" y="190"/>
                  </a:lnTo>
                  <a:lnTo>
                    <a:pt x="295" y="190"/>
                  </a:lnTo>
                  <a:lnTo>
                    <a:pt x="292" y="191"/>
                  </a:lnTo>
                  <a:lnTo>
                    <a:pt x="288" y="193"/>
                  </a:lnTo>
                  <a:lnTo>
                    <a:pt x="286" y="193"/>
                  </a:lnTo>
                  <a:lnTo>
                    <a:pt x="284" y="193"/>
                  </a:lnTo>
                  <a:lnTo>
                    <a:pt x="282" y="193"/>
                  </a:lnTo>
                  <a:lnTo>
                    <a:pt x="282" y="192"/>
                  </a:lnTo>
                  <a:lnTo>
                    <a:pt x="280" y="191"/>
                  </a:lnTo>
                  <a:lnTo>
                    <a:pt x="280" y="190"/>
                  </a:lnTo>
                  <a:lnTo>
                    <a:pt x="281" y="188"/>
                  </a:lnTo>
                  <a:lnTo>
                    <a:pt x="280" y="187"/>
                  </a:lnTo>
                  <a:lnTo>
                    <a:pt x="281" y="186"/>
                  </a:lnTo>
                  <a:lnTo>
                    <a:pt x="283" y="185"/>
                  </a:lnTo>
                  <a:lnTo>
                    <a:pt x="284" y="185"/>
                  </a:lnTo>
                  <a:lnTo>
                    <a:pt x="285" y="185"/>
                  </a:lnTo>
                  <a:lnTo>
                    <a:pt x="289" y="185"/>
                  </a:lnTo>
                  <a:lnTo>
                    <a:pt x="291" y="186"/>
                  </a:lnTo>
                  <a:lnTo>
                    <a:pt x="292" y="187"/>
                  </a:lnTo>
                  <a:lnTo>
                    <a:pt x="294" y="188"/>
                  </a:lnTo>
                  <a:lnTo>
                    <a:pt x="295" y="188"/>
                  </a:lnTo>
                  <a:lnTo>
                    <a:pt x="297" y="187"/>
                  </a:lnTo>
                  <a:lnTo>
                    <a:pt x="298" y="187"/>
                  </a:lnTo>
                  <a:lnTo>
                    <a:pt x="298" y="185"/>
                  </a:lnTo>
                  <a:lnTo>
                    <a:pt x="297" y="185"/>
                  </a:lnTo>
                  <a:close/>
                  <a:moveTo>
                    <a:pt x="362" y="182"/>
                  </a:moveTo>
                  <a:lnTo>
                    <a:pt x="359" y="184"/>
                  </a:lnTo>
                  <a:lnTo>
                    <a:pt x="359" y="185"/>
                  </a:lnTo>
                  <a:lnTo>
                    <a:pt x="354" y="187"/>
                  </a:lnTo>
                  <a:lnTo>
                    <a:pt x="351" y="189"/>
                  </a:lnTo>
                  <a:lnTo>
                    <a:pt x="349" y="189"/>
                  </a:lnTo>
                  <a:lnTo>
                    <a:pt x="346" y="191"/>
                  </a:lnTo>
                  <a:lnTo>
                    <a:pt x="343" y="190"/>
                  </a:lnTo>
                  <a:lnTo>
                    <a:pt x="340" y="190"/>
                  </a:lnTo>
                  <a:lnTo>
                    <a:pt x="338" y="191"/>
                  </a:lnTo>
                  <a:lnTo>
                    <a:pt x="336" y="191"/>
                  </a:lnTo>
                  <a:lnTo>
                    <a:pt x="334" y="191"/>
                  </a:lnTo>
                  <a:lnTo>
                    <a:pt x="331" y="190"/>
                  </a:lnTo>
                  <a:lnTo>
                    <a:pt x="325" y="190"/>
                  </a:lnTo>
                  <a:lnTo>
                    <a:pt x="323" y="190"/>
                  </a:lnTo>
                  <a:lnTo>
                    <a:pt x="322" y="187"/>
                  </a:lnTo>
                  <a:lnTo>
                    <a:pt x="322" y="185"/>
                  </a:lnTo>
                  <a:lnTo>
                    <a:pt x="324" y="184"/>
                  </a:lnTo>
                  <a:lnTo>
                    <a:pt x="328" y="183"/>
                  </a:lnTo>
                  <a:lnTo>
                    <a:pt x="331" y="183"/>
                  </a:lnTo>
                  <a:lnTo>
                    <a:pt x="338" y="185"/>
                  </a:lnTo>
                  <a:lnTo>
                    <a:pt x="340" y="187"/>
                  </a:lnTo>
                  <a:lnTo>
                    <a:pt x="343" y="187"/>
                  </a:lnTo>
                  <a:lnTo>
                    <a:pt x="345" y="185"/>
                  </a:lnTo>
                  <a:lnTo>
                    <a:pt x="347" y="185"/>
                  </a:lnTo>
                  <a:lnTo>
                    <a:pt x="350" y="185"/>
                  </a:lnTo>
                  <a:lnTo>
                    <a:pt x="352" y="186"/>
                  </a:lnTo>
                  <a:lnTo>
                    <a:pt x="355" y="185"/>
                  </a:lnTo>
                  <a:lnTo>
                    <a:pt x="354" y="184"/>
                  </a:lnTo>
                  <a:lnTo>
                    <a:pt x="357" y="183"/>
                  </a:lnTo>
                  <a:lnTo>
                    <a:pt x="359" y="181"/>
                  </a:lnTo>
                  <a:lnTo>
                    <a:pt x="360" y="181"/>
                  </a:lnTo>
                  <a:lnTo>
                    <a:pt x="360" y="180"/>
                  </a:lnTo>
                  <a:lnTo>
                    <a:pt x="358" y="180"/>
                  </a:lnTo>
                  <a:lnTo>
                    <a:pt x="359" y="179"/>
                  </a:lnTo>
                  <a:lnTo>
                    <a:pt x="360" y="179"/>
                  </a:lnTo>
                  <a:lnTo>
                    <a:pt x="361" y="179"/>
                  </a:lnTo>
                  <a:lnTo>
                    <a:pt x="362" y="181"/>
                  </a:lnTo>
                  <a:lnTo>
                    <a:pt x="362" y="182"/>
                  </a:lnTo>
                  <a:close/>
                  <a:moveTo>
                    <a:pt x="561" y="185"/>
                  </a:moveTo>
                  <a:lnTo>
                    <a:pt x="555" y="184"/>
                  </a:lnTo>
                  <a:lnTo>
                    <a:pt x="558" y="178"/>
                  </a:lnTo>
                  <a:lnTo>
                    <a:pt x="562" y="173"/>
                  </a:lnTo>
                  <a:lnTo>
                    <a:pt x="564" y="172"/>
                  </a:lnTo>
                  <a:lnTo>
                    <a:pt x="567" y="171"/>
                  </a:lnTo>
                  <a:lnTo>
                    <a:pt x="570" y="173"/>
                  </a:lnTo>
                  <a:lnTo>
                    <a:pt x="571" y="175"/>
                  </a:lnTo>
                  <a:lnTo>
                    <a:pt x="570" y="176"/>
                  </a:lnTo>
                  <a:lnTo>
                    <a:pt x="568" y="179"/>
                  </a:lnTo>
                  <a:lnTo>
                    <a:pt x="567" y="181"/>
                  </a:lnTo>
                  <a:lnTo>
                    <a:pt x="563" y="185"/>
                  </a:lnTo>
                  <a:lnTo>
                    <a:pt x="561" y="185"/>
                  </a:lnTo>
                  <a:close/>
                  <a:moveTo>
                    <a:pt x="411" y="123"/>
                  </a:moveTo>
                  <a:lnTo>
                    <a:pt x="408" y="123"/>
                  </a:lnTo>
                  <a:lnTo>
                    <a:pt x="404" y="120"/>
                  </a:lnTo>
                  <a:lnTo>
                    <a:pt x="403" y="118"/>
                  </a:lnTo>
                  <a:lnTo>
                    <a:pt x="404" y="116"/>
                  </a:lnTo>
                  <a:lnTo>
                    <a:pt x="407" y="115"/>
                  </a:lnTo>
                  <a:lnTo>
                    <a:pt x="412" y="115"/>
                  </a:lnTo>
                  <a:lnTo>
                    <a:pt x="413" y="116"/>
                  </a:lnTo>
                  <a:lnTo>
                    <a:pt x="415" y="118"/>
                  </a:lnTo>
                  <a:lnTo>
                    <a:pt x="417" y="119"/>
                  </a:lnTo>
                  <a:lnTo>
                    <a:pt x="417" y="120"/>
                  </a:lnTo>
                  <a:lnTo>
                    <a:pt x="417" y="121"/>
                  </a:lnTo>
                  <a:lnTo>
                    <a:pt x="416" y="122"/>
                  </a:lnTo>
                  <a:lnTo>
                    <a:pt x="411" y="123"/>
                  </a:lnTo>
                  <a:close/>
                  <a:moveTo>
                    <a:pt x="465" y="124"/>
                  </a:moveTo>
                  <a:lnTo>
                    <a:pt x="462" y="123"/>
                  </a:lnTo>
                  <a:lnTo>
                    <a:pt x="458" y="121"/>
                  </a:lnTo>
                  <a:lnTo>
                    <a:pt x="453" y="117"/>
                  </a:lnTo>
                  <a:lnTo>
                    <a:pt x="451" y="116"/>
                  </a:lnTo>
                  <a:lnTo>
                    <a:pt x="449" y="116"/>
                  </a:lnTo>
                  <a:lnTo>
                    <a:pt x="449" y="117"/>
                  </a:lnTo>
                  <a:lnTo>
                    <a:pt x="449" y="119"/>
                  </a:lnTo>
                  <a:lnTo>
                    <a:pt x="448" y="120"/>
                  </a:lnTo>
                  <a:lnTo>
                    <a:pt x="442" y="117"/>
                  </a:lnTo>
                  <a:lnTo>
                    <a:pt x="440" y="115"/>
                  </a:lnTo>
                  <a:lnTo>
                    <a:pt x="437" y="116"/>
                  </a:lnTo>
                  <a:lnTo>
                    <a:pt x="435" y="118"/>
                  </a:lnTo>
                  <a:lnTo>
                    <a:pt x="433" y="119"/>
                  </a:lnTo>
                  <a:lnTo>
                    <a:pt x="432" y="118"/>
                  </a:lnTo>
                  <a:lnTo>
                    <a:pt x="430" y="115"/>
                  </a:lnTo>
                  <a:lnTo>
                    <a:pt x="429" y="113"/>
                  </a:lnTo>
                  <a:lnTo>
                    <a:pt x="430" y="112"/>
                  </a:lnTo>
                  <a:lnTo>
                    <a:pt x="432" y="111"/>
                  </a:lnTo>
                  <a:lnTo>
                    <a:pt x="434" y="112"/>
                  </a:lnTo>
                  <a:lnTo>
                    <a:pt x="440" y="112"/>
                  </a:lnTo>
                  <a:lnTo>
                    <a:pt x="444" y="114"/>
                  </a:lnTo>
                  <a:lnTo>
                    <a:pt x="445" y="114"/>
                  </a:lnTo>
                  <a:lnTo>
                    <a:pt x="449" y="112"/>
                  </a:lnTo>
                  <a:lnTo>
                    <a:pt x="451" y="112"/>
                  </a:lnTo>
                  <a:lnTo>
                    <a:pt x="454" y="112"/>
                  </a:lnTo>
                  <a:lnTo>
                    <a:pt x="459" y="113"/>
                  </a:lnTo>
                  <a:lnTo>
                    <a:pt x="462" y="116"/>
                  </a:lnTo>
                  <a:lnTo>
                    <a:pt x="464" y="118"/>
                  </a:lnTo>
                  <a:lnTo>
                    <a:pt x="465" y="122"/>
                  </a:lnTo>
                  <a:lnTo>
                    <a:pt x="465" y="1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7" name="Freeform 161">
              <a:extLst>
                <a:ext uri="{FF2B5EF4-FFF2-40B4-BE49-F238E27FC236}">
                  <a16:creationId xmlns:a16="http://schemas.microsoft.com/office/drawing/2014/main" id="{C5813B9D-673C-D142-6B22-88F848B47173}"/>
                </a:ext>
              </a:extLst>
            </p:cNvPr>
            <p:cNvSpPr>
              <a:spLocks/>
            </p:cNvSpPr>
            <p:nvPr/>
          </p:nvSpPr>
          <p:spPr bwMode="auto">
            <a:xfrm>
              <a:off x="7859296" y="4249738"/>
              <a:ext cx="130175" cy="147638"/>
            </a:xfrm>
            <a:custGeom>
              <a:avLst/>
              <a:gdLst/>
              <a:ahLst/>
              <a:cxnLst>
                <a:cxn ang="0">
                  <a:pos x="49" y="81"/>
                </a:cxn>
                <a:cxn ang="0">
                  <a:pos x="44" y="81"/>
                </a:cxn>
                <a:cxn ang="0">
                  <a:pos x="37" y="81"/>
                </a:cxn>
                <a:cxn ang="0">
                  <a:pos x="31" y="87"/>
                </a:cxn>
                <a:cxn ang="0">
                  <a:pos x="28" y="91"/>
                </a:cxn>
                <a:cxn ang="0">
                  <a:pos x="25" y="92"/>
                </a:cxn>
                <a:cxn ang="0">
                  <a:pos x="21" y="89"/>
                </a:cxn>
                <a:cxn ang="0">
                  <a:pos x="15" y="93"/>
                </a:cxn>
                <a:cxn ang="0">
                  <a:pos x="12" y="89"/>
                </a:cxn>
                <a:cxn ang="0">
                  <a:pos x="7" y="83"/>
                </a:cxn>
                <a:cxn ang="0">
                  <a:pos x="10" y="77"/>
                </a:cxn>
                <a:cxn ang="0">
                  <a:pos x="15" y="74"/>
                </a:cxn>
                <a:cxn ang="0">
                  <a:pos x="14" y="65"/>
                </a:cxn>
                <a:cxn ang="0">
                  <a:pos x="14" y="60"/>
                </a:cxn>
                <a:cxn ang="0">
                  <a:pos x="9" y="58"/>
                </a:cxn>
                <a:cxn ang="0">
                  <a:pos x="5" y="59"/>
                </a:cxn>
                <a:cxn ang="0">
                  <a:pos x="1" y="56"/>
                </a:cxn>
                <a:cxn ang="0">
                  <a:pos x="2" y="50"/>
                </a:cxn>
                <a:cxn ang="0">
                  <a:pos x="7" y="44"/>
                </a:cxn>
                <a:cxn ang="0">
                  <a:pos x="23" y="35"/>
                </a:cxn>
                <a:cxn ang="0">
                  <a:pos x="30" y="23"/>
                </a:cxn>
                <a:cxn ang="0">
                  <a:pos x="35" y="22"/>
                </a:cxn>
                <a:cxn ang="0">
                  <a:pos x="40" y="27"/>
                </a:cxn>
                <a:cxn ang="0">
                  <a:pos x="49" y="28"/>
                </a:cxn>
                <a:cxn ang="0">
                  <a:pos x="51" y="26"/>
                </a:cxn>
                <a:cxn ang="0">
                  <a:pos x="49" y="17"/>
                </a:cxn>
                <a:cxn ang="0">
                  <a:pos x="52" y="14"/>
                </a:cxn>
                <a:cxn ang="0">
                  <a:pos x="57" y="16"/>
                </a:cxn>
                <a:cxn ang="0">
                  <a:pos x="64" y="14"/>
                </a:cxn>
                <a:cxn ang="0">
                  <a:pos x="71" y="4"/>
                </a:cxn>
                <a:cxn ang="0">
                  <a:pos x="75" y="0"/>
                </a:cxn>
                <a:cxn ang="0">
                  <a:pos x="79" y="5"/>
                </a:cxn>
                <a:cxn ang="0">
                  <a:pos x="82" y="12"/>
                </a:cxn>
                <a:cxn ang="0">
                  <a:pos x="72" y="23"/>
                </a:cxn>
                <a:cxn ang="0">
                  <a:pos x="72" y="29"/>
                </a:cxn>
                <a:cxn ang="0">
                  <a:pos x="70" y="40"/>
                </a:cxn>
                <a:cxn ang="0">
                  <a:pos x="64" y="42"/>
                </a:cxn>
                <a:cxn ang="0">
                  <a:pos x="56" y="50"/>
                </a:cxn>
                <a:cxn ang="0">
                  <a:pos x="49" y="52"/>
                </a:cxn>
                <a:cxn ang="0">
                  <a:pos x="45" y="56"/>
                </a:cxn>
                <a:cxn ang="0">
                  <a:pos x="41" y="65"/>
                </a:cxn>
                <a:cxn ang="0">
                  <a:pos x="50" y="74"/>
                </a:cxn>
              </a:cxnLst>
              <a:rect l="0" t="0" r="r" b="b"/>
              <a:pathLst>
                <a:path w="82" h="93">
                  <a:moveTo>
                    <a:pt x="52" y="76"/>
                  </a:moveTo>
                  <a:lnTo>
                    <a:pt x="49" y="81"/>
                  </a:lnTo>
                  <a:lnTo>
                    <a:pt x="47" y="82"/>
                  </a:lnTo>
                  <a:lnTo>
                    <a:pt x="44" y="81"/>
                  </a:lnTo>
                  <a:lnTo>
                    <a:pt x="41" y="81"/>
                  </a:lnTo>
                  <a:lnTo>
                    <a:pt x="37" y="81"/>
                  </a:lnTo>
                  <a:lnTo>
                    <a:pt x="35" y="82"/>
                  </a:lnTo>
                  <a:lnTo>
                    <a:pt x="31" y="87"/>
                  </a:lnTo>
                  <a:lnTo>
                    <a:pt x="30" y="89"/>
                  </a:lnTo>
                  <a:lnTo>
                    <a:pt x="28" y="91"/>
                  </a:lnTo>
                  <a:lnTo>
                    <a:pt x="27" y="89"/>
                  </a:lnTo>
                  <a:lnTo>
                    <a:pt x="25" y="92"/>
                  </a:lnTo>
                  <a:lnTo>
                    <a:pt x="23" y="93"/>
                  </a:lnTo>
                  <a:lnTo>
                    <a:pt x="21" y="89"/>
                  </a:lnTo>
                  <a:lnTo>
                    <a:pt x="18" y="88"/>
                  </a:lnTo>
                  <a:lnTo>
                    <a:pt x="15" y="93"/>
                  </a:lnTo>
                  <a:lnTo>
                    <a:pt x="13" y="91"/>
                  </a:lnTo>
                  <a:lnTo>
                    <a:pt x="12" y="89"/>
                  </a:lnTo>
                  <a:lnTo>
                    <a:pt x="8" y="86"/>
                  </a:lnTo>
                  <a:lnTo>
                    <a:pt x="7" y="83"/>
                  </a:lnTo>
                  <a:lnTo>
                    <a:pt x="8" y="80"/>
                  </a:lnTo>
                  <a:lnTo>
                    <a:pt x="10" y="77"/>
                  </a:lnTo>
                  <a:lnTo>
                    <a:pt x="15" y="76"/>
                  </a:lnTo>
                  <a:lnTo>
                    <a:pt x="15" y="74"/>
                  </a:lnTo>
                  <a:lnTo>
                    <a:pt x="12" y="72"/>
                  </a:lnTo>
                  <a:lnTo>
                    <a:pt x="14" y="65"/>
                  </a:lnTo>
                  <a:lnTo>
                    <a:pt x="15" y="62"/>
                  </a:lnTo>
                  <a:lnTo>
                    <a:pt x="14" y="60"/>
                  </a:lnTo>
                  <a:lnTo>
                    <a:pt x="10" y="58"/>
                  </a:lnTo>
                  <a:lnTo>
                    <a:pt x="9" y="58"/>
                  </a:lnTo>
                  <a:lnTo>
                    <a:pt x="7" y="58"/>
                  </a:lnTo>
                  <a:lnTo>
                    <a:pt x="5" y="59"/>
                  </a:lnTo>
                  <a:lnTo>
                    <a:pt x="4" y="59"/>
                  </a:lnTo>
                  <a:lnTo>
                    <a:pt x="1" y="56"/>
                  </a:lnTo>
                  <a:lnTo>
                    <a:pt x="0" y="54"/>
                  </a:lnTo>
                  <a:lnTo>
                    <a:pt x="2" y="50"/>
                  </a:lnTo>
                  <a:lnTo>
                    <a:pt x="4" y="47"/>
                  </a:lnTo>
                  <a:lnTo>
                    <a:pt x="7" y="44"/>
                  </a:lnTo>
                  <a:lnTo>
                    <a:pt x="16" y="39"/>
                  </a:lnTo>
                  <a:lnTo>
                    <a:pt x="23" y="35"/>
                  </a:lnTo>
                  <a:lnTo>
                    <a:pt x="26" y="31"/>
                  </a:lnTo>
                  <a:lnTo>
                    <a:pt x="30" y="23"/>
                  </a:lnTo>
                  <a:lnTo>
                    <a:pt x="33" y="22"/>
                  </a:lnTo>
                  <a:lnTo>
                    <a:pt x="35" y="22"/>
                  </a:lnTo>
                  <a:lnTo>
                    <a:pt x="37" y="25"/>
                  </a:lnTo>
                  <a:lnTo>
                    <a:pt x="40" y="27"/>
                  </a:lnTo>
                  <a:lnTo>
                    <a:pt x="43" y="28"/>
                  </a:lnTo>
                  <a:lnTo>
                    <a:pt x="49" y="28"/>
                  </a:lnTo>
                  <a:lnTo>
                    <a:pt x="52" y="26"/>
                  </a:lnTo>
                  <a:lnTo>
                    <a:pt x="51" y="26"/>
                  </a:lnTo>
                  <a:lnTo>
                    <a:pt x="48" y="20"/>
                  </a:lnTo>
                  <a:lnTo>
                    <a:pt x="49" y="17"/>
                  </a:lnTo>
                  <a:lnTo>
                    <a:pt x="50" y="15"/>
                  </a:lnTo>
                  <a:lnTo>
                    <a:pt x="52" y="14"/>
                  </a:lnTo>
                  <a:lnTo>
                    <a:pt x="54" y="15"/>
                  </a:lnTo>
                  <a:lnTo>
                    <a:pt x="57" y="16"/>
                  </a:lnTo>
                  <a:lnTo>
                    <a:pt x="60" y="16"/>
                  </a:lnTo>
                  <a:lnTo>
                    <a:pt x="64" y="14"/>
                  </a:lnTo>
                  <a:lnTo>
                    <a:pt x="69" y="9"/>
                  </a:lnTo>
                  <a:lnTo>
                    <a:pt x="71" y="4"/>
                  </a:lnTo>
                  <a:lnTo>
                    <a:pt x="73" y="1"/>
                  </a:lnTo>
                  <a:lnTo>
                    <a:pt x="75" y="0"/>
                  </a:lnTo>
                  <a:lnTo>
                    <a:pt x="76" y="0"/>
                  </a:lnTo>
                  <a:lnTo>
                    <a:pt x="79" y="5"/>
                  </a:lnTo>
                  <a:lnTo>
                    <a:pt x="81" y="9"/>
                  </a:lnTo>
                  <a:lnTo>
                    <a:pt x="82" y="12"/>
                  </a:lnTo>
                  <a:lnTo>
                    <a:pt x="74" y="19"/>
                  </a:lnTo>
                  <a:lnTo>
                    <a:pt x="72" y="23"/>
                  </a:lnTo>
                  <a:lnTo>
                    <a:pt x="71" y="26"/>
                  </a:lnTo>
                  <a:lnTo>
                    <a:pt x="72" y="29"/>
                  </a:lnTo>
                  <a:lnTo>
                    <a:pt x="71" y="33"/>
                  </a:lnTo>
                  <a:lnTo>
                    <a:pt x="70" y="40"/>
                  </a:lnTo>
                  <a:lnTo>
                    <a:pt x="66" y="41"/>
                  </a:lnTo>
                  <a:lnTo>
                    <a:pt x="64" y="42"/>
                  </a:lnTo>
                  <a:lnTo>
                    <a:pt x="61" y="45"/>
                  </a:lnTo>
                  <a:lnTo>
                    <a:pt x="56" y="50"/>
                  </a:lnTo>
                  <a:lnTo>
                    <a:pt x="54" y="52"/>
                  </a:lnTo>
                  <a:lnTo>
                    <a:pt x="49" y="52"/>
                  </a:lnTo>
                  <a:lnTo>
                    <a:pt x="46" y="54"/>
                  </a:lnTo>
                  <a:lnTo>
                    <a:pt x="45" y="56"/>
                  </a:lnTo>
                  <a:lnTo>
                    <a:pt x="43" y="58"/>
                  </a:lnTo>
                  <a:lnTo>
                    <a:pt x="41" y="65"/>
                  </a:lnTo>
                  <a:lnTo>
                    <a:pt x="43" y="67"/>
                  </a:lnTo>
                  <a:lnTo>
                    <a:pt x="50" y="74"/>
                  </a:lnTo>
                  <a:lnTo>
                    <a:pt x="52" y="7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8" name="Freeform 162">
              <a:extLst>
                <a:ext uri="{FF2B5EF4-FFF2-40B4-BE49-F238E27FC236}">
                  <a16:creationId xmlns:a16="http://schemas.microsoft.com/office/drawing/2014/main" id="{F6BBFA89-47D4-062C-E5B5-C90B9C261FCA}"/>
                </a:ext>
              </a:extLst>
            </p:cNvPr>
            <p:cNvSpPr>
              <a:spLocks/>
            </p:cNvSpPr>
            <p:nvPr/>
          </p:nvSpPr>
          <p:spPr bwMode="auto">
            <a:xfrm>
              <a:off x="7897396" y="4370388"/>
              <a:ext cx="71438" cy="111125"/>
            </a:xfrm>
            <a:custGeom>
              <a:avLst/>
              <a:gdLst/>
              <a:ahLst/>
              <a:cxnLst>
                <a:cxn ang="0">
                  <a:pos x="4" y="15"/>
                </a:cxn>
                <a:cxn ang="0">
                  <a:pos x="6" y="13"/>
                </a:cxn>
                <a:cxn ang="0">
                  <a:pos x="7" y="11"/>
                </a:cxn>
                <a:cxn ang="0">
                  <a:pos x="11" y="6"/>
                </a:cxn>
                <a:cxn ang="0">
                  <a:pos x="13" y="5"/>
                </a:cxn>
                <a:cxn ang="0">
                  <a:pos x="17" y="5"/>
                </a:cxn>
                <a:cxn ang="0">
                  <a:pos x="20" y="5"/>
                </a:cxn>
                <a:cxn ang="0">
                  <a:pos x="23" y="6"/>
                </a:cxn>
                <a:cxn ang="0">
                  <a:pos x="25" y="5"/>
                </a:cxn>
                <a:cxn ang="0">
                  <a:pos x="28" y="0"/>
                </a:cxn>
                <a:cxn ang="0">
                  <a:pos x="32" y="5"/>
                </a:cxn>
                <a:cxn ang="0">
                  <a:pos x="39" y="17"/>
                </a:cxn>
                <a:cxn ang="0">
                  <a:pos x="41" y="20"/>
                </a:cxn>
                <a:cxn ang="0">
                  <a:pos x="43" y="25"/>
                </a:cxn>
                <a:cxn ang="0">
                  <a:pos x="43" y="31"/>
                </a:cxn>
                <a:cxn ang="0">
                  <a:pos x="42" y="38"/>
                </a:cxn>
                <a:cxn ang="0">
                  <a:pos x="42" y="43"/>
                </a:cxn>
                <a:cxn ang="0">
                  <a:pos x="43" y="43"/>
                </a:cxn>
                <a:cxn ang="0">
                  <a:pos x="45" y="43"/>
                </a:cxn>
                <a:cxn ang="0">
                  <a:pos x="45" y="46"/>
                </a:cxn>
                <a:cxn ang="0">
                  <a:pos x="43" y="50"/>
                </a:cxn>
                <a:cxn ang="0">
                  <a:pos x="40" y="55"/>
                </a:cxn>
                <a:cxn ang="0">
                  <a:pos x="38" y="58"/>
                </a:cxn>
                <a:cxn ang="0">
                  <a:pos x="37" y="58"/>
                </a:cxn>
                <a:cxn ang="0">
                  <a:pos x="34" y="56"/>
                </a:cxn>
                <a:cxn ang="0">
                  <a:pos x="32" y="57"/>
                </a:cxn>
                <a:cxn ang="0">
                  <a:pos x="28" y="61"/>
                </a:cxn>
                <a:cxn ang="0">
                  <a:pos x="26" y="61"/>
                </a:cxn>
                <a:cxn ang="0">
                  <a:pos x="24" y="59"/>
                </a:cxn>
                <a:cxn ang="0">
                  <a:pos x="21" y="59"/>
                </a:cxn>
                <a:cxn ang="0">
                  <a:pos x="18" y="61"/>
                </a:cxn>
                <a:cxn ang="0">
                  <a:pos x="11" y="67"/>
                </a:cxn>
                <a:cxn ang="0">
                  <a:pos x="8" y="67"/>
                </a:cxn>
                <a:cxn ang="0">
                  <a:pos x="6" y="70"/>
                </a:cxn>
                <a:cxn ang="0">
                  <a:pos x="5" y="65"/>
                </a:cxn>
                <a:cxn ang="0">
                  <a:pos x="5" y="63"/>
                </a:cxn>
                <a:cxn ang="0">
                  <a:pos x="4" y="58"/>
                </a:cxn>
                <a:cxn ang="0">
                  <a:pos x="3" y="55"/>
                </a:cxn>
                <a:cxn ang="0">
                  <a:pos x="4" y="52"/>
                </a:cxn>
                <a:cxn ang="0">
                  <a:pos x="7" y="49"/>
                </a:cxn>
                <a:cxn ang="0">
                  <a:pos x="7" y="46"/>
                </a:cxn>
                <a:cxn ang="0">
                  <a:pos x="9" y="43"/>
                </a:cxn>
                <a:cxn ang="0">
                  <a:pos x="8" y="42"/>
                </a:cxn>
                <a:cxn ang="0">
                  <a:pos x="6" y="40"/>
                </a:cxn>
                <a:cxn ang="0">
                  <a:pos x="5" y="38"/>
                </a:cxn>
                <a:cxn ang="0">
                  <a:pos x="6" y="34"/>
                </a:cxn>
                <a:cxn ang="0">
                  <a:pos x="5" y="32"/>
                </a:cxn>
                <a:cxn ang="0">
                  <a:pos x="3" y="31"/>
                </a:cxn>
                <a:cxn ang="0">
                  <a:pos x="0" y="30"/>
                </a:cxn>
                <a:cxn ang="0">
                  <a:pos x="4" y="27"/>
                </a:cxn>
                <a:cxn ang="0">
                  <a:pos x="5" y="26"/>
                </a:cxn>
                <a:cxn ang="0">
                  <a:pos x="9" y="28"/>
                </a:cxn>
                <a:cxn ang="0">
                  <a:pos x="11" y="26"/>
                </a:cxn>
                <a:cxn ang="0">
                  <a:pos x="10" y="24"/>
                </a:cxn>
                <a:cxn ang="0">
                  <a:pos x="6" y="18"/>
                </a:cxn>
                <a:cxn ang="0">
                  <a:pos x="5" y="16"/>
                </a:cxn>
                <a:cxn ang="0">
                  <a:pos x="4" y="15"/>
                </a:cxn>
              </a:cxnLst>
              <a:rect l="0" t="0" r="r" b="b"/>
              <a:pathLst>
                <a:path w="45" h="70">
                  <a:moveTo>
                    <a:pt x="4" y="15"/>
                  </a:moveTo>
                  <a:lnTo>
                    <a:pt x="6" y="13"/>
                  </a:lnTo>
                  <a:lnTo>
                    <a:pt x="7" y="11"/>
                  </a:lnTo>
                  <a:lnTo>
                    <a:pt x="11" y="6"/>
                  </a:lnTo>
                  <a:lnTo>
                    <a:pt x="13" y="5"/>
                  </a:lnTo>
                  <a:lnTo>
                    <a:pt x="17" y="5"/>
                  </a:lnTo>
                  <a:lnTo>
                    <a:pt x="20" y="5"/>
                  </a:lnTo>
                  <a:lnTo>
                    <a:pt x="23" y="6"/>
                  </a:lnTo>
                  <a:lnTo>
                    <a:pt x="25" y="5"/>
                  </a:lnTo>
                  <a:lnTo>
                    <a:pt x="28" y="0"/>
                  </a:lnTo>
                  <a:lnTo>
                    <a:pt x="32" y="5"/>
                  </a:lnTo>
                  <a:lnTo>
                    <a:pt x="39" y="17"/>
                  </a:lnTo>
                  <a:lnTo>
                    <a:pt x="41" y="20"/>
                  </a:lnTo>
                  <a:lnTo>
                    <a:pt x="43" y="25"/>
                  </a:lnTo>
                  <a:lnTo>
                    <a:pt x="43" y="31"/>
                  </a:lnTo>
                  <a:lnTo>
                    <a:pt x="42" y="38"/>
                  </a:lnTo>
                  <a:lnTo>
                    <a:pt x="42" y="43"/>
                  </a:lnTo>
                  <a:lnTo>
                    <a:pt x="43" y="43"/>
                  </a:lnTo>
                  <a:lnTo>
                    <a:pt x="45" y="43"/>
                  </a:lnTo>
                  <a:lnTo>
                    <a:pt x="45" y="46"/>
                  </a:lnTo>
                  <a:lnTo>
                    <a:pt x="43" y="50"/>
                  </a:lnTo>
                  <a:lnTo>
                    <a:pt x="40" y="55"/>
                  </a:lnTo>
                  <a:lnTo>
                    <a:pt x="38" y="58"/>
                  </a:lnTo>
                  <a:lnTo>
                    <a:pt x="37" y="58"/>
                  </a:lnTo>
                  <a:lnTo>
                    <a:pt x="34" y="56"/>
                  </a:lnTo>
                  <a:lnTo>
                    <a:pt x="32" y="57"/>
                  </a:lnTo>
                  <a:lnTo>
                    <a:pt x="28" y="61"/>
                  </a:lnTo>
                  <a:lnTo>
                    <a:pt x="26" y="61"/>
                  </a:lnTo>
                  <a:lnTo>
                    <a:pt x="24" y="59"/>
                  </a:lnTo>
                  <a:lnTo>
                    <a:pt x="21" y="59"/>
                  </a:lnTo>
                  <a:lnTo>
                    <a:pt x="18" y="61"/>
                  </a:lnTo>
                  <a:lnTo>
                    <a:pt x="11" y="67"/>
                  </a:lnTo>
                  <a:lnTo>
                    <a:pt x="8" y="67"/>
                  </a:lnTo>
                  <a:lnTo>
                    <a:pt x="6" y="70"/>
                  </a:lnTo>
                  <a:lnTo>
                    <a:pt x="5" y="65"/>
                  </a:lnTo>
                  <a:lnTo>
                    <a:pt x="5" y="63"/>
                  </a:lnTo>
                  <a:lnTo>
                    <a:pt x="4" y="58"/>
                  </a:lnTo>
                  <a:lnTo>
                    <a:pt x="3" y="55"/>
                  </a:lnTo>
                  <a:lnTo>
                    <a:pt x="4" y="52"/>
                  </a:lnTo>
                  <a:lnTo>
                    <a:pt x="7" y="49"/>
                  </a:lnTo>
                  <a:lnTo>
                    <a:pt x="7" y="46"/>
                  </a:lnTo>
                  <a:lnTo>
                    <a:pt x="9" y="43"/>
                  </a:lnTo>
                  <a:lnTo>
                    <a:pt x="8" y="42"/>
                  </a:lnTo>
                  <a:lnTo>
                    <a:pt x="6" y="40"/>
                  </a:lnTo>
                  <a:lnTo>
                    <a:pt x="5" y="38"/>
                  </a:lnTo>
                  <a:lnTo>
                    <a:pt x="6" y="34"/>
                  </a:lnTo>
                  <a:lnTo>
                    <a:pt x="5" y="32"/>
                  </a:lnTo>
                  <a:lnTo>
                    <a:pt x="3" y="31"/>
                  </a:lnTo>
                  <a:lnTo>
                    <a:pt x="0" y="30"/>
                  </a:lnTo>
                  <a:lnTo>
                    <a:pt x="4" y="27"/>
                  </a:lnTo>
                  <a:lnTo>
                    <a:pt x="5" y="26"/>
                  </a:lnTo>
                  <a:lnTo>
                    <a:pt x="9" y="28"/>
                  </a:lnTo>
                  <a:lnTo>
                    <a:pt x="11" y="26"/>
                  </a:lnTo>
                  <a:lnTo>
                    <a:pt x="10" y="24"/>
                  </a:lnTo>
                  <a:lnTo>
                    <a:pt x="6" y="18"/>
                  </a:lnTo>
                  <a:lnTo>
                    <a:pt x="5" y="16"/>
                  </a:lnTo>
                  <a:lnTo>
                    <a:pt x="4" y="1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89" name="Freeform 163">
              <a:extLst>
                <a:ext uri="{FF2B5EF4-FFF2-40B4-BE49-F238E27FC236}">
                  <a16:creationId xmlns:a16="http://schemas.microsoft.com/office/drawing/2014/main" id="{5CDF2DFB-8881-1DA0-CE4F-1805009AB54F}"/>
                </a:ext>
              </a:extLst>
            </p:cNvPr>
            <p:cNvSpPr>
              <a:spLocks/>
            </p:cNvSpPr>
            <p:nvPr/>
          </p:nvSpPr>
          <p:spPr bwMode="auto">
            <a:xfrm>
              <a:off x="7771984" y="4699000"/>
              <a:ext cx="38100" cy="73025"/>
            </a:xfrm>
            <a:custGeom>
              <a:avLst/>
              <a:gdLst/>
              <a:ahLst/>
              <a:cxnLst>
                <a:cxn ang="0">
                  <a:pos x="9" y="46"/>
                </a:cxn>
                <a:cxn ang="0">
                  <a:pos x="8" y="46"/>
                </a:cxn>
                <a:cxn ang="0">
                  <a:pos x="8" y="44"/>
                </a:cxn>
                <a:cxn ang="0">
                  <a:pos x="2" y="36"/>
                </a:cxn>
                <a:cxn ang="0">
                  <a:pos x="0" y="29"/>
                </a:cxn>
                <a:cxn ang="0">
                  <a:pos x="0" y="27"/>
                </a:cxn>
                <a:cxn ang="0">
                  <a:pos x="1" y="22"/>
                </a:cxn>
                <a:cxn ang="0">
                  <a:pos x="4" y="17"/>
                </a:cxn>
                <a:cxn ang="0">
                  <a:pos x="12" y="5"/>
                </a:cxn>
                <a:cxn ang="0">
                  <a:pos x="14" y="4"/>
                </a:cxn>
                <a:cxn ang="0">
                  <a:pos x="16" y="3"/>
                </a:cxn>
                <a:cxn ang="0">
                  <a:pos x="17" y="2"/>
                </a:cxn>
                <a:cxn ang="0">
                  <a:pos x="19" y="0"/>
                </a:cxn>
                <a:cxn ang="0">
                  <a:pos x="21" y="1"/>
                </a:cxn>
                <a:cxn ang="0">
                  <a:pos x="24" y="4"/>
                </a:cxn>
                <a:cxn ang="0">
                  <a:pos x="22" y="6"/>
                </a:cxn>
                <a:cxn ang="0">
                  <a:pos x="22" y="7"/>
                </a:cxn>
                <a:cxn ang="0">
                  <a:pos x="22" y="9"/>
                </a:cxn>
                <a:cxn ang="0">
                  <a:pos x="21" y="13"/>
                </a:cxn>
                <a:cxn ang="0">
                  <a:pos x="20" y="15"/>
                </a:cxn>
                <a:cxn ang="0">
                  <a:pos x="19" y="17"/>
                </a:cxn>
                <a:cxn ang="0">
                  <a:pos x="19" y="22"/>
                </a:cxn>
                <a:cxn ang="0">
                  <a:pos x="18" y="25"/>
                </a:cxn>
                <a:cxn ang="0">
                  <a:pos x="16" y="30"/>
                </a:cxn>
                <a:cxn ang="0">
                  <a:pos x="13" y="35"/>
                </a:cxn>
                <a:cxn ang="0">
                  <a:pos x="11" y="40"/>
                </a:cxn>
                <a:cxn ang="0">
                  <a:pos x="11" y="42"/>
                </a:cxn>
                <a:cxn ang="0">
                  <a:pos x="10" y="45"/>
                </a:cxn>
                <a:cxn ang="0">
                  <a:pos x="9" y="46"/>
                </a:cxn>
              </a:cxnLst>
              <a:rect l="0" t="0" r="r" b="b"/>
              <a:pathLst>
                <a:path w="24" h="46">
                  <a:moveTo>
                    <a:pt x="9" y="46"/>
                  </a:moveTo>
                  <a:lnTo>
                    <a:pt x="8" y="46"/>
                  </a:lnTo>
                  <a:lnTo>
                    <a:pt x="8" y="44"/>
                  </a:lnTo>
                  <a:lnTo>
                    <a:pt x="2" y="36"/>
                  </a:lnTo>
                  <a:lnTo>
                    <a:pt x="0" y="29"/>
                  </a:lnTo>
                  <a:lnTo>
                    <a:pt x="0" y="27"/>
                  </a:lnTo>
                  <a:lnTo>
                    <a:pt x="1" y="22"/>
                  </a:lnTo>
                  <a:lnTo>
                    <a:pt x="4" y="17"/>
                  </a:lnTo>
                  <a:lnTo>
                    <a:pt x="12" y="5"/>
                  </a:lnTo>
                  <a:lnTo>
                    <a:pt x="14" y="4"/>
                  </a:lnTo>
                  <a:lnTo>
                    <a:pt x="16" y="3"/>
                  </a:lnTo>
                  <a:lnTo>
                    <a:pt x="17" y="2"/>
                  </a:lnTo>
                  <a:lnTo>
                    <a:pt x="19" y="0"/>
                  </a:lnTo>
                  <a:lnTo>
                    <a:pt x="21" y="1"/>
                  </a:lnTo>
                  <a:lnTo>
                    <a:pt x="24" y="4"/>
                  </a:lnTo>
                  <a:lnTo>
                    <a:pt x="22" y="6"/>
                  </a:lnTo>
                  <a:lnTo>
                    <a:pt x="22" y="7"/>
                  </a:lnTo>
                  <a:lnTo>
                    <a:pt x="22" y="9"/>
                  </a:lnTo>
                  <a:lnTo>
                    <a:pt x="21" y="13"/>
                  </a:lnTo>
                  <a:lnTo>
                    <a:pt x="20" y="15"/>
                  </a:lnTo>
                  <a:lnTo>
                    <a:pt x="19" y="17"/>
                  </a:lnTo>
                  <a:lnTo>
                    <a:pt x="19" y="22"/>
                  </a:lnTo>
                  <a:lnTo>
                    <a:pt x="18" y="25"/>
                  </a:lnTo>
                  <a:lnTo>
                    <a:pt x="16" y="30"/>
                  </a:lnTo>
                  <a:lnTo>
                    <a:pt x="13" y="35"/>
                  </a:lnTo>
                  <a:lnTo>
                    <a:pt x="11" y="40"/>
                  </a:lnTo>
                  <a:lnTo>
                    <a:pt x="11" y="42"/>
                  </a:lnTo>
                  <a:lnTo>
                    <a:pt x="10" y="45"/>
                  </a:lnTo>
                  <a:lnTo>
                    <a:pt x="9" y="4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0" name="Freeform 164">
              <a:extLst>
                <a:ext uri="{FF2B5EF4-FFF2-40B4-BE49-F238E27FC236}">
                  <a16:creationId xmlns:a16="http://schemas.microsoft.com/office/drawing/2014/main" id="{8B59DE74-E7CC-ABC7-D49C-16D54280BDB7}"/>
                </a:ext>
              </a:extLst>
            </p:cNvPr>
            <p:cNvSpPr>
              <a:spLocks/>
            </p:cNvSpPr>
            <p:nvPr/>
          </p:nvSpPr>
          <p:spPr bwMode="auto">
            <a:xfrm>
              <a:off x="7649746" y="5133975"/>
              <a:ext cx="23813" cy="20638"/>
            </a:xfrm>
            <a:custGeom>
              <a:avLst/>
              <a:gdLst/>
              <a:ahLst/>
              <a:cxnLst>
                <a:cxn ang="0">
                  <a:pos x="0" y="7"/>
                </a:cxn>
                <a:cxn ang="0">
                  <a:pos x="1" y="7"/>
                </a:cxn>
                <a:cxn ang="0">
                  <a:pos x="5" y="6"/>
                </a:cxn>
                <a:cxn ang="0">
                  <a:pos x="9" y="0"/>
                </a:cxn>
                <a:cxn ang="0">
                  <a:pos x="10" y="0"/>
                </a:cxn>
                <a:cxn ang="0">
                  <a:pos x="10" y="2"/>
                </a:cxn>
                <a:cxn ang="0">
                  <a:pos x="11" y="2"/>
                </a:cxn>
                <a:cxn ang="0">
                  <a:pos x="12" y="2"/>
                </a:cxn>
                <a:cxn ang="0">
                  <a:pos x="13" y="3"/>
                </a:cxn>
                <a:cxn ang="0">
                  <a:pos x="13" y="6"/>
                </a:cxn>
                <a:cxn ang="0">
                  <a:pos x="13" y="6"/>
                </a:cxn>
                <a:cxn ang="0">
                  <a:pos x="13" y="8"/>
                </a:cxn>
                <a:cxn ang="0">
                  <a:pos x="15" y="9"/>
                </a:cxn>
                <a:cxn ang="0">
                  <a:pos x="15" y="9"/>
                </a:cxn>
                <a:cxn ang="0">
                  <a:pos x="7" y="12"/>
                </a:cxn>
                <a:cxn ang="0">
                  <a:pos x="5" y="13"/>
                </a:cxn>
                <a:cxn ang="0">
                  <a:pos x="3" y="12"/>
                </a:cxn>
                <a:cxn ang="0">
                  <a:pos x="3" y="10"/>
                </a:cxn>
                <a:cxn ang="0">
                  <a:pos x="1" y="10"/>
                </a:cxn>
                <a:cxn ang="0">
                  <a:pos x="1" y="8"/>
                </a:cxn>
                <a:cxn ang="0">
                  <a:pos x="0" y="7"/>
                </a:cxn>
              </a:cxnLst>
              <a:rect l="0" t="0" r="r" b="b"/>
              <a:pathLst>
                <a:path w="15" h="13">
                  <a:moveTo>
                    <a:pt x="0" y="7"/>
                  </a:moveTo>
                  <a:lnTo>
                    <a:pt x="1" y="7"/>
                  </a:lnTo>
                  <a:lnTo>
                    <a:pt x="5" y="6"/>
                  </a:lnTo>
                  <a:lnTo>
                    <a:pt x="9" y="0"/>
                  </a:lnTo>
                  <a:lnTo>
                    <a:pt x="10" y="0"/>
                  </a:lnTo>
                  <a:lnTo>
                    <a:pt x="10" y="2"/>
                  </a:lnTo>
                  <a:lnTo>
                    <a:pt x="11" y="2"/>
                  </a:lnTo>
                  <a:lnTo>
                    <a:pt x="12" y="2"/>
                  </a:lnTo>
                  <a:lnTo>
                    <a:pt x="13" y="3"/>
                  </a:lnTo>
                  <a:lnTo>
                    <a:pt x="13" y="6"/>
                  </a:lnTo>
                  <a:lnTo>
                    <a:pt x="13" y="6"/>
                  </a:lnTo>
                  <a:lnTo>
                    <a:pt x="13" y="8"/>
                  </a:lnTo>
                  <a:lnTo>
                    <a:pt x="15" y="9"/>
                  </a:lnTo>
                  <a:lnTo>
                    <a:pt x="15" y="9"/>
                  </a:lnTo>
                  <a:lnTo>
                    <a:pt x="7" y="12"/>
                  </a:lnTo>
                  <a:lnTo>
                    <a:pt x="5" y="13"/>
                  </a:lnTo>
                  <a:lnTo>
                    <a:pt x="3" y="12"/>
                  </a:lnTo>
                  <a:lnTo>
                    <a:pt x="3" y="10"/>
                  </a:lnTo>
                  <a:lnTo>
                    <a:pt x="1" y="10"/>
                  </a:lnTo>
                  <a:lnTo>
                    <a:pt x="1" y="8"/>
                  </a:lnTo>
                  <a:lnTo>
                    <a:pt x="0" y="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1" name="Freeform 165">
              <a:extLst>
                <a:ext uri="{FF2B5EF4-FFF2-40B4-BE49-F238E27FC236}">
                  <a16:creationId xmlns:a16="http://schemas.microsoft.com/office/drawing/2014/main" id="{AB0B0FE4-AD55-DA4F-05F1-4F3362FBFEA0}"/>
                </a:ext>
              </a:extLst>
            </p:cNvPr>
            <p:cNvSpPr>
              <a:spLocks noEditPoints="1"/>
            </p:cNvSpPr>
            <p:nvPr/>
          </p:nvSpPr>
          <p:spPr bwMode="auto">
            <a:xfrm>
              <a:off x="7967246" y="4178300"/>
              <a:ext cx="333375" cy="385763"/>
            </a:xfrm>
            <a:custGeom>
              <a:avLst/>
              <a:gdLst/>
              <a:ahLst/>
              <a:cxnLst>
                <a:cxn ang="0">
                  <a:pos x="100" y="146"/>
                </a:cxn>
                <a:cxn ang="0">
                  <a:pos x="107" y="148"/>
                </a:cxn>
                <a:cxn ang="0">
                  <a:pos x="131" y="129"/>
                </a:cxn>
                <a:cxn ang="0">
                  <a:pos x="139" y="110"/>
                </a:cxn>
                <a:cxn ang="0">
                  <a:pos x="139" y="95"/>
                </a:cxn>
                <a:cxn ang="0">
                  <a:pos x="146" y="82"/>
                </a:cxn>
                <a:cxn ang="0">
                  <a:pos x="149" y="75"/>
                </a:cxn>
                <a:cxn ang="0">
                  <a:pos x="158" y="88"/>
                </a:cxn>
                <a:cxn ang="0">
                  <a:pos x="160" y="117"/>
                </a:cxn>
                <a:cxn ang="0">
                  <a:pos x="152" y="128"/>
                </a:cxn>
                <a:cxn ang="0">
                  <a:pos x="148" y="153"/>
                </a:cxn>
                <a:cxn ang="0">
                  <a:pos x="145" y="171"/>
                </a:cxn>
                <a:cxn ang="0">
                  <a:pos x="139" y="171"/>
                </a:cxn>
                <a:cxn ang="0">
                  <a:pos x="126" y="184"/>
                </a:cxn>
                <a:cxn ang="0">
                  <a:pos x="121" y="179"/>
                </a:cxn>
                <a:cxn ang="0">
                  <a:pos x="103" y="187"/>
                </a:cxn>
                <a:cxn ang="0">
                  <a:pos x="94" y="187"/>
                </a:cxn>
                <a:cxn ang="0">
                  <a:pos x="87" y="199"/>
                </a:cxn>
                <a:cxn ang="0">
                  <a:pos x="73" y="193"/>
                </a:cxn>
                <a:cxn ang="0">
                  <a:pos x="73" y="186"/>
                </a:cxn>
                <a:cxn ang="0">
                  <a:pos x="57" y="188"/>
                </a:cxn>
                <a:cxn ang="0">
                  <a:pos x="35" y="193"/>
                </a:cxn>
                <a:cxn ang="0">
                  <a:pos x="19" y="193"/>
                </a:cxn>
                <a:cxn ang="0">
                  <a:pos x="45" y="173"/>
                </a:cxn>
                <a:cxn ang="0">
                  <a:pos x="71" y="170"/>
                </a:cxn>
                <a:cxn ang="0">
                  <a:pos x="86" y="169"/>
                </a:cxn>
                <a:cxn ang="0">
                  <a:pos x="95" y="144"/>
                </a:cxn>
                <a:cxn ang="0">
                  <a:pos x="140" y="63"/>
                </a:cxn>
                <a:cxn ang="0">
                  <a:pos x="146" y="46"/>
                </a:cxn>
                <a:cxn ang="0">
                  <a:pos x="153" y="42"/>
                </a:cxn>
                <a:cxn ang="0">
                  <a:pos x="162" y="15"/>
                </a:cxn>
                <a:cxn ang="0">
                  <a:pos x="167" y="4"/>
                </a:cxn>
                <a:cxn ang="0">
                  <a:pos x="198" y="29"/>
                </a:cxn>
                <a:cxn ang="0">
                  <a:pos x="207" y="26"/>
                </a:cxn>
                <a:cxn ang="0">
                  <a:pos x="205" y="45"/>
                </a:cxn>
                <a:cxn ang="0">
                  <a:pos x="190" y="48"/>
                </a:cxn>
                <a:cxn ang="0">
                  <a:pos x="164" y="53"/>
                </a:cxn>
                <a:cxn ang="0">
                  <a:pos x="146" y="52"/>
                </a:cxn>
                <a:cxn ang="0">
                  <a:pos x="154" y="66"/>
                </a:cxn>
                <a:cxn ang="0">
                  <a:pos x="143" y="74"/>
                </a:cxn>
                <a:cxn ang="0">
                  <a:pos x="18" y="234"/>
                </a:cxn>
                <a:cxn ang="0">
                  <a:pos x="9" y="238"/>
                </a:cxn>
                <a:cxn ang="0">
                  <a:pos x="15" y="221"/>
                </a:cxn>
                <a:cxn ang="0">
                  <a:pos x="5" y="216"/>
                </a:cxn>
                <a:cxn ang="0">
                  <a:pos x="11" y="205"/>
                </a:cxn>
                <a:cxn ang="0">
                  <a:pos x="23" y="204"/>
                </a:cxn>
                <a:cxn ang="0">
                  <a:pos x="32" y="213"/>
                </a:cxn>
                <a:cxn ang="0">
                  <a:pos x="26" y="233"/>
                </a:cxn>
                <a:cxn ang="0">
                  <a:pos x="44" y="218"/>
                </a:cxn>
                <a:cxn ang="0">
                  <a:pos x="40" y="202"/>
                </a:cxn>
                <a:cxn ang="0">
                  <a:pos x="56" y="194"/>
                </a:cxn>
                <a:cxn ang="0">
                  <a:pos x="68" y="197"/>
                </a:cxn>
                <a:cxn ang="0">
                  <a:pos x="55" y="204"/>
                </a:cxn>
                <a:cxn ang="0">
                  <a:pos x="44" y="218"/>
                </a:cxn>
              </a:cxnLst>
              <a:rect l="0" t="0" r="r" b="b"/>
              <a:pathLst>
                <a:path w="210" h="243">
                  <a:moveTo>
                    <a:pt x="96" y="142"/>
                  </a:moveTo>
                  <a:lnTo>
                    <a:pt x="97" y="141"/>
                  </a:lnTo>
                  <a:lnTo>
                    <a:pt x="104" y="140"/>
                  </a:lnTo>
                  <a:lnTo>
                    <a:pt x="104" y="142"/>
                  </a:lnTo>
                  <a:lnTo>
                    <a:pt x="101" y="144"/>
                  </a:lnTo>
                  <a:lnTo>
                    <a:pt x="100" y="146"/>
                  </a:lnTo>
                  <a:lnTo>
                    <a:pt x="100" y="149"/>
                  </a:lnTo>
                  <a:lnTo>
                    <a:pt x="101" y="152"/>
                  </a:lnTo>
                  <a:lnTo>
                    <a:pt x="102" y="152"/>
                  </a:lnTo>
                  <a:lnTo>
                    <a:pt x="104" y="152"/>
                  </a:lnTo>
                  <a:lnTo>
                    <a:pt x="106" y="149"/>
                  </a:lnTo>
                  <a:lnTo>
                    <a:pt x="107" y="148"/>
                  </a:lnTo>
                  <a:lnTo>
                    <a:pt x="117" y="143"/>
                  </a:lnTo>
                  <a:lnTo>
                    <a:pt x="119" y="142"/>
                  </a:lnTo>
                  <a:lnTo>
                    <a:pt x="122" y="139"/>
                  </a:lnTo>
                  <a:lnTo>
                    <a:pt x="124" y="134"/>
                  </a:lnTo>
                  <a:lnTo>
                    <a:pt x="129" y="131"/>
                  </a:lnTo>
                  <a:lnTo>
                    <a:pt x="131" y="129"/>
                  </a:lnTo>
                  <a:lnTo>
                    <a:pt x="132" y="127"/>
                  </a:lnTo>
                  <a:lnTo>
                    <a:pt x="133" y="123"/>
                  </a:lnTo>
                  <a:lnTo>
                    <a:pt x="136" y="119"/>
                  </a:lnTo>
                  <a:lnTo>
                    <a:pt x="136" y="118"/>
                  </a:lnTo>
                  <a:lnTo>
                    <a:pt x="138" y="113"/>
                  </a:lnTo>
                  <a:lnTo>
                    <a:pt x="139" y="110"/>
                  </a:lnTo>
                  <a:lnTo>
                    <a:pt x="140" y="105"/>
                  </a:lnTo>
                  <a:lnTo>
                    <a:pt x="139" y="102"/>
                  </a:lnTo>
                  <a:lnTo>
                    <a:pt x="137" y="100"/>
                  </a:lnTo>
                  <a:lnTo>
                    <a:pt x="137" y="98"/>
                  </a:lnTo>
                  <a:lnTo>
                    <a:pt x="138" y="97"/>
                  </a:lnTo>
                  <a:lnTo>
                    <a:pt x="139" y="95"/>
                  </a:lnTo>
                  <a:lnTo>
                    <a:pt x="138" y="87"/>
                  </a:lnTo>
                  <a:lnTo>
                    <a:pt x="141" y="84"/>
                  </a:lnTo>
                  <a:lnTo>
                    <a:pt x="142" y="82"/>
                  </a:lnTo>
                  <a:lnTo>
                    <a:pt x="144" y="80"/>
                  </a:lnTo>
                  <a:lnTo>
                    <a:pt x="145" y="80"/>
                  </a:lnTo>
                  <a:lnTo>
                    <a:pt x="146" y="82"/>
                  </a:lnTo>
                  <a:lnTo>
                    <a:pt x="148" y="84"/>
                  </a:lnTo>
                  <a:lnTo>
                    <a:pt x="149" y="84"/>
                  </a:lnTo>
                  <a:lnTo>
                    <a:pt x="154" y="81"/>
                  </a:lnTo>
                  <a:lnTo>
                    <a:pt x="153" y="78"/>
                  </a:lnTo>
                  <a:lnTo>
                    <a:pt x="151" y="77"/>
                  </a:lnTo>
                  <a:lnTo>
                    <a:pt x="149" y="75"/>
                  </a:lnTo>
                  <a:lnTo>
                    <a:pt x="153" y="72"/>
                  </a:lnTo>
                  <a:lnTo>
                    <a:pt x="156" y="73"/>
                  </a:lnTo>
                  <a:lnTo>
                    <a:pt x="158" y="75"/>
                  </a:lnTo>
                  <a:lnTo>
                    <a:pt x="158" y="76"/>
                  </a:lnTo>
                  <a:lnTo>
                    <a:pt x="158" y="83"/>
                  </a:lnTo>
                  <a:lnTo>
                    <a:pt x="158" y="88"/>
                  </a:lnTo>
                  <a:lnTo>
                    <a:pt x="160" y="89"/>
                  </a:lnTo>
                  <a:lnTo>
                    <a:pt x="161" y="91"/>
                  </a:lnTo>
                  <a:lnTo>
                    <a:pt x="165" y="102"/>
                  </a:lnTo>
                  <a:lnTo>
                    <a:pt x="165" y="106"/>
                  </a:lnTo>
                  <a:lnTo>
                    <a:pt x="164" y="111"/>
                  </a:lnTo>
                  <a:lnTo>
                    <a:pt x="160" y="117"/>
                  </a:lnTo>
                  <a:lnTo>
                    <a:pt x="158" y="120"/>
                  </a:lnTo>
                  <a:lnTo>
                    <a:pt x="159" y="123"/>
                  </a:lnTo>
                  <a:lnTo>
                    <a:pt x="158" y="123"/>
                  </a:lnTo>
                  <a:lnTo>
                    <a:pt x="154" y="126"/>
                  </a:lnTo>
                  <a:lnTo>
                    <a:pt x="152" y="126"/>
                  </a:lnTo>
                  <a:lnTo>
                    <a:pt x="152" y="128"/>
                  </a:lnTo>
                  <a:lnTo>
                    <a:pt x="151" y="131"/>
                  </a:lnTo>
                  <a:lnTo>
                    <a:pt x="151" y="134"/>
                  </a:lnTo>
                  <a:lnTo>
                    <a:pt x="151" y="136"/>
                  </a:lnTo>
                  <a:lnTo>
                    <a:pt x="152" y="142"/>
                  </a:lnTo>
                  <a:lnTo>
                    <a:pt x="152" y="147"/>
                  </a:lnTo>
                  <a:lnTo>
                    <a:pt x="148" y="153"/>
                  </a:lnTo>
                  <a:lnTo>
                    <a:pt x="146" y="158"/>
                  </a:lnTo>
                  <a:lnTo>
                    <a:pt x="146" y="163"/>
                  </a:lnTo>
                  <a:lnTo>
                    <a:pt x="148" y="165"/>
                  </a:lnTo>
                  <a:lnTo>
                    <a:pt x="150" y="168"/>
                  </a:lnTo>
                  <a:lnTo>
                    <a:pt x="146" y="170"/>
                  </a:lnTo>
                  <a:lnTo>
                    <a:pt x="145" y="171"/>
                  </a:lnTo>
                  <a:lnTo>
                    <a:pt x="144" y="172"/>
                  </a:lnTo>
                  <a:lnTo>
                    <a:pt x="143" y="178"/>
                  </a:lnTo>
                  <a:lnTo>
                    <a:pt x="137" y="182"/>
                  </a:lnTo>
                  <a:lnTo>
                    <a:pt x="136" y="179"/>
                  </a:lnTo>
                  <a:lnTo>
                    <a:pt x="138" y="175"/>
                  </a:lnTo>
                  <a:lnTo>
                    <a:pt x="139" y="171"/>
                  </a:lnTo>
                  <a:lnTo>
                    <a:pt x="138" y="170"/>
                  </a:lnTo>
                  <a:lnTo>
                    <a:pt x="135" y="172"/>
                  </a:lnTo>
                  <a:lnTo>
                    <a:pt x="131" y="176"/>
                  </a:lnTo>
                  <a:lnTo>
                    <a:pt x="129" y="176"/>
                  </a:lnTo>
                  <a:lnTo>
                    <a:pt x="127" y="179"/>
                  </a:lnTo>
                  <a:lnTo>
                    <a:pt x="126" y="184"/>
                  </a:lnTo>
                  <a:lnTo>
                    <a:pt x="124" y="186"/>
                  </a:lnTo>
                  <a:lnTo>
                    <a:pt x="123" y="186"/>
                  </a:lnTo>
                  <a:lnTo>
                    <a:pt x="123" y="185"/>
                  </a:lnTo>
                  <a:lnTo>
                    <a:pt x="123" y="180"/>
                  </a:lnTo>
                  <a:lnTo>
                    <a:pt x="122" y="179"/>
                  </a:lnTo>
                  <a:lnTo>
                    <a:pt x="121" y="179"/>
                  </a:lnTo>
                  <a:lnTo>
                    <a:pt x="119" y="180"/>
                  </a:lnTo>
                  <a:lnTo>
                    <a:pt x="117" y="183"/>
                  </a:lnTo>
                  <a:lnTo>
                    <a:pt x="115" y="186"/>
                  </a:lnTo>
                  <a:lnTo>
                    <a:pt x="110" y="186"/>
                  </a:lnTo>
                  <a:lnTo>
                    <a:pt x="107" y="186"/>
                  </a:lnTo>
                  <a:lnTo>
                    <a:pt x="103" y="187"/>
                  </a:lnTo>
                  <a:lnTo>
                    <a:pt x="100" y="183"/>
                  </a:lnTo>
                  <a:lnTo>
                    <a:pt x="97" y="181"/>
                  </a:lnTo>
                  <a:lnTo>
                    <a:pt x="95" y="183"/>
                  </a:lnTo>
                  <a:lnTo>
                    <a:pt x="95" y="184"/>
                  </a:lnTo>
                  <a:lnTo>
                    <a:pt x="94" y="186"/>
                  </a:lnTo>
                  <a:lnTo>
                    <a:pt x="94" y="187"/>
                  </a:lnTo>
                  <a:lnTo>
                    <a:pt x="96" y="188"/>
                  </a:lnTo>
                  <a:lnTo>
                    <a:pt x="98" y="191"/>
                  </a:lnTo>
                  <a:lnTo>
                    <a:pt x="97" y="192"/>
                  </a:lnTo>
                  <a:lnTo>
                    <a:pt x="92" y="193"/>
                  </a:lnTo>
                  <a:lnTo>
                    <a:pt x="89" y="195"/>
                  </a:lnTo>
                  <a:lnTo>
                    <a:pt x="87" y="199"/>
                  </a:lnTo>
                  <a:lnTo>
                    <a:pt x="84" y="205"/>
                  </a:lnTo>
                  <a:lnTo>
                    <a:pt x="80" y="203"/>
                  </a:lnTo>
                  <a:lnTo>
                    <a:pt x="76" y="201"/>
                  </a:lnTo>
                  <a:lnTo>
                    <a:pt x="74" y="200"/>
                  </a:lnTo>
                  <a:lnTo>
                    <a:pt x="74" y="198"/>
                  </a:lnTo>
                  <a:lnTo>
                    <a:pt x="73" y="193"/>
                  </a:lnTo>
                  <a:lnTo>
                    <a:pt x="74" y="192"/>
                  </a:lnTo>
                  <a:lnTo>
                    <a:pt x="77" y="189"/>
                  </a:lnTo>
                  <a:lnTo>
                    <a:pt x="78" y="187"/>
                  </a:lnTo>
                  <a:lnTo>
                    <a:pt x="77" y="185"/>
                  </a:lnTo>
                  <a:lnTo>
                    <a:pt x="76" y="185"/>
                  </a:lnTo>
                  <a:lnTo>
                    <a:pt x="73" y="186"/>
                  </a:lnTo>
                  <a:lnTo>
                    <a:pt x="71" y="186"/>
                  </a:lnTo>
                  <a:lnTo>
                    <a:pt x="66" y="185"/>
                  </a:lnTo>
                  <a:lnTo>
                    <a:pt x="64" y="186"/>
                  </a:lnTo>
                  <a:lnTo>
                    <a:pt x="61" y="187"/>
                  </a:lnTo>
                  <a:lnTo>
                    <a:pt x="58" y="189"/>
                  </a:lnTo>
                  <a:lnTo>
                    <a:pt x="57" y="188"/>
                  </a:lnTo>
                  <a:lnTo>
                    <a:pt x="55" y="188"/>
                  </a:lnTo>
                  <a:lnTo>
                    <a:pt x="46" y="191"/>
                  </a:lnTo>
                  <a:lnTo>
                    <a:pt x="41" y="193"/>
                  </a:lnTo>
                  <a:lnTo>
                    <a:pt x="40" y="191"/>
                  </a:lnTo>
                  <a:lnTo>
                    <a:pt x="37" y="190"/>
                  </a:lnTo>
                  <a:lnTo>
                    <a:pt x="35" y="193"/>
                  </a:lnTo>
                  <a:lnTo>
                    <a:pt x="35" y="198"/>
                  </a:lnTo>
                  <a:lnTo>
                    <a:pt x="30" y="196"/>
                  </a:lnTo>
                  <a:lnTo>
                    <a:pt x="27" y="196"/>
                  </a:lnTo>
                  <a:lnTo>
                    <a:pt x="20" y="196"/>
                  </a:lnTo>
                  <a:lnTo>
                    <a:pt x="19" y="195"/>
                  </a:lnTo>
                  <a:lnTo>
                    <a:pt x="19" y="193"/>
                  </a:lnTo>
                  <a:lnTo>
                    <a:pt x="20" y="191"/>
                  </a:lnTo>
                  <a:lnTo>
                    <a:pt x="23" y="191"/>
                  </a:lnTo>
                  <a:lnTo>
                    <a:pt x="26" y="190"/>
                  </a:lnTo>
                  <a:lnTo>
                    <a:pt x="30" y="187"/>
                  </a:lnTo>
                  <a:lnTo>
                    <a:pt x="43" y="173"/>
                  </a:lnTo>
                  <a:lnTo>
                    <a:pt x="45" y="173"/>
                  </a:lnTo>
                  <a:lnTo>
                    <a:pt x="47" y="172"/>
                  </a:lnTo>
                  <a:lnTo>
                    <a:pt x="48" y="175"/>
                  </a:lnTo>
                  <a:lnTo>
                    <a:pt x="51" y="174"/>
                  </a:lnTo>
                  <a:lnTo>
                    <a:pt x="58" y="172"/>
                  </a:lnTo>
                  <a:lnTo>
                    <a:pt x="64" y="172"/>
                  </a:lnTo>
                  <a:lnTo>
                    <a:pt x="71" y="170"/>
                  </a:lnTo>
                  <a:lnTo>
                    <a:pt x="76" y="168"/>
                  </a:lnTo>
                  <a:lnTo>
                    <a:pt x="76" y="172"/>
                  </a:lnTo>
                  <a:lnTo>
                    <a:pt x="79" y="174"/>
                  </a:lnTo>
                  <a:lnTo>
                    <a:pt x="79" y="173"/>
                  </a:lnTo>
                  <a:lnTo>
                    <a:pt x="83" y="172"/>
                  </a:lnTo>
                  <a:lnTo>
                    <a:pt x="86" y="169"/>
                  </a:lnTo>
                  <a:lnTo>
                    <a:pt x="86" y="167"/>
                  </a:lnTo>
                  <a:lnTo>
                    <a:pt x="86" y="163"/>
                  </a:lnTo>
                  <a:lnTo>
                    <a:pt x="89" y="159"/>
                  </a:lnTo>
                  <a:lnTo>
                    <a:pt x="94" y="155"/>
                  </a:lnTo>
                  <a:lnTo>
                    <a:pt x="95" y="152"/>
                  </a:lnTo>
                  <a:lnTo>
                    <a:pt x="95" y="144"/>
                  </a:lnTo>
                  <a:lnTo>
                    <a:pt x="96" y="142"/>
                  </a:lnTo>
                  <a:close/>
                  <a:moveTo>
                    <a:pt x="140" y="75"/>
                  </a:moveTo>
                  <a:lnTo>
                    <a:pt x="139" y="73"/>
                  </a:lnTo>
                  <a:lnTo>
                    <a:pt x="139" y="71"/>
                  </a:lnTo>
                  <a:lnTo>
                    <a:pt x="141" y="65"/>
                  </a:lnTo>
                  <a:lnTo>
                    <a:pt x="140" y="63"/>
                  </a:lnTo>
                  <a:lnTo>
                    <a:pt x="137" y="61"/>
                  </a:lnTo>
                  <a:lnTo>
                    <a:pt x="136" y="60"/>
                  </a:lnTo>
                  <a:lnTo>
                    <a:pt x="135" y="53"/>
                  </a:lnTo>
                  <a:lnTo>
                    <a:pt x="139" y="50"/>
                  </a:lnTo>
                  <a:lnTo>
                    <a:pt x="142" y="49"/>
                  </a:lnTo>
                  <a:lnTo>
                    <a:pt x="146" y="46"/>
                  </a:lnTo>
                  <a:lnTo>
                    <a:pt x="146" y="43"/>
                  </a:lnTo>
                  <a:lnTo>
                    <a:pt x="144" y="41"/>
                  </a:lnTo>
                  <a:lnTo>
                    <a:pt x="146" y="38"/>
                  </a:lnTo>
                  <a:lnTo>
                    <a:pt x="147" y="38"/>
                  </a:lnTo>
                  <a:lnTo>
                    <a:pt x="151" y="42"/>
                  </a:lnTo>
                  <a:lnTo>
                    <a:pt x="153" y="42"/>
                  </a:lnTo>
                  <a:lnTo>
                    <a:pt x="156" y="41"/>
                  </a:lnTo>
                  <a:lnTo>
                    <a:pt x="156" y="31"/>
                  </a:lnTo>
                  <a:lnTo>
                    <a:pt x="159" y="30"/>
                  </a:lnTo>
                  <a:lnTo>
                    <a:pt x="161" y="28"/>
                  </a:lnTo>
                  <a:lnTo>
                    <a:pt x="162" y="21"/>
                  </a:lnTo>
                  <a:lnTo>
                    <a:pt x="162" y="15"/>
                  </a:lnTo>
                  <a:lnTo>
                    <a:pt x="160" y="8"/>
                  </a:lnTo>
                  <a:lnTo>
                    <a:pt x="159" y="4"/>
                  </a:lnTo>
                  <a:lnTo>
                    <a:pt x="160" y="3"/>
                  </a:lnTo>
                  <a:lnTo>
                    <a:pt x="164" y="0"/>
                  </a:lnTo>
                  <a:lnTo>
                    <a:pt x="164" y="0"/>
                  </a:lnTo>
                  <a:lnTo>
                    <a:pt x="167" y="4"/>
                  </a:lnTo>
                  <a:lnTo>
                    <a:pt x="172" y="11"/>
                  </a:lnTo>
                  <a:lnTo>
                    <a:pt x="179" y="18"/>
                  </a:lnTo>
                  <a:lnTo>
                    <a:pt x="185" y="23"/>
                  </a:lnTo>
                  <a:lnTo>
                    <a:pt x="189" y="26"/>
                  </a:lnTo>
                  <a:lnTo>
                    <a:pt x="192" y="27"/>
                  </a:lnTo>
                  <a:lnTo>
                    <a:pt x="198" y="29"/>
                  </a:lnTo>
                  <a:lnTo>
                    <a:pt x="199" y="29"/>
                  </a:lnTo>
                  <a:lnTo>
                    <a:pt x="201" y="28"/>
                  </a:lnTo>
                  <a:lnTo>
                    <a:pt x="206" y="23"/>
                  </a:lnTo>
                  <a:lnTo>
                    <a:pt x="209" y="22"/>
                  </a:lnTo>
                  <a:lnTo>
                    <a:pt x="209" y="23"/>
                  </a:lnTo>
                  <a:lnTo>
                    <a:pt x="207" y="26"/>
                  </a:lnTo>
                  <a:lnTo>
                    <a:pt x="205" y="30"/>
                  </a:lnTo>
                  <a:lnTo>
                    <a:pt x="206" y="33"/>
                  </a:lnTo>
                  <a:lnTo>
                    <a:pt x="209" y="38"/>
                  </a:lnTo>
                  <a:lnTo>
                    <a:pt x="210" y="41"/>
                  </a:lnTo>
                  <a:lnTo>
                    <a:pt x="207" y="43"/>
                  </a:lnTo>
                  <a:lnTo>
                    <a:pt x="205" y="45"/>
                  </a:lnTo>
                  <a:lnTo>
                    <a:pt x="201" y="47"/>
                  </a:lnTo>
                  <a:lnTo>
                    <a:pt x="199" y="47"/>
                  </a:lnTo>
                  <a:lnTo>
                    <a:pt x="196" y="45"/>
                  </a:lnTo>
                  <a:lnTo>
                    <a:pt x="194" y="45"/>
                  </a:lnTo>
                  <a:lnTo>
                    <a:pt x="191" y="46"/>
                  </a:lnTo>
                  <a:lnTo>
                    <a:pt x="190" y="48"/>
                  </a:lnTo>
                  <a:lnTo>
                    <a:pt x="185" y="54"/>
                  </a:lnTo>
                  <a:lnTo>
                    <a:pt x="183" y="58"/>
                  </a:lnTo>
                  <a:lnTo>
                    <a:pt x="181" y="63"/>
                  </a:lnTo>
                  <a:lnTo>
                    <a:pt x="179" y="63"/>
                  </a:lnTo>
                  <a:lnTo>
                    <a:pt x="176" y="61"/>
                  </a:lnTo>
                  <a:lnTo>
                    <a:pt x="164" y="53"/>
                  </a:lnTo>
                  <a:lnTo>
                    <a:pt x="161" y="52"/>
                  </a:lnTo>
                  <a:lnTo>
                    <a:pt x="157" y="53"/>
                  </a:lnTo>
                  <a:lnTo>
                    <a:pt x="151" y="57"/>
                  </a:lnTo>
                  <a:lnTo>
                    <a:pt x="151" y="55"/>
                  </a:lnTo>
                  <a:lnTo>
                    <a:pt x="148" y="52"/>
                  </a:lnTo>
                  <a:lnTo>
                    <a:pt x="146" y="52"/>
                  </a:lnTo>
                  <a:lnTo>
                    <a:pt x="145" y="53"/>
                  </a:lnTo>
                  <a:lnTo>
                    <a:pt x="142" y="56"/>
                  </a:lnTo>
                  <a:lnTo>
                    <a:pt x="142" y="58"/>
                  </a:lnTo>
                  <a:lnTo>
                    <a:pt x="149" y="62"/>
                  </a:lnTo>
                  <a:lnTo>
                    <a:pt x="152" y="64"/>
                  </a:lnTo>
                  <a:lnTo>
                    <a:pt x="154" y="66"/>
                  </a:lnTo>
                  <a:lnTo>
                    <a:pt x="152" y="68"/>
                  </a:lnTo>
                  <a:lnTo>
                    <a:pt x="150" y="68"/>
                  </a:lnTo>
                  <a:lnTo>
                    <a:pt x="148" y="67"/>
                  </a:lnTo>
                  <a:lnTo>
                    <a:pt x="147" y="68"/>
                  </a:lnTo>
                  <a:lnTo>
                    <a:pt x="145" y="70"/>
                  </a:lnTo>
                  <a:lnTo>
                    <a:pt x="143" y="74"/>
                  </a:lnTo>
                  <a:lnTo>
                    <a:pt x="140" y="75"/>
                  </a:lnTo>
                  <a:close/>
                  <a:moveTo>
                    <a:pt x="18" y="243"/>
                  </a:moveTo>
                  <a:lnTo>
                    <a:pt x="16" y="243"/>
                  </a:lnTo>
                  <a:lnTo>
                    <a:pt x="16" y="242"/>
                  </a:lnTo>
                  <a:lnTo>
                    <a:pt x="17" y="238"/>
                  </a:lnTo>
                  <a:lnTo>
                    <a:pt x="18" y="234"/>
                  </a:lnTo>
                  <a:lnTo>
                    <a:pt x="16" y="233"/>
                  </a:lnTo>
                  <a:lnTo>
                    <a:pt x="15" y="234"/>
                  </a:lnTo>
                  <a:lnTo>
                    <a:pt x="14" y="238"/>
                  </a:lnTo>
                  <a:lnTo>
                    <a:pt x="11" y="241"/>
                  </a:lnTo>
                  <a:lnTo>
                    <a:pt x="10" y="239"/>
                  </a:lnTo>
                  <a:lnTo>
                    <a:pt x="9" y="238"/>
                  </a:lnTo>
                  <a:lnTo>
                    <a:pt x="11" y="235"/>
                  </a:lnTo>
                  <a:lnTo>
                    <a:pt x="11" y="233"/>
                  </a:lnTo>
                  <a:lnTo>
                    <a:pt x="9" y="226"/>
                  </a:lnTo>
                  <a:lnTo>
                    <a:pt x="10" y="225"/>
                  </a:lnTo>
                  <a:lnTo>
                    <a:pt x="14" y="222"/>
                  </a:lnTo>
                  <a:lnTo>
                    <a:pt x="15" y="221"/>
                  </a:lnTo>
                  <a:lnTo>
                    <a:pt x="15" y="217"/>
                  </a:lnTo>
                  <a:lnTo>
                    <a:pt x="12" y="212"/>
                  </a:lnTo>
                  <a:lnTo>
                    <a:pt x="10" y="212"/>
                  </a:lnTo>
                  <a:lnTo>
                    <a:pt x="9" y="213"/>
                  </a:lnTo>
                  <a:lnTo>
                    <a:pt x="7" y="217"/>
                  </a:lnTo>
                  <a:lnTo>
                    <a:pt x="5" y="216"/>
                  </a:lnTo>
                  <a:lnTo>
                    <a:pt x="4" y="213"/>
                  </a:lnTo>
                  <a:lnTo>
                    <a:pt x="1" y="211"/>
                  </a:lnTo>
                  <a:lnTo>
                    <a:pt x="0" y="208"/>
                  </a:lnTo>
                  <a:lnTo>
                    <a:pt x="2" y="206"/>
                  </a:lnTo>
                  <a:lnTo>
                    <a:pt x="7" y="206"/>
                  </a:lnTo>
                  <a:lnTo>
                    <a:pt x="11" y="205"/>
                  </a:lnTo>
                  <a:lnTo>
                    <a:pt x="13" y="202"/>
                  </a:lnTo>
                  <a:lnTo>
                    <a:pt x="14" y="200"/>
                  </a:lnTo>
                  <a:lnTo>
                    <a:pt x="17" y="200"/>
                  </a:lnTo>
                  <a:lnTo>
                    <a:pt x="20" y="200"/>
                  </a:lnTo>
                  <a:lnTo>
                    <a:pt x="21" y="203"/>
                  </a:lnTo>
                  <a:lnTo>
                    <a:pt x="23" y="204"/>
                  </a:lnTo>
                  <a:lnTo>
                    <a:pt x="25" y="204"/>
                  </a:lnTo>
                  <a:lnTo>
                    <a:pt x="29" y="203"/>
                  </a:lnTo>
                  <a:lnTo>
                    <a:pt x="30" y="206"/>
                  </a:lnTo>
                  <a:lnTo>
                    <a:pt x="27" y="209"/>
                  </a:lnTo>
                  <a:lnTo>
                    <a:pt x="29" y="210"/>
                  </a:lnTo>
                  <a:lnTo>
                    <a:pt x="32" y="213"/>
                  </a:lnTo>
                  <a:lnTo>
                    <a:pt x="32" y="215"/>
                  </a:lnTo>
                  <a:lnTo>
                    <a:pt x="29" y="219"/>
                  </a:lnTo>
                  <a:lnTo>
                    <a:pt x="28" y="222"/>
                  </a:lnTo>
                  <a:lnTo>
                    <a:pt x="27" y="225"/>
                  </a:lnTo>
                  <a:lnTo>
                    <a:pt x="26" y="229"/>
                  </a:lnTo>
                  <a:lnTo>
                    <a:pt x="26" y="233"/>
                  </a:lnTo>
                  <a:lnTo>
                    <a:pt x="24" y="236"/>
                  </a:lnTo>
                  <a:lnTo>
                    <a:pt x="23" y="237"/>
                  </a:lnTo>
                  <a:lnTo>
                    <a:pt x="22" y="237"/>
                  </a:lnTo>
                  <a:lnTo>
                    <a:pt x="21" y="238"/>
                  </a:lnTo>
                  <a:lnTo>
                    <a:pt x="18" y="243"/>
                  </a:lnTo>
                  <a:close/>
                  <a:moveTo>
                    <a:pt x="44" y="218"/>
                  </a:moveTo>
                  <a:lnTo>
                    <a:pt x="42" y="216"/>
                  </a:lnTo>
                  <a:lnTo>
                    <a:pt x="41" y="214"/>
                  </a:lnTo>
                  <a:lnTo>
                    <a:pt x="40" y="212"/>
                  </a:lnTo>
                  <a:lnTo>
                    <a:pt x="39" y="209"/>
                  </a:lnTo>
                  <a:lnTo>
                    <a:pt x="36" y="205"/>
                  </a:lnTo>
                  <a:lnTo>
                    <a:pt x="40" y="202"/>
                  </a:lnTo>
                  <a:lnTo>
                    <a:pt x="42" y="200"/>
                  </a:lnTo>
                  <a:lnTo>
                    <a:pt x="45" y="196"/>
                  </a:lnTo>
                  <a:lnTo>
                    <a:pt x="47" y="198"/>
                  </a:lnTo>
                  <a:lnTo>
                    <a:pt x="51" y="198"/>
                  </a:lnTo>
                  <a:lnTo>
                    <a:pt x="54" y="197"/>
                  </a:lnTo>
                  <a:lnTo>
                    <a:pt x="56" y="194"/>
                  </a:lnTo>
                  <a:lnTo>
                    <a:pt x="58" y="192"/>
                  </a:lnTo>
                  <a:lnTo>
                    <a:pt x="61" y="192"/>
                  </a:lnTo>
                  <a:lnTo>
                    <a:pt x="63" y="193"/>
                  </a:lnTo>
                  <a:lnTo>
                    <a:pt x="68" y="195"/>
                  </a:lnTo>
                  <a:lnTo>
                    <a:pt x="69" y="196"/>
                  </a:lnTo>
                  <a:lnTo>
                    <a:pt x="68" y="197"/>
                  </a:lnTo>
                  <a:lnTo>
                    <a:pt x="68" y="200"/>
                  </a:lnTo>
                  <a:lnTo>
                    <a:pt x="66" y="202"/>
                  </a:lnTo>
                  <a:lnTo>
                    <a:pt x="61" y="208"/>
                  </a:lnTo>
                  <a:lnTo>
                    <a:pt x="60" y="207"/>
                  </a:lnTo>
                  <a:lnTo>
                    <a:pt x="57" y="204"/>
                  </a:lnTo>
                  <a:lnTo>
                    <a:pt x="55" y="204"/>
                  </a:lnTo>
                  <a:lnTo>
                    <a:pt x="51" y="206"/>
                  </a:lnTo>
                  <a:lnTo>
                    <a:pt x="50" y="207"/>
                  </a:lnTo>
                  <a:lnTo>
                    <a:pt x="48" y="210"/>
                  </a:lnTo>
                  <a:lnTo>
                    <a:pt x="47" y="214"/>
                  </a:lnTo>
                  <a:lnTo>
                    <a:pt x="46" y="216"/>
                  </a:lnTo>
                  <a:lnTo>
                    <a:pt x="44" y="21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2" name="Freeform 166">
              <a:extLst>
                <a:ext uri="{FF2B5EF4-FFF2-40B4-BE49-F238E27FC236}">
                  <a16:creationId xmlns:a16="http://schemas.microsoft.com/office/drawing/2014/main" id="{BB29F2EB-C46F-C57F-2B7A-A4D389B43BA4}"/>
                </a:ext>
              </a:extLst>
            </p:cNvPr>
            <p:cNvSpPr>
              <a:spLocks noEditPoints="1"/>
            </p:cNvSpPr>
            <p:nvPr/>
          </p:nvSpPr>
          <p:spPr bwMode="auto">
            <a:xfrm>
              <a:off x="7713246" y="4846638"/>
              <a:ext cx="192088" cy="277813"/>
            </a:xfrm>
            <a:custGeom>
              <a:avLst/>
              <a:gdLst/>
              <a:ahLst/>
              <a:cxnLst>
                <a:cxn ang="0">
                  <a:pos x="35" y="40"/>
                </a:cxn>
                <a:cxn ang="0">
                  <a:pos x="42" y="32"/>
                </a:cxn>
                <a:cxn ang="0">
                  <a:pos x="42" y="16"/>
                </a:cxn>
                <a:cxn ang="0">
                  <a:pos x="48" y="0"/>
                </a:cxn>
                <a:cxn ang="0">
                  <a:pos x="65" y="1"/>
                </a:cxn>
                <a:cxn ang="0">
                  <a:pos x="65" y="15"/>
                </a:cxn>
                <a:cxn ang="0">
                  <a:pos x="60" y="34"/>
                </a:cxn>
                <a:cxn ang="0">
                  <a:pos x="54" y="44"/>
                </a:cxn>
                <a:cxn ang="0">
                  <a:pos x="61" y="61"/>
                </a:cxn>
                <a:cxn ang="0">
                  <a:pos x="70" y="58"/>
                </a:cxn>
                <a:cxn ang="0">
                  <a:pos x="79" y="66"/>
                </a:cxn>
                <a:cxn ang="0">
                  <a:pos x="86" y="66"/>
                </a:cxn>
                <a:cxn ang="0">
                  <a:pos x="83" y="76"/>
                </a:cxn>
                <a:cxn ang="0">
                  <a:pos x="70" y="64"/>
                </a:cxn>
                <a:cxn ang="0">
                  <a:pos x="65" y="67"/>
                </a:cxn>
                <a:cxn ang="0">
                  <a:pos x="53" y="66"/>
                </a:cxn>
                <a:cxn ang="0">
                  <a:pos x="48" y="57"/>
                </a:cxn>
                <a:cxn ang="0">
                  <a:pos x="50" y="55"/>
                </a:cxn>
                <a:cxn ang="0">
                  <a:pos x="116" y="160"/>
                </a:cxn>
                <a:cxn ang="0">
                  <a:pos x="107" y="160"/>
                </a:cxn>
                <a:cxn ang="0">
                  <a:pos x="107" y="175"/>
                </a:cxn>
                <a:cxn ang="0">
                  <a:pos x="103" y="167"/>
                </a:cxn>
                <a:cxn ang="0">
                  <a:pos x="89" y="161"/>
                </a:cxn>
                <a:cxn ang="0">
                  <a:pos x="83" y="145"/>
                </a:cxn>
                <a:cxn ang="0">
                  <a:pos x="74" y="149"/>
                </a:cxn>
                <a:cxn ang="0">
                  <a:pos x="64" y="157"/>
                </a:cxn>
                <a:cxn ang="0">
                  <a:pos x="64" y="148"/>
                </a:cxn>
                <a:cxn ang="0">
                  <a:pos x="74" y="141"/>
                </a:cxn>
                <a:cxn ang="0">
                  <a:pos x="85" y="137"/>
                </a:cxn>
                <a:cxn ang="0">
                  <a:pos x="93" y="136"/>
                </a:cxn>
                <a:cxn ang="0">
                  <a:pos x="101" y="130"/>
                </a:cxn>
                <a:cxn ang="0">
                  <a:pos x="109" y="128"/>
                </a:cxn>
                <a:cxn ang="0">
                  <a:pos x="115" y="126"/>
                </a:cxn>
                <a:cxn ang="0">
                  <a:pos x="120" y="136"/>
                </a:cxn>
                <a:cxn ang="0">
                  <a:pos x="121" y="151"/>
                </a:cxn>
                <a:cxn ang="0">
                  <a:pos x="0" y="136"/>
                </a:cxn>
                <a:cxn ang="0">
                  <a:pos x="13" y="123"/>
                </a:cxn>
                <a:cxn ang="0">
                  <a:pos x="15" y="125"/>
                </a:cxn>
                <a:cxn ang="0">
                  <a:pos x="5" y="133"/>
                </a:cxn>
                <a:cxn ang="0">
                  <a:pos x="68" y="120"/>
                </a:cxn>
                <a:cxn ang="0">
                  <a:pos x="78" y="103"/>
                </a:cxn>
                <a:cxn ang="0">
                  <a:pos x="78" y="112"/>
                </a:cxn>
                <a:cxn ang="0">
                  <a:pos x="76" y="128"/>
                </a:cxn>
                <a:cxn ang="0">
                  <a:pos x="24" y="110"/>
                </a:cxn>
                <a:cxn ang="0">
                  <a:pos x="30" y="100"/>
                </a:cxn>
                <a:cxn ang="0">
                  <a:pos x="27" y="112"/>
                </a:cxn>
                <a:cxn ang="0">
                  <a:pos x="63" y="99"/>
                </a:cxn>
                <a:cxn ang="0">
                  <a:pos x="76" y="95"/>
                </a:cxn>
                <a:cxn ang="0">
                  <a:pos x="68" y="107"/>
                </a:cxn>
                <a:cxn ang="0">
                  <a:pos x="102" y="96"/>
                </a:cxn>
                <a:cxn ang="0">
                  <a:pos x="95" y="86"/>
                </a:cxn>
                <a:cxn ang="0">
                  <a:pos x="106" y="85"/>
                </a:cxn>
                <a:cxn ang="0">
                  <a:pos x="107" y="100"/>
                </a:cxn>
                <a:cxn ang="0">
                  <a:pos x="45" y="73"/>
                </a:cxn>
                <a:cxn ang="0">
                  <a:pos x="55" y="74"/>
                </a:cxn>
              </a:cxnLst>
              <a:rect l="0" t="0" r="r" b="b"/>
              <a:pathLst>
                <a:path w="121" h="175">
                  <a:moveTo>
                    <a:pt x="42" y="55"/>
                  </a:moveTo>
                  <a:lnTo>
                    <a:pt x="42" y="54"/>
                  </a:lnTo>
                  <a:lnTo>
                    <a:pt x="38" y="50"/>
                  </a:lnTo>
                  <a:lnTo>
                    <a:pt x="35" y="42"/>
                  </a:lnTo>
                  <a:lnTo>
                    <a:pt x="35" y="40"/>
                  </a:lnTo>
                  <a:lnTo>
                    <a:pt x="35" y="35"/>
                  </a:lnTo>
                  <a:lnTo>
                    <a:pt x="34" y="32"/>
                  </a:lnTo>
                  <a:lnTo>
                    <a:pt x="35" y="30"/>
                  </a:lnTo>
                  <a:lnTo>
                    <a:pt x="41" y="34"/>
                  </a:lnTo>
                  <a:lnTo>
                    <a:pt x="42" y="32"/>
                  </a:lnTo>
                  <a:lnTo>
                    <a:pt x="42" y="29"/>
                  </a:lnTo>
                  <a:lnTo>
                    <a:pt x="41" y="26"/>
                  </a:lnTo>
                  <a:lnTo>
                    <a:pt x="41" y="23"/>
                  </a:lnTo>
                  <a:lnTo>
                    <a:pt x="42" y="20"/>
                  </a:lnTo>
                  <a:lnTo>
                    <a:pt x="42" y="16"/>
                  </a:lnTo>
                  <a:lnTo>
                    <a:pt x="42" y="11"/>
                  </a:lnTo>
                  <a:lnTo>
                    <a:pt x="43" y="7"/>
                  </a:lnTo>
                  <a:lnTo>
                    <a:pt x="45" y="2"/>
                  </a:lnTo>
                  <a:lnTo>
                    <a:pt x="46" y="1"/>
                  </a:lnTo>
                  <a:lnTo>
                    <a:pt x="48" y="0"/>
                  </a:lnTo>
                  <a:lnTo>
                    <a:pt x="51" y="0"/>
                  </a:lnTo>
                  <a:lnTo>
                    <a:pt x="59" y="4"/>
                  </a:lnTo>
                  <a:lnTo>
                    <a:pt x="62" y="4"/>
                  </a:lnTo>
                  <a:lnTo>
                    <a:pt x="63" y="2"/>
                  </a:lnTo>
                  <a:lnTo>
                    <a:pt x="65" y="1"/>
                  </a:lnTo>
                  <a:lnTo>
                    <a:pt x="66" y="2"/>
                  </a:lnTo>
                  <a:lnTo>
                    <a:pt x="66" y="5"/>
                  </a:lnTo>
                  <a:lnTo>
                    <a:pt x="64" y="7"/>
                  </a:lnTo>
                  <a:lnTo>
                    <a:pt x="64" y="10"/>
                  </a:lnTo>
                  <a:lnTo>
                    <a:pt x="65" y="15"/>
                  </a:lnTo>
                  <a:lnTo>
                    <a:pt x="68" y="18"/>
                  </a:lnTo>
                  <a:lnTo>
                    <a:pt x="69" y="20"/>
                  </a:lnTo>
                  <a:lnTo>
                    <a:pt x="66" y="28"/>
                  </a:lnTo>
                  <a:lnTo>
                    <a:pt x="65" y="30"/>
                  </a:lnTo>
                  <a:lnTo>
                    <a:pt x="60" y="34"/>
                  </a:lnTo>
                  <a:lnTo>
                    <a:pt x="57" y="36"/>
                  </a:lnTo>
                  <a:lnTo>
                    <a:pt x="56" y="37"/>
                  </a:lnTo>
                  <a:lnTo>
                    <a:pt x="56" y="38"/>
                  </a:lnTo>
                  <a:lnTo>
                    <a:pt x="56" y="42"/>
                  </a:lnTo>
                  <a:lnTo>
                    <a:pt x="54" y="44"/>
                  </a:lnTo>
                  <a:lnTo>
                    <a:pt x="55" y="46"/>
                  </a:lnTo>
                  <a:lnTo>
                    <a:pt x="57" y="50"/>
                  </a:lnTo>
                  <a:lnTo>
                    <a:pt x="59" y="57"/>
                  </a:lnTo>
                  <a:lnTo>
                    <a:pt x="60" y="61"/>
                  </a:lnTo>
                  <a:lnTo>
                    <a:pt x="61" y="61"/>
                  </a:lnTo>
                  <a:lnTo>
                    <a:pt x="63" y="62"/>
                  </a:lnTo>
                  <a:lnTo>
                    <a:pt x="65" y="63"/>
                  </a:lnTo>
                  <a:lnTo>
                    <a:pt x="66" y="61"/>
                  </a:lnTo>
                  <a:lnTo>
                    <a:pt x="69" y="58"/>
                  </a:lnTo>
                  <a:lnTo>
                    <a:pt x="70" y="58"/>
                  </a:lnTo>
                  <a:lnTo>
                    <a:pt x="73" y="58"/>
                  </a:lnTo>
                  <a:lnTo>
                    <a:pt x="74" y="59"/>
                  </a:lnTo>
                  <a:lnTo>
                    <a:pt x="75" y="64"/>
                  </a:lnTo>
                  <a:lnTo>
                    <a:pt x="77" y="65"/>
                  </a:lnTo>
                  <a:lnTo>
                    <a:pt x="79" y="66"/>
                  </a:lnTo>
                  <a:lnTo>
                    <a:pt x="82" y="62"/>
                  </a:lnTo>
                  <a:lnTo>
                    <a:pt x="85" y="64"/>
                  </a:lnTo>
                  <a:lnTo>
                    <a:pt x="86" y="64"/>
                  </a:lnTo>
                  <a:lnTo>
                    <a:pt x="87" y="65"/>
                  </a:lnTo>
                  <a:lnTo>
                    <a:pt x="86" y="66"/>
                  </a:lnTo>
                  <a:lnTo>
                    <a:pt x="83" y="67"/>
                  </a:lnTo>
                  <a:lnTo>
                    <a:pt x="82" y="68"/>
                  </a:lnTo>
                  <a:lnTo>
                    <a:pt x="88" y="76"/>
                  </a:lnTo>
                  <a:lnTo>
                    <a:pt x="86" y="77"/>
                  </a:lnTo>
                  <a:lnTo>
                    <a:pt x="83" y="76"/>
                  </a:lnTo>
                  <a:lnTo>
                    <a:pt x="80" y="75"/>
                  </a:lnTo>
                  <a:lnTo>
                    <a:pt x="80" y="72"/>
                  </a:lnTo>
                  <a:lnTo>
                    <a:pt x="78" y="70"/>
                  </a:lnTo>
                  <a:lnTo>
                    <a:pt x="75" y="67"/>
                  </a:lnTo>
                  <a:lnTo>
                    <a:pt x="70" y="64"/>
                  </a:lnTo>
                  <a:lnTo>
                    <a:pt x="69" y="64"/>
                  </a:lnTo>
                  <a:lnTo>
                    <a:pt x="68" y="65"/>
                  </a:lnTo>
                  <a:lnTo>
                    <a:pt x="70" y="70"/>
                  </a:lnTo>
                  <a:lnTo>
                    <a:pt x="69" y="71"/>
                  </a:lnTo>
                  <a:lnTo>
                    <a:pt x="65" y="67"/>
                  </a:lnTo>
                  <a:lnTo>
                    <a:pt x="59" y="63"/>
                  </a:lnTo>
                  <a:lnTo>
                    <a:pt x="57" y="63"/>
                  </a:lnTo>
                  <a:lnTo>
                    <a:pt x="55" y="64"/>
                  </a:lnTo>
                  <a:lnTo>
                    <a:pt x="54" y="66"/>
                  </a:lnTo>
                  <a:lnTo>
                    <a:pt x="53" y="66"/>
                  </a:lnTo>
                  <a:lnTo>
                    <a:pt x="51" y="67"/>
                  </a:lnTo>
                  <a:lnTo>
                    <a:pt x="49" y="65"/>
                  </a:lnTo>
                  <a:lnTo>
                    <a:pt x="45" y="63"/>
                  </a:lnTo>
                  <a:lnTo>
                    <a:pt x="44" y="61"/>
                  </a:lnTo>
                  <a:lnTo>
                    <a:pt x="48" y="57"/>
                  </a:lnTo>
                  <a:lnTo>
                    <a:pt x="50" y="58"/>
                  </a:lnTo>
                  <a:lnTo>
                    <a:pt x="52" y="58"/>
                  </a:lnTo>
                  <a:lnTo>
                    <a:pt x="54" y="57"/>
                  </a:lnTo>
                  <a:lnTo>
                    <a:pt x="54" y="56"/>
                  </a:lnTo>
                  <a:lnTo>
                    <a:pt x="50" y="55"/>
                  </a:lnTo>
                  <a:lnTo>
                    <a:pt x="47" y="52"/>
                  </a:lnTo>
                  <a:lnTo>
                    <a:pt x="44" y="51"/>
                  </a:lnTo>
                  <a:lnTo>
                    <a:pt x="42" y="55"/>
                  </a:lnTo>
                  <a:close/>
                  <a:moveTo>
                    <a:pt x="117" y="160"/>
                  </a:moveTo>
                  <a:lnTo>
                    <a:pt x="116" y="160"/>
                  </a:lnTo>
                  <a:lnTo>
                    <a:pt x="115" y="157"/>
                  </a:lnTo>
                  <a:lnTo>
                    <a:pt x="113" y="152"/>
                  </a:lnTo>
                  <a:lnTo>
                    <a:pt x="111" y="152"/>
                  </a:lnTo>
                  <a:lnTo>
                    <a:pt x="109" y="155"/>
                  </a:lnTo>
                  <a:lnTo>
                    <a:pt x="107" y="160"/>
                  </a:lnTo>
                  <a:lnTo>
                    <a:pt x="108" y="163"/>
                  </a:lnTo>
                  <a:lnTo>
                    <a:pt x="109" y="165"/>
                  </a:lnTo>
                  <a:lnTo>
                    <a:pt x="110" y="169"/>
                  </a:lnTo>
                  <a:lnTo>
                    <a:pt x="109" y="172"/>
                  </a:lnTo>
                  <a:lnTo>
                    <a:pt x="107" y="175"/>
                  </a:lnTo>
                  <a:lnTo>
                    <a:pt x="105" y="173"/>
                  </a:lnTo>
                  <a:lnTo>
                    <a:pt x="104" y="172"/>
                  </a:lnTo>
                  <a:lnTo>
                    <a:pt x="105" y="169"/>
                  </a:lnTo>
                  <a:lnTo>
                    <a:pt x="105" y="167"/>
                  </a:lnTo>
                  <a:lnTo>
                    <a:pt x="103" y="167"/>
                  </a:lnTo>
                  <a:lnTo>
                    <a:pt x="101" y="171"/>
                  </a:lnTo>
                  <a:lnTo>
                    <a:pt x="99" y="171"/>
                  </a:lnTo>
                  <a:lnTo>
                    <a:pt x="93" y="167"/>
                  </a:lnTo>
                  <a:lnTo>
                    <a:pt x="90" y="164"/>
                  </a:lnTo>
                  <a:lnTo>
                    <a:pt x="89" y="161"/>
                  </a:lnTo>
                  <a:lnTo>
                    <a:pt x="88" y="157"/>
                  </a:lnTo>
                  <a:lnTo>
                    <a:pt x="91" y="152"/>
                  </a:lnTo>
                  <a:lnTo>
                    <a:pt x="90" y="149"/>
                  </a:lnTo>
                  <a:lnTo>
                    <a:pt x="88" y="146"/>
                  </a:lnTo>
                  <a:lnTo>
                    <a:pt x="83" y="145"/>
                  </a:lnTo>
                  <a:lnTo>
                    <a:pt x="81" y="145"/>
                  </a:lnTo>
                  <a:lnTo>
                    <a:pt x="81" y="146"/>
                  </a:lnTo>
                  <a:lnTo>
                    <a:pt x="80" y="147"/>
                  </a:lnTo>
                  <a:lnTo>
                    <a:pt x="77" y="149"/>
                  </a:lnTo>
                  <a:lnTo>
                    <a:pt x="74" y="149"/>
                  </a:lnTo>
                  <a:lnTo>
                    <a:pt x="73" y="146"/>
                  </a:lnTo>
                  <a:lnTo>
                    <a:pt x="72" y="145"/>
                  </a:lnTo>
                  <a:lnTo>
                    <a:pt x="70" y="146"/>
                  </a:lnTo>
                  <a:lnTo>
                    <a:pt x="67" y="152"/>
                  </a:lnTo>
                  <a:lnTo>
                    <a:pt x="64" y="157"/>
                  </a:lnTo>
                  <a:lnTo>
                    <a:pt x="63" y="156"/>
                  </a:lnTo>
                  <a:lnTo>
                    <a:pt x="62" y="155"/>
                  </a:lnTo>
                  <a:lnTo>
                    <a:pt x="62" y="154"/>
                  </a:lnTo>
                  <a:lnTo>
                    <a:pt x="62" y="152"/>
                  </a:lnTo>
                  <a:lnTo>
                    <a:pt x="64" y="148"/>
                  </a:lnTo>
                  <a:lnTo>
                    <a:pt x="65" y="145"/>
                  </a:lnTo>
                  <a:lnTo>
                    <a:pt x="67" y="143"/>
                  </a:lnTo>
                  <a:lnTo>
                    <a:pt x="69" y="142"/>
                  </a:lnTo>
                  <a:lnTo>
                    <a:pt x="72" y="142"/>
                  </a:lnTo>
                  <a:lnTo>
                    <a:pt x="74" y="141"/>
                  </a:lnTo>
                  <a:lnTo>
                    <a:pt x="74" y="138"/>
                  </a:lnTo>
                  <a:lnTo>
                    <a:pt x="75" y="137"/>
                  </a:lnTo>
                  <a:lnTo>
                    <a:pt x="79" y="136"/>
                  </a:lnTo>
                  <a:lnTo>
                    <a:pt x="83" y="135"/>
                  </a:lnTo>
                  <a:lnTo>
                    <a:pt x="85" y="137"/>
                  </a:lnTo>
                  <a:lnTo>
                    <a:pt x="86" y="142"/>
                  </a:lnTo>
                  <a:lnTo>
                    <a:pt x="87" y="141"/>
                  </a:lnTo>
                  <a:lnTo>
                    <a:pt x="90" y="140"/>
                  </a:lnTo>
                  <a:lnTo>
                    <a:pt x="92" y="139"/>
                  </a:lnTo>
                  <a:lnTo>
                    <a:pt x="93" y="136"/>
                  </a:lnTo>
                  <a:lnTo>
                    <a:pt x="95" y="134"/>
                  </a:lnTo>
                  <a:lnTo>
                    <a:pt x="98" y="136"/>
                  </a:lnTo>
                  <a:lnTo>
                    <a:pt x="99" y="136"/>
                  </a:lnTo>
                  <a:lnTo>
                    <a:pt x="100" y="130"/>
                  </a:lnTo>
                  <a:lnTo>
                    <a:pt x="101" y="130"/>
                  </a:lnTo>
                  <a:lnTo>
                    <a:pt x="103" y="132"/>
                  </a:lnTo>
                  <a:lnTo>
                    <a:pt x="105" y="130"/>
                  </a:lnTo>
                  <a:lnTo>
                    <a:pt x="106" y="129"/>
                  </a:lnTo>
                  <a:lnTo>
                    <a:pt x="108" y="129"/>
                  </a:lnTo>
                  <a:lnTo>
                    <a:pt x="109" y="128"/>
                  </a:lnTo>
                  <a:lnTo>
                    <a:pt x="109" y="124"/>
                  </a:lnTo>
                  <a:lnTo>
                    <a:pt x="108" y="120"/>
                  </a:lnTo>
                  <a:lnTo>
                    <a:pt x="109" y="118"/>
                  </a:lnTo>
                  <a:lnTo>
                    <a:pt x="111" y="122"/>
                  </a:lnTo>
                  <a:lnTo>
                    <a:pt x="115" y="126"/>
                  </a:lnTo>
                  <a:lnTo>
                    <a:pt x="117" y="129"/>
                  </a:lnTo>
                  <a:lnTo>
                    <a:pt x="117" y="131"/>
                  </a:lnTo>
                  <a:lnTo>
                    <a:pt x="115" y="136"/>
                  </a:lnTo>
                  <a:lnTo>
                    <a:pt x="117" y="137"/>
                  </a:lnTo>
                  <a:lnTo>
                    <a:pt x="120" y="136"/>
                  </a:lnTo>
                  <a:lnTo>
                    <a:pt x="120" y="139"/>
                  </a:lnTo>
                  <a:lnTo>
                    <a:pt x="120" y="141"/>
                  </a:lnTo>
                  <a:lnTo>
                    <a:pt x="120" y="145"/>
                  </a:lnTo>
                  <a:lnTo>
                    <a:pt x="121" y="148"/>
                  </a:lnTo>
                  <a:lnTo>
                    <a:pt x="121" y="151"/>
                  </a:lnTo>
                  <a:lnTo>
                    <a:pt x="120" y="153"/>
                  </a:lnTo>
                  <a:lnTo>
                    <a:pt x="119" y="157"/>
                  </a:lnTo>
                  <a:lnTo>
                    <a:pt x="117" y="160"/>
                  </a:lnTo>
                  <a:close/>
                  <a:moveTo>
                    <a:pt x="2" y="136"/>
                  </a:moveTo>
                  <a:lnTo>
                    <a:pt x="0" y="136"/>
                  </a:lnTo>
                  <a:lnTo>
                    <a:pt x="2" y="133"/>
                  </a:lnTo>
                  <a:lnTo>
                    <a:pt x="3" y="130"/>
                  </a:lnTo>
                  <a:lnTo>
                    <a:pt x="6" y="128"/>
                  </a:lnTo>
                  <a:lnTo>
                    <a:pt x="9" y="126"/>
                  </a:lnTo>
                  <a:lnTo>
                    <a:pt x="13" y="123"/>
                  </a:lnTo>
                  <a:lnTo>
                    <a:pt x="18" y="116"/>
                  </a:lnTo>
                  <a:lnTo>
                    <a:pt x="19" y="120"/>
                  </a:lnTo>
                  <a:lnTo>
                    <a:pt x="18" y="122"/>
                  </a:lnTo>
                  <a:lnTo>
                    <a:pt x="17" y="124"/>
                  </a:lnTo>
                  <a:lnTo>
                    <a:pt x="15" y="125"/>
                  </a:lnTo>
                  <a:lnTo>
                    <a:pt x="12" y="126"/>
                  </a:lnTo>
                  <a:lnTo>
                    <a:pt x="11" y="127"/>
                  </a:lnTo>
                  <a:lnTo>
                    <a:pt x="10" y="131"/>
                  </a:lnTo>
                  <a:lnTo>
                    <a:pt x="8" y="133"/>
                  </a:lnTo>
                  <a:lnTo>
                    <a:pt x="5" y="133"/>
                  </a:lnTo>
                  <a:lnTo>
                    <a:pt x="2" y="136"/>
                  </a:lnTo>
                  <a:close/>
                  <a:moveTo>
                    <a:pt x="76" y="128"/>
                  </a:moveTo>
                  <a:lnTo>
                    <a:pt x="74" y="126"/>
                  </a:lnTo>
                  <a:lnTo>
                    <a:pt x="69" y="122"/>
                  </a:lnTo>
                  <a:lnTo>
                    <a:pt x="68" y="120"/>
                  </a:lnTo>
                  <a:lnTo>
                    <a:pt x="68" y="118"/>
                  </a:lnTo>
                  <a:lnTo>
                    <a:pt x="72" y="116"/>
                  </a:lnTo>
                  <a:lnTo>
                    <a:pt x="73" y="115"/>
                  </a:lnTo>
                  <a:lnTo>
                    <a:pt x="76" y="104"/>
                  </a:lnTo>
                  <a:lnTo>
                    <a:pt x="78" y="103"/>
                  </a:lnTo>
                  <a:lnTo>
                    <a:pt x="80" y="103"/>
                  </a:lnTo>
                  <a:lnTo>
                    <a:pt x="81" y="104"/>
                  </a:lnTo>
                  <a:lnTo>
                    <a:pt x="81" y="106"/>
                  </a:lnTo>
                  <a:lnTo>
                    <a:pt x="79" y="111"/>
                  </a:lnTo>
                  <a:lnTo>
                    <a:pt x="78" y="112"/>
                  </a:lnTo>
                  <a:lnTo>
                    <a:pt x="77" y="121"/>
                  </a:lnTo>
                  <a:lnTo>
                    <a:pt x="77" y="122"/>
                  </a:lnTo>
                  <a:lnTo>
                    <a:pt x="79" y="125"/>
                  </a:lnTo>
                  <a:lnTo>
                    <a:pt x="77" y="128"/>
                  </a:lnTo>
                  <a:lnTo>
                    <a:pt x="76" y="128"/>
                  </a:lnTo>
                  <a:close/>
                  <a:moveTo>
                    <a:pt x="23" y="115"/>
                  </a:moveTo>
                  <a:lnTo>
                    <a:pt x="21" y="115"/>
                  </a:lnTo>
                  <a:lnTo>
                    <a:pt x="21" y="113"/>
                  </a:lnTo>
                  <a:lnTo>
                    <a:pt x="23" y="113"/>
                  </a:lnTo>
                  <a:lnTo>
                    <a:pt x="24" y="110"/>
                  </a:lnTo>
                  <a:lnTo>
                    <a:pt x="26" y="107"/>
                  </a:lnTo>
                  <a:lnTo>
                    <a:pt x="27" y="103"/>
                  </a:lnTo>
                  <a:lnTo>
                    <a:pt x="27" y="100"/>
                  </a:lnTo>
                  <a:lnTo>
                    <a:pt x="29" y="99"/>
                  </a:lnTo>
                  <a:lnTo>
                    <a:pt x="30" y="100"/>
                  </a:lnTo>
                  <a:lnTo>
                    <a:pt x="29" y="102"/>
                  </a:lnTo>
                  <a:lnTo>
                    <a:pt x="31" y="105"/>
                  </a:lnTo>
                  <a:lnTo>
                    <a:pt x="32" y="109"/>
                  </a:lnTo>
                  <a:lnTo>
                    <a:pt x="32" y="109"/>
                  </a:lnTo>
                  <a:lnTo>
                    <a:pt x="27" y="112"/>
                  </a:lnTo>
                  <a:lnTo>
                    <a:pt x="25" y="114"/>
                  </a:lnTo>
                  <a:lnTo>
                    <a:pt x="23" y="115"/>
                  </a:lnTo>
                  <a:close/>
                  <a:moveTo>
                    <a:pt x="62" y="109"/>
                  </a:moveTo>
                  <a:lnTo>
                    <a:pt x="62" y="107"/>
                  </a:lnTo>
                  <a:lnTo>
                    <a:pt x="63" y="99"/>
                  </a:lnTo>
                  <a:lnTo>
                    <a:pt x="64" y="92"/>
                  </a:lnTo>
                  <a:lnTo>
                    <a:pt x="67" y="94"/>
                  </a:lnTo>
                  <a:lnTo>
                    <a:pt x="70" y="96"/>
                  </a:lnTo>
                  <a:lnTo>
                    <a:pt x="72" y="96"/>
                  </a:lnTo>
                  <a:lnTo>
                    <a:pt x="76" y="95"/>
                  </a:lnTo>
                  <a:lnTo>
                    <a:pt x="76" y="98"/>
                  </a:lnTo>
                  <a:lnTo>
                    <a:pt x="76" y="100"/>
                  </a:lnTo>
                  <a:lnTo>
                    <a:pt x="74" y="102"/>
                  </a:lnTo>
                  <a:lnTo>
                    <a:pt x="73" y="103"/>
                  </a:lnTo>
                  <a:lnTo>
                    <a:pt x="68" y="107"/>
                  </a:lnTo>
                  <a:lnTo>
                    <a:pt x="62" y="109"/>
                  </a:lnTo>
                  <a:close/>
                  <a:moveTo>
                    <a:pt x="107" y="100"/>
                  </a:moveTo>
                  <a:lnTo>
                    <a:pt x="104" y="99"/>
                  </a:lnTo>
                  <a:lnTo>
                    <a:pt x="103" y="97"/>
                  </a:lnTo>
                  <a:lnTo>
                    <a:pt x="102" y="96"/>
                  </a:lnTo>
                  <a:lnTo>
                    <a:pt x="101" y="95"/>
                  </a:lnTo>
                  <a:lnTo>
                    <a:pt x="102" y="94"/>
                  </a:lnTo>
                  <a:lnTo>
                    <a:pt x="102" y="91"/>
                  </a:lnTo>
                  <a:lnTo>
                    <a:pt x="98" y="89"/>
                  </a:lnTo>
                  <a:lnTo>
                    <a:pt x="95" y="86"/>
                  </a:lnTo>
                  <a:lnTo>
                    <a:pt x="93" y="83"/>
                  </a:lnTo>
                  <a:lnTo>
                    <a:pt x="96" y="83"/>
                  </a:lnTo>
                  <a:lnTo>
                    <a:pt x="102" y="82"/>
                  </a:lnTo>
                  <a:lnTo>
                    <a:pt x="105" y="82"/>
                  </a:lnTo>
                  <a:lnTo>
                    <a:pt x="106" y="85"/>
                  </a:lnTo>
                  <a:lnTo>
                    <a:pt x="107" y="90"/>
                  </a:lnTo>
                  <a:lnTo>
                    <a:pt x="107" y="95"/>
                  </a:lnTo>
                  <a:lnTo>
                    <a:pt x="109" y="99"/>
                  </a:lnTo>
                  <a:lnTo>
                    <a:pt x="108" y="100"/>
                  </a:lnTo>
                  <a:lnTo>
                    <a:pt x="107" y="100"/>
                  </a:lnTo>
                  <a:close/>
                  <a:moveTo>
                    <a:pt x="52" y="86"/>
                  </a:moveTo>
                  <a:lnTo>
                    <a:pt x="50" y="84"/>
                  </a:lnTo>
                  <a:lnTo>
                    <a:pt x="47" y="82"/>
                  </a:lnTo>
                  <a:lnTo>
                    <a:pt x="47" y="80"/>
                  </a:lnTo>
                  <a:lnTo>
                    <a:pt x="45" y="73"/>
                  </a:lnTo>
                  <a:lnTo>
                    <a:pt x="42" y="70"/>
                  </a:lnTo>
                  <a:lnTo>
                    <a:pt x="46" y="70"/>
                  </a:lnTo>
                  <a:lnTo>
                    <a:pt x="51" y="70"/>
                  </a:lnTo>
                  <a:lnTo>
                    <a:pt x="53" y="71"/>
                  </a:lnTo>
                  <a:lnTo>
                    <a:pt x="55" y="74"/>
                  </a:lnTo>
                  <a:lnTo>
                    <a:pt x="55" y="79"/>
                  </a:lnTo>
                  <a:lnTo>
                    <a:pt x="54" y="82"/>
                  </a:lnTo>
                  <a:lnTo>
                    <a:pt x="53" y="83"/>
                  </a:lnTo>
                  <a:lnTo>
                    <a:pt x="52" y="8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3" name="Freeform 167">
              <a:extLst>
                <a:ext uri="{FF2B5EF4-FFF2-40B4-BE49-F238E27FC236}">
                  <a16:creationId xmlns:a16="http://schemas.microsoft.com/office/drawing/2014/main" id="{355869E6-7EA3-FCBB-C4D7-2EEF3906B661}"/>
                </a:ext>
              </a:extLst>
            </p:cNvPr>
            <p:cNvSpPr>
              <a:spLocks noEditPoints="1"/>
            </p:cNvSpPr>
            <p:nvPr/>
          </p:nvSpPr>
          <p:spPr bwMode="auto">
            <a:xfrm>
              <a:off x="7629109" y="5465763"/>
              <a:ext cx="839788" cy="782638"/>
            </a:xfrm>
            <a:custGeom>
              <a:avLst/>
              <a:gdLst/>
              <a:ahLst/>
              <a:cxnLst>
                <a:cxn ang="0">
                  <a:pos x="425" y="473"/>
                </a:cxn>
                <a:cxn ang="0">
                  <a:pos x="429" y="448"/>
                </a:cxn>
                <a:cxn ang="0">
                  <a:pos x="460" y="447"/>
                </a:cxn>
                <a:cxn ang="0">
                  <a:pos x="440" y="493"/>
                </a:cxn>
                <a:cxn ang="0">
                  <a:pos x="395" y="24"/>
                </a:cxn>
                <a:cxn ang="0">
                  <a:pos x="411" y="50"/>
                </a:cxn>
                <a:cxn ang="0">
                  <a:pos x="429" y="85"/>
                </a:cxn>
                <a:cxn ang="0">
                  <a:pos x="451" y="121"/>
                </a:cxn>
                <a:cxn ang="0">
                  <a:pos x="475" y="150"/>
                </a:cxn>
                <a:cxn ang="0">
                  <a:pos x="493" y="163"/>
                </a:cxn>
                <a:cxn ang="0">
                  <a:pos x="514" y="195"/>
                </a:cxn>
                <a:cxn ang="0">
                  <a:pos x="521" y="228"/>
                </a:cxn>
                <a:cxn ang="0">
                  <a:pos x="520" y="295"/>
                </a:cxn>
                <a:cxn ang="0">
                  <a:pos x="494" y="341"/>
                </a:cxn>
                <a:cxn ang="0">
                  <a:pos x="481" y="388"/>
                </a:cxn>
                <a:cxn ang="0">
                  <a:pos x="441" y="408"/>
                </a:cxn>
                <a:cxn ang="0">
                  <a:pos x="421" y="398"/>
                </a:cxn>
                <a:cxn ang="0">
                  <a:pos x="392" y="409"/>
                </a:cxn>
                <a:cxn ang="0">
                  <a:pos x="355" y="391"/>
                </a:cxn>
                <a:cxn ang="0">
                  <a:pos x="336" y="358"/>
                </a:cxn>
                <a:cxn ang="0">
                  <a:pos x="327" y="335"/>
                </a:cxn>
                <a:cxn ang="0">
                  <a:pos x="314" y="347"/>
                </a:cxn>
                <a:cxn ang="0">
                  <a:pos x="327" y="321"/>
                </a:cxn>
                <a:cxn ang="0">
                  <a:pos x="316" y="326"/>
                </a:cxn>
                <a:cxn ang="0">
                  <a:pos x="289" y="330"/>
                </a:cxn>
                <a:cxn ang="0">
                  <a:pos x="275" y="307"/>
                </a:cxn>
                <a:cxn ang="0">
                  <a:pos x="244" y="296"/>
                </a:cxn>
                <a:cxn ang="0">
                  <a:pos x="192" y="302"/>
                </a:cxn>
                <a:cxn ang="0">
                  <a:pos x="146" y="316"/>
                </a:cxn>
                <a:cxn ang="0">
                  <a:pos x="109" y="329"/>
                </a:cxn>
                <a:cxn ang="0">
                  <a:pos x="70" y="344"/>
                </a:cxn>
                <a:cxn ang="0">
                  <a:pos x="27" y="337"/>
                </a:cxn>
                <a:cxn ang="0">
                  <a:pos x="34" y="297"/>
                </a:cxn>
                <a:cxn ang="0">
                  <a:pos x="12" y="239"/>
                </a:cxn>
                <a:cxn ang="0">
                  <a:pos x="5" y="217"/>
                </a:cxn>
                <a:cxn ang="0">
                  <a:pos x="13" y="213"/>
                </a:cxn>
                <a:cxn ang="0">
                  <a:pos x="9" y="172"/>
                </a:cxn>
                <a:cxn ang="0">
                  <a:pos x="16" y="160"/>
                </a:cxn>
                <a:cxn ang="0">
                  <a:pos x="49" y="134"/>
                </a:cxn>
                <a:cxn ang="0">
                  <a:pos x="77" y="124"/>
                </a:cxn>
                <a:cxn ang="0">
                  <a:pos x="112" y="106"/>
                </a:cxn>
                <a:cxn ang="0">
                  <a:pos x="130" y="80"/>
                </a:cxn>
                <a:cxn ang="0">
                  <a:pos x="137" y="78"/>
                </a:cxn>
                <a:cxn ang="0">
                  <a:pos x="148" y="69"/>
                </a:cxn>
                <a:cxn ang="0">
                  <a:pos x="158" y="52"/>
                </a:cxn>
                <a:cxn ang="0">
                  <a:pos x="180" y="38"/>
                </a:cxn>
                <a:cxn ang="0">
                  <a:pos x="200" y="54"/>
                </a:cxn>
                <a:cxn ang="0">
                  <a:pos x="214" y="48"/>
                </a:cxn>
                <a:cxn ang="0">
                  <a:pos x="224" y="32"/>
                </a:cxn>
                <a:cxn ang="0">
                  <a:pos x="242" y="20"/>
                </a:cxn>
                <a:cxn ang="0">
                  <a:pos x="249" y="8"/>
                </a:cxn>
                <a:cxn ang="0">
                  <a:pos x="268" y="14"/>
                </a:cxn>
                <a:cxn ang="0">
                  <a:pos x="299" y="19"/>
                </a:cxn>
                <a:cxn ang="0">
                  <a:pos x="307" y="27"/>
                </a:cxn>
                <a:cxn ang="0">
                  <a:pos x="293" y="51"/>
                </a:cxn>
                <a:cxn ang="0">
                  <a:pos x="319" y="71"/>
                </a:cxn>
                <a:cxn ang="0">
                  <a:pos x="345" y="90"/>
                </a:cxn>
                <a:cxn ang="0">
                  <a:pos x="372" y="62"/>
                </a:cxn>
                <a:cxn ang="0">
                  <a:pos x="373" y="29"/>
                </a:cxn>
                <a:cxn ang="0">
                  <a:pos x="383" y="0"/>
                </a:cxn>
              </a:cxnLst>
              <a:rect l="0" t="0" r="r" b="b"/>
              <a:pathLst>
                <a:path w="529" h="493">
                  <a:moveTo>
                    <a:pt x="440" y="493"/>
                  </a:moveTo>
                  <a:lnTo>
                    <a:pt x="437" y="491"/>
                  </a:lnTo>
                  <a:lnTo>
                    <a:pt x="430" y="487"/>
                  </a:lnTo>
                  <a:lnTo>
                    <a:pt x="427" y="484"/>
                  </a:lnTo>
                  <a:lnTo>
                    <a:pt x="424" y="479"/>
                  </a:lnTo>
                  <a:lnTo>
                    <a:pt x="421" y="474"/>
                  </a:lnTo>
                  <a:lnTo>
                    <a:pt x="420" y="471"/>
                  </a:lnTo>
                  <a:lnTo>
                    <a:pt x="421" y="470"/>
                  </a:lnTo>
                  <a:lnTo>
                    <a:pt x="422" y="471"/>
                  </a:lnTo>
                  <a:lnTo>
                    <a:pt x="425" y="473"/>
                  </a:lnTo>
                  <a:lnTo>
                    <a:pt x="425" y="472"/>
                  </a:lnTo>
                  <a:lnTo>
                    <a:pt x="424" y="469"/>
                  </a:lnTo>
                  <a:lnTo>
                    <a:pt x="420" y="463"/>
                  </a:lnTo>
                  <a:lnTo>
                    <a:pt x="417" y="457"/>
                  </a:lnTo>
                  <a:lnTo>
                    <a:pt x="416" y="455"/>
                  </a:lnTo>
                  <a:lnTo>
                    <a:pt x="413" y="448"/>
                  </a:lnTo>
                  <a:lnTo>
                    <a:pt x="413" y="443"/>
                  </a:lnTo>
                  <a:lnTo>
                    <a:pt x="415" y="442"/>
                  </a:lnTo>
                  <a:lnTo>
                    <a:pt x="421" y="445"/>
                  </a:lnTo>
                  <a:lnTo>
                    <a:pt x="429" y="448"/>
                  </a:lnTo>
                  <a:lnTo>
                    <a:pt x="436" y="450"/>
                  </a:lnTo>
                  <a:lnTo>
                    <a:pt x="440" y="450"/>
                  </a:lnTo>
                  <a:lnTo>
                    <a:pt x="443" y="449"/>
                  </a:lnTo>
                  <a:lnTo>
                    <a:pt x="445" y="448"/>
                  </a:lnTo>
                  <a:lnTo>
                    <a:pt x="447" y="448"/>
                  </a:lnTo>
                  <a:lnTo>
                    <a:pt x="451" y="448"/>
                  </a:lnTo>
                  <a:lnTo>
                    <a:pt x="453" y="445"/>
                  </a:lnTo>
                  <a:lnTo>
                    <a:pt x="457" y="443"/>
                  </a:lnTo>
                  <a:lnTo>
                    <a:pt x="460" y="446"/>
                  </a:lnTo>
                  <a:lnTo>
                    <a:pt x="460" y="447"/>
                  </a:lnTo>
                  <a:lnTo>
                    <a:pt x="461" y="454"/>
                  </a:lnTo>
                  <a:lnTo>
                    <a:pt x="461" y="459"/>
                  </a:lnTo>
                  <a:lnTo>
                    <a:pt x="457" y="471"/>
                  </a:lnTo>
                  <a:lnTo>
                    <a:pt x="456" y="477"/>
                  </a:lnTo>
                  <a:lnTo>
                    <a:pt x="454" y="479"/>
                  </a:lnTo>
                  <a:lnTo>
                    <a:pt x="449" y="482"/>
                  </a:lnTo>
                  <a:lnTo>
                    <a:pt x="445" y="485"/>
                  </a:lnTo>
                  <a:lnTo>
                    <a:pt x="443" y="490"/>
                  </a:lnTo>
                  <a:lnTo>
                    <a:pt x="442" y="493"/>
                  </a:lnTo>
                  <a:lnTo>
                    <a:pt x="440" y="493"/>
                  </a:lnTo>
                  <a:close/>
                  <a:moveTo>
                    <a:pt x="383" y="0"/>
                  </a:moveTo>
                  <a:lnTo>
                    <a:pt x="387" y="2"/>
                  </a:lnTo>
                  <a:lnTo>
                    <a:pt x="388" y="5"/>
                  </a:lnTo>
                  <a:lnTo>
                    <a:pt x="388" y="10"/>
                  </a:lnTo>
                  <a:lnTo>
                    <a:pt x="389" y="14"/>
                  </a:lnTo>
                  <a:lnTo>
                    <a:pt x="391" y="15"/>
                  </a:lnTo>
                  <a:lnTo>
                    <a:pt x="393" y="15"/>
                  </a:lnTo>
                  <a:lnTo>
                    <a:pt x="394" y="16"/>
                  </a:lnTo>
                  <a:lnTo>
                    <a:pt x="391" y="22"/>
                  </a:lnTo>
                  <a:lnTo>
                    <a:pt x="395" y="24"/>
                  </a:lnTo>
                  <a:lnTo>
                    <a:pt x="396" y="26"/>
                  </a:lnTo>
                  <a:lnTo>
                    <a:pt x="397" y="29"/>
                  </a:lnTo>
                  <a:lnTo>
                    <a:pt x="398" y="37"/>
                  </a:lnTo>
                  <a:lnTo>
                    <a:pt x="398" y="41"/>
                  </a:lnTo>
                  <a:lnTo>
                    <a:pt x="401" y="48"/>
                  </a:lnTo>
                  <a:lnTo>
                    <a:pt x="403" y="49"/>
                  </a:lnTo>
                  <a:lnTo>
                    <a:pt x="405" y="49"/>
                  </a:lnTo>
                  <a:lnTo>
                    <a:pt x="407" y="47"/>
                  </a:lnTo>
                  <a:lnTo>
                    <a:pt x="409" y="46"/>
                  </a:lnTo>
                  <a:lnTo>
                    <a:pt x="411" y="50"/>
                  </a:lnTo>
                  <a:lnTo>
                    <a:pt x="413" y="51"/>
                  </a:lnTo>
                  <a:lnTo>
                    <a:pt x="417" y="54"/>
                  </a:lnTo>
                  <a:lnTo>
                    <a:pt x="419" y="55"/>
                  </a:lnTo>
                  <a:lnTo>
                    <a:pt x="420" y="56"/>
                  </a:lnTo>
                  <a:lnTo>
                    <a:pt x="420" y="58"/>
                  </a:lnTo>
                  <a:lnTo>
                    <a:pt x="420" y="64"/>
                  </a:lnTo>
                  <a:lnTo>
                    <a:pt x="422" y="69"/>
                  </a:lnTo>
                  <a:lnTo>
                    <a:pt x="422" y="75"/>
                  </a:lnTo>
                  <a:lnTo>
                    <a:pt x="423" y="77"/>
                  </a:lnTo>
                  <a:lnTo>
                    <a:pt x="429" y="85"/>
                  </a:lnTo>
                  <a:lnTo>
                    <a:pt x="430" y="89"/>
                  </a:lnTo>
                  <a:lnTo>
                    <a:pt x="431" y="94"/>
                  </a:lnTo>
                  <a:lnTo>
                    <a:pt x="430" y="99"/>
                  </a:lnTo>
                  <a:lnTo>
                    <a:pt x="432" y="103"/>
                  </a:lnTo>
                  <a:lnTo>
                    <a:pt x="434" y="109"/>
                  </a:lnTo>
                  <a:lnTo>
                    <a:pt x="435" y="111"/>
                  </a:lnTo>
                  <a:lnTo>
                    <a:pt x="443" y="116"/>
                  </a:lnTo>
                  <a:lnTo>
                    <a:pt x="445" y="117"/>
                  </a:lnTo>
                  <a:lnTo>
                    <a:pt x="449" y="118"/>
                  </a:lnTo>
                  <a:lnTo>
                    <a:pt x="451" y="121"/>
                  </a:lnTo>
                  <a:lnTo>
                    <a:pt x="456" y="125"/>
                  </a:lnTo>
                  <a:lnTo>
                    <a:pt x="459" y="126"/>
                  </a:lnTo>
                  <a:lnTo>
                    <a:pt x="466" y="126"/>
                  </a:lnTo>
                  <a:lnTo>
                    <a:pt x="467" y="128"/>
                  </a:lnTo>
                  <a:lnTo>
                    <a:pt x="466" y="129"/>
                  </a:lnTo>
                  <a:lnTo>
                    <a:pt x="464" y="133"/>
                  </a:lnTo>
                  <a:lnTo>
                    <a:pt x="466" y="135"/>
                  </a:lnTo>
                  <a:lnTo>
                    <a:pt x="471" y="138"/>
                  </a:lnTo>
                  <a:lnTo>
                    <a:pt x="472" y="142"/>
                  </a:lnTo>
                  <a:lnTo>
                    <a:pt x="475" y="150"/>
                  </a:lnTo>
                  <a:lnTo>
                    <a:pt x="476" y="155"/>
                  </a:lnTo>
                  <a:lnTo>
                    <a:pt x="477" y="158"/>
                  </a:lnTo>
                  <a:lnTo>
                    <a:pt x="478" y="160"/>
                  </a:lnTo>
                  <a:lnTo>
                    <a:pt x="483" y="162"/>
                  </a:lnTo>
                  <a:lnTo>
                    <a:pt x="483" y="161"/>
                  </a:lnTo>
                  <a:lnTo>
                    <a:pt x="482" y="156"/>
                  </a:lnTo>
                  <a:lnTo>
                    <a:pt x="487" y="159"/>
                  </a:lnTo>
                  <a:lnTo>
                    <a:pt x="491" y="160"/>
                  </a:lnTo>
                  <a:lnTo>
                    <a:pt x="492" y="161"/>
                  </a:lnTo>
                  <a:lnTo>
                    <a:pt x="493" y="163"/>
                  </a:lnTo>
                  <a:lnTo>
                    <a:pt x="493" y="174"/>
                  </a:lnTo>
                  <a:lnTo>
                    <a:pt x="499" y="179"/>
                  </a:lnTo>
                  <a:lnTo>
                    <a:pt x="502" y="181"/>
                  </a:lnTo>
                  <a:lnTo>
                    <a:pt x="505" y="182"/>
                  </a:lnTo>
                  <a:lnTo>
                    <a:pt x="507" y="184"/>
                  </a:lnTo>
                  <a:lnTo>
                    <a:pt x="509" y="188"/>
                  </a:lnTo>
                  <a:lnTo>
                    <a:pt x="510" y="190"/>
                  </a:lnTo>
                  <a:lnTo>
                    <a:pt x="513" y="191"/>
                  </a:lnTo>
                  <a:lnTo>
                    <a:pt x="514" y="194"/>
                  </a:lnTo>
                  <a:lnTo>
                    <a:pt x="514" y="195"/>
                  </a:lnTo>
                  <a:lnTo>
                    <a:pt x="515" y="199"/>
                  </a:lnTo>
                  <a:lnTo>
                    <a:pt x="516" y="199"/>
                  </a:lnTo>
                  <a:lnTo>
                    <a:pt x="519" y="200"/>
                  </a:lnTo>
                  <a:lnTo>
                    <a:pt x="520" y="201"/>
                  </a:lnTo>
                  <a:lnTo>
                    <a:pt x="521" y="203"/>
                  </a:lnTo>
                  <a:lnTo>
                    <a:pt x="523" y="212"/>
                  </a:lnTo>
                  <a:lnTo>
                    <a:pt x="523" y="218"/>
                  </a:lnTo>
                  <a:lnTo>
                    <a:pt x="523" y="223"/>
                  </a:lnTo>
                  <a:lnTo>
                    <a:pt x="522" y="226"/>
                  </a:lnTo>
                  <a:lnTo>
                    <a:pt x="521" y="228"/>
                  </a:lnTo>
                  <a:lnTo>
                    <a:pt x="526" y="237"/>
                  </a:lnTo>
                  <a:lnTo>
                    <a:pt x="527" y="240"/>
                  </a:lnTo>
                  <a:lnTo>
                    <a:pt x="528" y="245"/>
                  </a:lnTo>
                  <a:lnTo>
                    <a:pt x="529" y="251"/>
                  </a:lnTo>
                  <a:lnTo>
                    <a:pt x="527" y="255"/>
                  </a:lnTo>
                  <a:lnTo>
                    <a:pt x="525" y="266"/>
                  </a:lnTo>
                  <a:lnTo>
                    <a:pt x="521" y="278"/>
                  </a:lnTo>
                  <a:lnTo>
                    <a:pt x="522" y="284"/>
                  </a:lnTo>
                  <a:lnTo>
                    <a:pt x="521" y="289"/>
                  </a:lnTo>
                  <a:lnTo>
                    <a:pt x="520" y="295"/>
                  </a:lnTo>
                  <a:lnTo>
                    <a:pt x="516" y="302"/>
                  </a:lnTo>
                  <a:lnTo>
                    <a:pt x="515" y="306"/>
                  </a:lnTo>
                  <a:lnTo>
                    <a:pt x="511" y="312"/>
                  </a:lnTo>
                  <a:lnTo>
                    <a:pt x="509" y="313"/>
                  </a:lnTo>
                  <a:lnTo>
                    <a:pt x="506" y="314"/>
                  </a:lnTo>
                  <a:lnTo>
                    <a:pt x="503" y="317"/>
                  </a:lnTo>
                  <a:lnTo>
                    <a:pt x="500" y="322"/>
                  </a:lnTo>
                  <a:lnTo>
                    <a:pt x="499" y="333"/>
                  </a:lnTo>
                  <a:lnTo>
                    <a:pt x="496" y="337"/>
                  </a:lnTo>
                  <a:lnTo>
                    <a:pt x="494" y="341"/>
                  </a:lnTo>
                  <a:lnTo>
                    <a:pt x="494" y="346"/>
                  </a:lnTo>
                  <a:lnTo>
                    <a:pt x="493" y="349"/>
                  </a:lnTo>
                  <a:lnTo>
                    <a:pt x="491" y="352"/>
                  </a:lnTo>
                  <a:lnTo>
                    <a:pt x="487" y="354"/>
                  </a:lnTo>
                  <a:lnTo>
                    <a:pt x="486" y="356"/>
                  </a:lnTo>
                  <a:lnTo>
                    <a:pt x="484" y="364"/>
                  </a:lnTo>
                  <a:lnTo>
                    <a:pt x="483" y="371"/>
                  </a:lnTo>
                  <a:lnTo>
                    <a:pt x="482" y="379"/>
                  </a:lnTo>
                  <a:lnTo>
                    <a:pt x="482" y="383"/>
                  </a:lnTo>
                  <a:lnTo>
                    <a:pt x="481" y="388"/>
                  </a:lnTo>
                  <a:lnTo>
                    <a:pt x="479" y="391"/>
                  </a:lnTo>
                  <a:lnTo>
                    <a:pt x="476" y="393"/>
                  </a:lnTo>
                  <a:lnTo>
                    <a:pt x="472" y="394"/>
                  </a:lnTo>
                  <a:lnTo>
                    <a:pt x="465" y="394"/>
                  </a:lnTo>
                  <a:lnTo>
                    <a:pt x="460" y="395"/>
                  </a:lnTo>
                  <a:lnTo>
                    <a:pt x="457" y="396"/>
                  </a:lnTo>
                  <a:lnTo>
                    <a:pt x="454" y="398"/>
                  </a:lnTo>
                  <a:lnTo>
                    <a:pt x="445" y="405"/>
                  </a:lnTo>
                  <a:lnTo>
                    <a:pt x="443" y="406"/>
                  </a:lnTo>
                  <a:lnTo>
                    <a:pt x="441" y="408"/>
                  </a:lnTo>
                  <a:lnTo>
                    <a:pt x="439" y="409"/>
                  </a:lnTo>
                  <a:lnTo>
                    <a:pt x="436" y="409"/>
                  </a:lnTo>
                  <a:lnTo>
                    <a:pt x="434" y="409"/>
                  </a:lnTo>
                  <a:lnTo>
                    <a:pt x="436" y="412"/>
                  </a:lnTo>
                  <a:lnTo>
                    <a:pt x="437" y="414"/>
                  </a:lnTo>
                  <a:lnTo>
                    <a:pt x="430" y="409"/>
                  </a:lnTo>
                  <a:lnTo>
                    <a:pt x="424" y="406"/>
                  </a:lnTo>
                  <a:lnTo>
                    <a:pt x="424" y="403"/>
                  </a:lnTo>
                  <a:lnTo>
                    <a:pt x="424" y="401"/>
                  </a:lnTo>
                  <a:lnTo>
                    <a:pt x="421" y="398"/>
                  </a:lnTo>
                  <a:lnTo>
                    <a:pt x="417" y="395"/>
                  </a:lnTo>
                  <a:lnTo>
                    <a:pt x="415" y="395"/>
                  </a:lnTo>
                  <a:lnTo>
                    <a:pt x="412" y="397"/>
                  </a:lnTo>
                  <a:lnTo>
                    <a:pt x="410" y="398"/>
                  </a:lnTo>
                  <a:lnTo>
                    <a:pt x="414" y="402"/>
                  </a:lnTo>
                  <a:lnTo>
                    <a:pt x="409" y="404"/>
                  </a:lnTo>
                  <a:lnTo>
                    <a:pt x="403" y="407"/>
                  </a:lnTo>
                  <a:lnTo>
                    <a:pt x="397" y="410"/>
                  </a:lnTo>
                  <a:lnTo>
                    <a:pt x="396" y="410"/>
                  </a:lnTo>
                  <a:lnTo>
                    <a:pt x="392" y="409"/>
                  </a:lnTo>
                  <a:lnTo>
                    <a:pt x="387" y="405"/>
                  </a:lnTo>
                  <a:lnTo>
                    <a:pt x="383" y="404"/>
                  </a:lnTo>
                  <a:lnTo>
                    <a:pt x="377" y="401"/>
                  </a:lnTo>
                  <a:lnTo>
                    <a:pt x="374" y="401"/>
                  </a:lnTo>
                  <a:lnTo>
                    <a:pt x="373" y="402"/>
                  </a:lnTo>
                  <a:lnTo>
                    <a:pt x="372" y="403"/>
                  </a:lnTo>
                  <a:lnTo>
                    <a:pt x="368" y="402"/>
                  </a:lnTo>
                  <a:lnTo>
                    <a:pt x="364" y="399"/>
                  </a:lnTo>
                  <a:lnTo>
                    <a:pt x="361" y="397"/>
                  </a:lnTo>
                  <a:lnTo>
                    <a:pt x="355" y="391"/>
                  </a:lnTo>
                  <a:lnTo>
                    <a:pt x="352" y="388"/>
                  </a:lnTo>
                  <a:lnTo>
                    <a:pt x="350" y="382"/>
                  </a:lnTo>
                  <a:lnTo>
                    <a:pt x="350" y="374"/>
                  </a:lnTo>
                  <a:lnTo>
                    <a:pt x="350" y="371"/>
                  </a:lnTo>
                  <a:lnTo>
                    <a:pt x="349" y="367"/>
                  </a:lnTo>
                  <a:lnTo>
                    <a:pt x="345" y="362"/>
                  </a:lnTo>
                  <a:lnTo>
                    <a:pt x="344" y="358"/>
                  </a:lnTo>
                  <a:lnTo>
                    <a:pt x="344" y="355"/>
                  </a:lnTo>
                  <a:lnTo>
                    <a:pt x="341" y="355"/>
                  </a:lnTo>
                  <a:lnTo>
                    <a:pt x="336" y="358"/>
                  </a:lnTo>
                  <a:lnTo>
                    <a:pt x="332" y="359"/>
                  </a:lnTo>
                  <a:lnTo>
                    <a:pt x="331" y="359"/>
                  </a:lnTo>
                  <a:lnTo>
                    <a:pt x="329" y="359"/>
                  </a:lnTo>
                  <a:lnTo>
                    <a:pt x="329" y="358"/>
                  </a:lnTo>
                  <a:lnTo>
                    <a:pt x="332" y="354"/>
                  </a:lnTo>
                  <a:lnTo>
                    <a:pt x="333" y="350"/>
                  </a:lnTo>
                  <a:lnTo>
                    <a:pt x="334" y="344"/>
                  </a:lnTo>
                  <a:lnTo>
                    <a:pt x="332" y="342"/>
                  </a:lnTo>
                  <a:lnTo>
                    <a:pt x="329" y="338"/>
                  </a:lnTo>
                  <a:lnTo>
                    <a:pt x="327" y="335"/>
                  </a:lnTo>
                  <a:lnTo>
                    <a:pt x="325" y="340"/>
                  </a:lnTo>
                  <a:lnTo>
                    <a:pt x="322" y="351"/>
                  </a:lnTo>
                  <a:lnTo>
                    <a:pt x="321" y="352"/>
                  </a:lnTo>
                  <a:lnTo>
                    <a:pt x="316" y="352"/>
                  </a:lnTo>
                  <a:lnTo>
                    <a:pt x="315" y="353"/>
                  </a:lnTo>
                  <a:lnTo>
                    <a:pt x="314" y="353"/>
                  </a:lnTo>
                  <a:lnTo>
                    <a:pt x="312" y="353"/>
                  </a:lnTo>
                  <a:lnTo>
                    <a:pt x="313" y="350"/>
                  </a:lnTo>
                  <a:lnTo>
                    <a:pt x="314" y="347"/>
                  </a:lnTo>
                  <a:lnTo>
                    <a:pt x="314" y="347"/>
                  </a:lnTo>
                  <a:lnTo>
                    <a:pt x="318" y="347"/>
                  </a:lnTo>
                  <a:lnTo>
                    <a:pt x="319" y="346"/>
                  </a:lnTo>
                  <a:lnTo>
                    <a:pt x="320" y="344"/>
                  </a:lnTo>
                  <a:lnTo>
                    <a:pt x="320" y="337"/>
                  </a:lnTo>
                  <a:lnTo>
                    <a:pt x="322" y="331"/>
                  </a:lnTo>
                  <a:lnTo>
                    <a:pt x="324" y="328"/>
                  </a:lnTo>
                  <a:lnTo>
                    <a:pt x="325" y="325"/>
                  </a:lnTo>
                  <a:lnTo>
                    <a:pt x="325" y="322"/>
                  </a:lnTo>
                  <a:lnTo>
                    <a:pt x="326" y="321"/>
                  </a:lnTo>
                  <a:lnTo>
                    <a:pt x="327" y="321"/>
                  </a:lnTo>
                  <a:lnTo>
                    <a:pt x="328" y="319"/>
                  </a:lnTo>
                  <a:lnTo>
                    <a:pt x="328" y="317"/>
                  </a:lnTo>
                  <a:lnTo>
                    <a:pt x="326" y="313"/>
                  </a:lnTo>
                  <a:lnTo>
                    <a:pt x="324" y="310"/>
                  </a:lnTo>
                  <a:lnTo>
                    <a:pt x="324" y="315"/>
                  </a:lnTo>
                  <a:lnTo>
                    <a:pt x="322" y="317"/>
                  </a:lnTo>
                  <a:lnTo>
                    <a:pt x="319" y="319"/>
                  </a:lnTo>
                  <a:lnTo>
                    <a:pt x="317" y="322"/>
                  </a:lnTo>
                  <a:lnTo>
                    <a:pt x="317" y="323"/>
                  </a:lnTo>
                  <a:lnTo>
                    <a:pt x="316" y="326"/>
                  </a:lnTo>
                  <a:lnTo>
                    <a:pt x="314" y="329"/>
                  </a:lnTo>
                  <a:lnTo>
                    <a:pt x="310" y="331"/>
                  </a:lnTo>
                  <a:lnTo>
                    <a:pt x="305" y="334"/>
                  </a:lnTo>
                  <a:lnTo>
                    <a:pt x="301" y="338"/>
                  </a:lnTo>
                  <a:lnTo>
                    <a:pt x="299" y="343"/>
                  </a:lnTo>
                  <a:lnTo>
                    <a:pt x="296" y="349"/>
                  </a:lnTo>
                  <a:lnTo>
                    <a:pt x="294" y="346"/>
                  </a:lnTo>
                  <a:lnTo>
                    <a:pt x="292" y="337"/>
                  </a:lnTo>
                  <a:lnTo>
                    <a:pt x="290" y="333"/>
                  </a:lnTo>
                  <a:lnTo>
                    <a:pt x="289" y="330"/>
                  </a:lnTo>
                  <a:lnTo>
                    <a:pt x="285" y="325"/>
                  </a:lnTo>
                  <a:lnTo>
                    <a:pt x="283" y="320"/>
                  </a:lnTo>
                  <a:lnTo>
                    <a:pt x="282" y="318"/>
                  </a:lnTo>
                  <a:lnTo>
                    <a:pt x="278" y="319"/>
                  </a:lnTo>
                  <a:lnTo>
                    <a:pt x="277" y="318"/>
                  </a:lnTo>
                  <a:lnTo>
                    <a:pt x="276" y="316"/>
                  </a:lnTo>
                  <a:lnTo>
                    <a:pt x="275" y="314"/>
                  </a:lnTo>
                  <a:lnTo>
                    <a:pt x="277" y="312"/>
                  </a:lnTo>
                  <a:lnTo>
                    <a:pt x="277" y="310"/>
                  </a:lnTo>
                  <a:lnTo>
                    <a:pt x="275" y="307"/>
                  </a:lnTo>
                  <a:lnTo>
                    <a:pt x="272" y="304"/>
                  </a:lnTo>
                  <a:lnTo>
                    <a:pt x="270" y="303"/>
                  </a:lnTo>
                  <a:lnTo>
                    <a:pt x="265" y="304"/>
                  </a:lnTo>
                  <a:lnTo>
                    <a:pt x="262" y="304"/>
                  </a:lnTo>
                  <a:lnTo>
                    <a:pt x="257" y="300"/>
                  </a:lnTo>
                  <a:lnTo>
                    <a:pt x="255" y="300"/>
                  </a:lnTo>
                  <a:lnTo>
                    <a:pt x="253" y="301"/>
                  </a:lnTo>
                  <a:lnTo>
                    <a:pt x="250" y="301"/>
                  </a:lnTo>
                  <a:lnTo>
                    <a:pt x="248" y="299"/>
                  </a:lnTo>
                  <a:lnTo>
                    <a:pt x="244" y="296"/>
                  </a:lnTo>
                  <a:lnTo>
                    <a:pt x="238" y="293"/>
                  </a:lnTo>
                  <a:lnTo>
                    <a:pt x="237" y="293"/>
                  </a:lnTo>
                  <a:lnTo>
                    <a:pt x="233" y="294"/>
                  </a:lnTo>
                  <a:lnTo>
                    <a:pt x="225" y="295"/>
                  </a:lnTo>
                  <a:lnTo>
                    <a:pt x="221" y="295"/>
                  </a:lnTo>
                  <a:lnTo>
                    <a:pt x="211" y="295"/>
                  </a:lnTo>
                  <a:lnTo>
                    <a:pt x="207" y="296"/>
                  </a:lnTo>
                  <a:lnTo>
                    <a:pt x="203" y="298"/>
                  </a:lnTo>
                  <a:lnTo>
                    <a:pt x="197" y="301"/>
                  </a:lnTo>
                  <a:lnTo>
                    <a:pt x="192" y="302"/>
                  </a:lnTo>
                  <a:lnTo>
                    <a:pt x="186" y="304"/>
                  </a:lnTo>
                  <a:lnTo>
                    <a:pt x="177" y="305"/>
                  </a:lnTo>
                  <a:lnTo>
                    <a:pt x="172" y="305"/>
                  </a:lnTo>
                  <a:lnTo>
                    <a:pt x="170" y="305"/>
                  </a:lnTo>
                  <a:lnTo>
                    <a:pt x="164" y="307"/>
                  </a:lnTo>
                  <a:lnTo>
                    <a:pt x="159" y="310"/>
                  </a:lnTo>
                  <a:lnTo>
                    <a:pt x="154" y="313"/>
                  </a:lnTo>
                  <a:lnTo>
                    <a:pt x="151" y="314"/>
                  </a:lnTo>
                  <a:lnTo>
                    <a:pt x="148" y="315"/>
                  </a:lnTo>
                  <a:lnTo>
                    <a:pt x="146" y="316"/>
                  </a:lnTo>
                  <a:lnTo>
                    <a:pt x="143" y="321"/>
                  </a:lnTo>
                  <a:lnTo>
                    <a:pt x="138" y="328"/>
                  </a:lnTo>
                  <a:lnTo>
                    <a:pt x="135" y="330"/>
                  </a:lnTo>
                  <a:lnTo>
                    <a:pt x="130" y="330"/>
                  </a:lnTo>
                  <a:lnTo>
                    <a:pt x="127" y="330"/>
                  </a:lnTo>
                  <a:lnTo>
                    <a:pt x="122" y="331"/>
                  </a:lnTo>
                  <a:lnTo>
                    <a:pt x="119" y="332"/>
                  </a:lnTo>
                  <a:lnTo>
                    <a:pt x="115" y="329"/>
                  </a:lnTo>
                  <a:lnTo>
                    <a:pt x="113" y="329"/>
                  </a:lnTo>
                  <a:lnTo>
                    <a:pt x="109" y="329"/>
                  </a:lnTo>
                  <a:lnTo>
                    <a:pt x="100" y="330"/>
                  </a:lnTo>
                  <a:lnTo>
                    <a:pt x="94" y="331"/>
                  </a:lnTo>
                  <a:lnTo>
                    <a:pt x="92" y="331"/>
                  </a:lnTo>
                  <a:lnTo>
                    <a:pt x="88" y="331"/>
                  </a:lnTo>
                  <a:lnTo>
                    <a:pt x="85" y="333"/>
                  </a:lnTo>
                  <a:lnTo>
                    <a:pt x="82" y="339"/>
                  </a:lnTo>
                  <a:lnTo>
                    <a:pt x="80" y="340"/>
                  </a:lnTo>
                  <a:lnTo>
                    <a:pt x="74" y="339"/>
                  </a:lnTo>
                  <a:lnTo>
                    <a:pt x="73" y="339"/>
                  </a:lnTo>
                  <a:lnTo>
                    <a:pt x="70" y="344"/>
                  </a:lnTo>
                  <a:lnTo>
                    <a:pt x="67" y="347"/>
                  </a:lnTo>
                  <a:lnTo>
                    <a:pt x="62" y="349"/>
                  </a:lnTo>
                  <a:lnTo>
                    <a:pt x="59" y="349"/>
                  </a:lnTo>
                  <a:lnTo>
                    <a:pt x="50" y="349"/>
                  </a:lnTo>
                  <a:lnTo>
                    <a:pt x="46" y="349"/>
                  </a:lnTo>
                  <a:lnTo>
                    <a:pt x="42" y="347"/>
                  </a:lnTo>
                  <a:lnTo>
                    <a:pt x="38" y="344"/>
                  </a:lnTo>
                  <a:lnTo>
                    <a:pt x="34" y="340"/>
                  </a:lnTo>
                  <a:lnTo>
                    <a:pt x="29" y="337"/>
                  </a:lnTo>
                  <a:lnTo>
                    <a:pt x="27" y="337"/>
                  </a:lnTo>
                  <a:lnTo>
                    <a:pt x="26" y="336"/>
                  </a:lnTo>
                  <a:lnTo>
                    <a:pt x="25" y="328"/>
                  </a:lnTo>
                  <a:lnTo>
                    <a:pt x="25" y="326"/>
                  </a:lnTo>
                  <a:lnTo>
                    <a:pt x="28" y="326"/>
                  </a:lnTo>
                  <a:lnTo>
                    <a:pt x="31" y="326"/>
                  </a:lnTo>
                  <a:lnTo>
                    <a:pt x="33" y="323"/>
                  </a:lnTo>
                  <a:lnTo>
                    <a:pt x="34" y="320"/>
                  </a:lnTo>
                  <a:lnTo>
                    <a:pt x="35" y="310"/>
                  </a:lnTo>
                  <a:lnTo>
                    <a:pt x="35" y="302"/>
                  </a:lnTo>
                  <a:lnTo>
                    <a:pt x="34" y="297"/>
                  </a:lnTo>
                  <a:lnTo>
                    <a:pt x="33" y="293"/>
                  </a:lnTo>
                  <a:lnTo>
                    <a:pt x="26" y="280"/>
                  </a:lnTo>
                  <a:lnTo>
                    <a:pt x="25" y="276"/>
                  </a:lnTo>
                  <a:lnTo>
                    <a:pt x="24" y="270"/>
                  </a:lnTo>
                  <a:lnTo>
                    <a:pt x="24" y="263"/>
                  </a:lnTo>
                  <a:lnTo>
                    <a:pt x="23" y="259"/>
                  </a:lnTo>
                  <a:lnTo>
                    <a:pt x="21" y="251"/>
                  </a:lnTo>
                  <a:lnTo>
                    <a:pt x="17" y="245"/>
                  </a:lnTo>
                  <a:lnTo>
                    <a:pt x="13" y="240"/>
                  </a:lnTo>
                  <a:lnTo>
                    <a:pt x="12" y="239"/>
                  </a:lnTo>
                  <a:lnTo>
                    <a:pt x="13" y="232"/>
                  </a:lnTo>
                  <a:lnTo>
                    <a:pt x="11" y="229"/>
                  </a:lnTo>
                  <a:lnTo>
                    <a:pt x="7" y="221"/>
                  </a:lnTo>
                  <a:lnTo>
                    <a:pt x="1" y="215"/>
                  </a:lnTo>
                  <a:lnTo>
                    <a:pt x="0" y="211"/>
                  </a:lnTo>
                  <a:lnTo>
                    <a:pt x="1" y="209"/>
                  </a:lnTo>
                  <a:lnTo>
                    <a:pt x="2" y="211"/>
                  </a:lnTo>
                  <a:lnTo>
                    <a:pt x="2" y="214"/>
                  </a:lnTo>
                  <a:lnTo>
                    <a:pt x="4" y="215"/>
                  </a:lnTo>
                  <a:lnTo>
                    <a:pt x="5" y="217"/>
                  </a:lnTo>
                  <a:lnTo>
                    <a:pt x="7" y="218"/>
                  </a:lnTo>
                  <a:lnTo>
                    <a:pt x="9" y="218"/>
                  </a:lnTo>
                  <a:lnTo>
                    <a:pt x="7" y="211"/>
                  </a:lnTo>
                  <a:lnTo>
                    <a:pt x="4" y="208"/>
                  </a:lnTo>
                  <a:lnTo>
                    <a:pt x="3" y="206"/>
                  </a:lnTo>
                  <a:lnTo>
                    <a:pt x="4" y="204"/>
                  </a:lnTo>
                  <a:lnTo>
                    <a:pt x="8" y="210"/>
                  </a:lnTo>
                  <a:lnTo>
                    <a:pt x="11" y="216"/>
                  </a:lnTo>
                  <a:lnTo>
                    <a:pt x="14" y="217"/>
                  </a:lnTo>
                  <a:lnTo>
                    <a:pt x="13" y="213"/>
                  </a:lnTo>
                  <a:lnTo>
                    <a:pt x="15" y="213"/>
                  </a:lnTo>
                  <a:lnTo>
                    <a:pt x="15" y="209"/>
                  </a:lnTo>
                  <a:lnTo>
                    <a:pt x="13" y="206"/>
                  </a:lnTo>
                  <a:lnTo>
                    <a:pt x="7" y="197"/>
                  </a:lnTo>
                  <a:lnTo>
                    <a:pt x="5" y="193"/>
                  </a:lnTo>
                  <a:lnTo>
                    <a:pt x="4" y="189"/>
                  </a:lnTo>
                  <a:lnTo>
                    <a:pt x="4" y="184"/>
                  </a:lnTo>
                  <a:lnTo>
                    <a:pt x="6" y="180"/>
                  </a:lnTo>
                  <a:lnTo>
                    <a:pt x="8" y="177"/>
                  </a:lnTo>
                  <a:lnTo>
                    <a:pt x="9" y="172"/>
                  </a:lnTo>
                  <a:lnTo>
                    <a:pt x="9" y="166"/>
                  </a:lnTo>
                  <a:lnTo>
                    <a:pt x="7" y="162"/>
                  </a:lnTo>
                  <a:lnTo>
                    <a:pt x="8" y="160"/>
                  </a:lnTo>
                  <a:lnTo>
                    <a:pt x="10" y="155"/>
                  </a:lnTo>
                  <a:lnTo>
                    <a:pt x="11" y="153"/>
                  </a:lnTo>
                  <a:lnTo>
                    <a:pt x="11" y="152"/>
                  </a:lnTo>
                  <a:lnTo>
                    <a:pt x="13" y="156"/>
                  </a:lnTo>
                  <a:lnTo>
                    <a:pt x="13" y="159"/>
                  </a:lnTo>
                  <a:lnTo>
                    <a:pt x="13" y="160"/>
                  </a:lnTo>
                  <a:lnTo>
                    <a:pt x="16" y="160"/>
                  </a:lnTo>
                  <a:lnTo>
                    <a:pt x="16" y="160"/>
                  </a:lnTo>
                  <a:lnTo>
                    <a:pt x="17" y="156"/>
                  </a:lnTo>
                  <a:lnTo>
                    <a:pt x="18" y="153"/>
                  </a:lnTo>
                  <a:lnTo>
                    <a:pt x="23" y="150"/>
                  </a:lnTo>
                  <a:lnTo>
                    <a:pt x="30" y="146"/>
                  </a:lnTo>
                  <a:lnTo>
                    <a:pt x="33" y="144"/>
                  </a:lnTo>
                  <a:lnTo>
                    <a:pt x="37" y="140"/>
                  </a:lnTo>
                  <a:lnTo>
                    <a:pt x="40" y="137"/>
                  </a:lnTo>
                  <a:lnTo>
                    <a:pt x="44" y="135"/>
                  </a:lnTo>
                  <a:lnTo>
                    <a:pt x="49" y="134"/>
                  </a:lnTo>
                  <a:lnTo>
                    <a:pt x="53" y="134"/>
                  </a:lnTo>
                  <a:lnTo>
                    <a:pt x="57" y="134"/>
                  </a:lnTo>
                  <a:lnTo>
                    <a:pt x="59" y="134"/>
                  </a:lnTo>
                  <a:lnTo>
                    <a:pt x="61" y="133"/>
                  </a:lnTo>
                  <a:lnTo>
                    <a:pt x="64" y="130"/>
                  </a:lnTo>
                  <a:lnTo>
                    <a:pt x="67" y="129"/>
                  </a:lnTo>
                  <a:lnTo>
                    <a:pt x="73" y="129"/>
                  </a:lnTo>
                  <a:lnTo>
                    <a:pt x="74" y="128"/>
                  </a:lnTo>
                  <a:lnTo>
                    <a:pt x="76" y="124"/>
                  </a:lnTo>
                  <a:lnTo>
                    <a:pt x="77" y="124"/>
                  </a:lnTo>
                  <a:lnTo>
                    <a:pt x="80" y="124"/>
                  </a:lnTo>
                  <a:lnTo>
                    <a:pt x="85" y="125"/>
                  </a:lnTo>
                  <a:lnTo>
                    <a:pt x="88" y="125"/>
                  </a:lnTo>
                  <a:lnTo>
                    <a:pt x="94" y="123"/>
                  </a:lnTo>
                  <a:lnTo>
                    <a:pt x="100" y="120"/>
                  </a:lnTo>
                  <a:lnTo>
                    <a:pt x="102" y="119"/>
                  </a:lnTo>
                  <a:lnTo>
                    <a:pt x="106" y="115"/>
                  </a:lnTo>
                  <a:lnTo>
                    <a:pt x="109" y="111"/>
                  </a:lnTo>
                  <a:lnTo>
                    <a:pt x="110" y="107"/>
                  </a:lnTo>
                  <a:lnTo>
                    <a:pt x="112" y="106"/>
                  </a:lnTo>
                  <a:lnTo>
                    <a:pt x="114" y="103"/>
                  </a:lnTo>
                  <a:lnTo>
                    <a:pt x="119" y="99"/>
                  </a:lnTo>
                  <a:lnTo>
                    <a:pt x="120" y="98"/>
                  </a:lnTo>
                  <a:lnTo>
                    <a:pt x="119" y="95"/>
                  </a:lnTo>
                  <a:lnTo>
                    <a:pt x="118" y="91"/>
                  </a:lnTo>
                  <a:lnTo>
                    <a:pt x="118" y="88"/>
                  </a:lnTo>
                  <a:lnTo>
                    <a:pt x="124" y="81"/>
                  </a:lnTo>
                  <a:lnTo>
                    <a:pt x="127" y="76"/>
                  </a:lnTo>
                  <a:lnTo>
                    <a:pt x="128" y="77"/>
                  </a:lnTo>
                  <a:lnTo>
                    <a:pt x="130" y="80"/>
                  </a:lnTo>
                  <a:lnTo>
                    <a:pt x="134" y="89"/>
                  </a:lnTo>
                  <a:lnTo>
                    <a:pt x="136" y="90"/>
                  </a:lnTo>
                  <a:lnTo>
                    <a:pt x="137" y="86"/>
                  </a:lnTo>
                  <a:lnTo>
                    <a:pt x="137" y="84"/>
                  </a:lnTo>
                  <a:lnTo>
                    <a:pt x="139" y="85"/>
                  </a:lnTo>
                  <a:lnTo>
                    <a:pt x="141" y="86"/>
                  </a:lnTo>
                  <a:lnTo>
                    <a:pt x="142" y="82"/>
                  </a:lnTo>
                  <a:lnTo>
                    <a:pt x="142" y="81"/>
                  </a:lnTo>
                  <a:lnTo>
                    <a:pt x="138" y="79"/>
                  </a:lnTo>
                  <a:lnTo>
                    <a:pt x="137" y="78"/>
                  </a:lnTo>
                  <a:lnTo>
                    <a:pt x="137" y="74"/>
                  </a:lnTo>
                  <a:lnTo>
                    <a:pt x="137" y="74"/>
                  </a:lnTo>
                  <a:lnTo>
                    <a:pt x="143" y="74"/>
                  </a:lnTo>
                  <a:lnTo>
                    <a:pt x="147" y="76"/>
                  </a:lnTo>
                  <a:lnTo>
                    <a:pt x="151" y="76"/>
                  </a:lnTo>
                  <a:lnTo>
                    <a:pt x="152" y="75"/>
                  </a:lnTo>
                  <a:lnTo>
                    <a:pt x="154" y="76"/>
                  </a:lnTo>
                  <a:lnTo>
                    <a:pt x="150" y="73"/>
                  </a:lnTo>
                  <a:lnTo>
                    <a:pt x="148" y="72"/>
                  </a:lnTo>
                  <a:lnTo>
                    <a:pt x="148" y="69"/>
                  </a:lnTo>
                  <a:lnTo>
                    <a:pt x="148" y="67"/>
                  </a:lnTo>
                  <a:lnTo>
                    <a:pt x="149" y="64"/>
                  </a:lnTo>
                  <a:lnTo>
                    <a:pt x="151" y="62"/>
                  </a:lnTo>
                  <a:lnTo>
                    <a:pt x="152" y="61"/>
                  </a:lnTo>
                  <a:lnTo>
                    <a:pt x="156" y="64"/>
                  </a:lnTo>
                  <a:lnTo>
                    <a:pt x="158" y="64"/>
                  </a:lnTo>
                  <a:lnTo>
                    <a:pt x="157" y="61"/>
                  </a:lnTo>
                  <a:lnTo>
                    <a:pt x="158" y="58"/>
                  </a:lnTo>
                  <a:lnTo>
                    <a:pt x="158" y="55"/>
                  </a:lnTo>
                  <a:lnTo>
                    <a:pt x="158" y="52"/>
                  </a:lnTo>
                  <a:lnTo>
                    <a:pt x="160" y="51"/>
                  </a:lnTo>
                  <a:lnTo>
                    <a:pt x="163" y="50"/>
                  </a:lnTo>
                  <a:lnTo>
                    <a:pt x="167" y="51"/>
                  </a:lnTo>
                  <a:lnTo>
                    <a:pt x="170" y="44"/>
                  </a:lnTo>
                  <a:lnTo>
                    <a:pt x="173" y="43"/>
                  </a:lnTo>
                  <a:lnTo>
                    <a:pt x="175" y="43"/>
                  </a:lnTo>
                  <a:lnTo>
                    <a:pt x="176" y="46"/>
                  </a:lnTo>
                  <a:lnTo>
                    <a:pt x="178" y="43"/>
                  </a:lnTo>
                  <a:lnTo>
                    <a:pt x="179" y="41"/>
                  </a:lnTo>
                  <a:lnTo>
                    <a:pt x="180" y="38"/>
                  </a:lnTo>
                  <a:lnTo>
                    <a:pt x="184" y="42"/>
                  </a:lnTo>
                  <a:lnTo>
                    <a:pt x="187" y="43"/>
                  </a:lnTo>
                  <a:lnTo>
                    <a:pt x="189" y="44"/>
                  </a:lnTo>
                  <a:lnTo>
                    <a:pt x="191" y="47"/>
                  </a:lnTo>
                  <a:lnTo>
                    <a:pt x="195" y="51"/>
                  </a:lnTo>
                  <a:lnTo>
                    <a:pt x="196" y="55"/>
                  </a:lnTo>
                  <a:lnTo>
                    <a:pt x="195" y="59"/>
                  </a:lnTo>
                  <a:lnTo>
                    <a:pt x="196" y="60"/>
                  </a:lnTo>
                  <a:lnTo>
                    <a:pt x="198" y="58"/>
                  </a:lnTo>
                  <a:lnTo>
                    <a:pt x="200" y="54"/>
                  </a:lnTo>
                  <a:lnTo>
                    <a:pt x="201" y="53"/>
                  </a:lnTo>
                  <a:lnTo>
                    <a:pt x="208" y="54"/>
                  </a:lnTo>
                  <a:lnTo>
                    <a:pt x="211" y="55"/>
                  </a:lnTo>
                  <a:lnTo>
                    <a:pt x="215" y="58"/>
                  </a:lnTo>
                  <a:lnTo>
                    <a:pt x="217" y="59"/>
                  </a:lnTo>
                  <a:lnTo>
                    <a:pt x="218" y="56"/>
                  </a:lnTo>
                  <a:lnTo>
                    <a:pt x="219" y="54"/>
                  </a:lnTo>
                  <a:lnTo>
                    <a:pt x="220" y="53"/>
                  </a:lnTo>
                  <a:lnTo>
                    <a:pt x="218" y="50"/>
                  </a:lnTo>
                  <a:lnTo>
                    <a:pt x="214" y="48"/>
                  </a:lnTo>
                  <a:lnTo>
                    <a:pt x="214" y="47"/>
                  </a:lnTo>
                  <a:lnTo>
                    <a:pt x="214" y="46"/>
                  </a:lnTo>
                  <a:lnTo>
                    <a:pt x="215" y="45"/>
                  </a:lnTo>
                  <a:lnTo>
                    <a:pt x="218" y="42"/>
                  </a:lnTo>
                  <a:lnTo>
                    <a:pt x="218" y="39"/>
                  </a:lnTo>
                  <a:lnTo>
                    <a:pt x="220" y="38"/>
                  </a:lnTo>
                  <a:lnTo>
                    <a:pt x="223" y="36"/>
                  </a:lnTo>
                  <a:lnTo>
                    <a:pt x="224" y="35"/>
                  </a:lnTo>
                  <a:lnTo>
                    <a:pt x="225" y="33"/>
                  </a:lnTo>
                  <a:lnTo>
                    <a:pt x="224" y="32"/>
                  </a:lnTo>
                  <a:lnTo>
                    <a:pt x="224" y="30"/>
                  </a:lnTo>
                  <a:lnTo>
                    <a:pt x="227" y="25"/>
                  </a:lnTo>
                  <a:lnTo>
                    <a:pt x="228" y="25"/>
                  </a:lnTo>
                  <a:lnTo>
                    <a:pt x="230" y="24"/>
                  </a:lnTo>
                  <a:lnTo>
                    <a:pt x="232" y="24"/>
                  </a:lnTo>
                  <a:lnTo>
                    <a:pt x="234" y="23"/>
                  </a:lnTo>
                  <a:lnTo>
                    <a:pt x="233" y="20"/>
                  </a:lnTo>
                  <a:lnTo>
                    <a:pt x="235" y="18"/>
                  </a:lnTo>
                  <a:lnTo>
                    <a:pt x="237" y="18"/>
                  </a:lnTo>
                  <a:lnTo>
                    <a:pt x="242" y="20"/>
                  </a:lnTo>
                  <a:lnTo>
                    <a:pt x="245" y="20"/>
                  </a:lnTo>
                  <a:lnTo>
                    <a:pt x="253" y="19"/>
                  </a:lnTo>
                  <a:lnTo>
                    <a:pt x="256" y="18"/>
                  </a:lnTo>
                  <a:lnTo>
                    <a:pt x="257" y="17"/>
                  </a:lnTo>
                  <a:lnTo>
                    <a:pt x="257" y="17"/>
                  </a:lnTo>
                  <a:lnTo>
                    <a:pt x="257" y="16"/>
                  </a:lnTo>
                  <a:lnTo>
                    <a:pt x="256" y="11"/>
                  </a:lnTo>
                  <a:lnTo>
                    <a:pt x="254" y="10"/>
                  </a:lnTo>
                  <a:lnTo>
                    <a:pt x="251" y="8"/>
                  </a:lnTo>
                  <a:lnTo>
                    <a:pt x="249" y="8"/>
                  </a:lnTo>
                  <a:lnTo>
                    <a:pt x="248" y="8"/>
                  </a:lnTo>
                  <a:lnTo>
                    <a:pt x="248" y="7"/>
                  </a:lnTo>
                  <a:lnTo>
                    <a:pt x="250" y="5"/>
                  </a:lnTo>
                  <a:lnTo>
                    <a:pt x="253" y="5"/>
                  </a:lnTo>
                  <a:lnTo>
                    <a:pt x="256" y="8"/>
                  </a:lnTo>
                  <a:lnTo>
                    <a:pt x="258" y="9"/>
                  </a:lnTo>
                  <a:lnTo>
                    <a:pt x="260" y="8"/>
                  </a:lnTo>
                  <a:lnTo>
                    <a:pt x="262" y="10"/>
                  </a:lnTo>
                  <a:lnTo>
                    <a:pt x="266" y="13"/>
                  </a:lnTo>
                  <a:lnTo>
                    <a:pt x="268" y="14"/>
                  </a:lnTo>
                  <a:lnTo>
                    <a:pt x="275" y="16"/>
                  </a:lnTo>
                  <a:lnTo>
                    <a:pt x="279" y="16"/>
                  </a:lnTo>
                  <a:lnTo>
                    <a:pt x="281" y="16"/>
                  </a:lnTo>
                  <a:lnTo>
                    <a:pt x="284" y="16"/>
                  </a:lnTo>
                  <a:lnTo>
                    <a:pt x="286" y="19"/>
                  </a:lnTo>
                  <a:lnTo>
                    <a:pt x="289" y="20"/>
                  </a:lnTo>
                  <a:lnTo>
                    <a:pt x="289" y="20"/>
                  </a:lnTo>
                  <a:lnTo>
                    <a:pt x="293" y="17"/>
                  </a:lnTo>
                  <a:lnTo>
                    <a:pt x="295" y="17"/>
                  </a:lnTo>
                  <a:lnTo>
                    <a:pt x="299" y="19"/>
                  </a:lnTo>
                  <a:lnTo>
                    <a:pt x="301" y="22"/>
                  </a:lnTo>
                  <a:lnTo>
                    <a:pt x="304" y="22"/>
                  </a:lnTo>
                  <a:lnTo>
                    <a:pt x="304" y="17"/>
                  </a:lnTo>
                  <a:lnTo>
                    <a:pt x="305" y="16"/>
                  </a:lnTo>
                  <a:lnTo>
                    <a:pt x="308" y="19"/>
                  </a:lnTo>
                  <a:lnTo>
                    <a:pt x="310" y="20"/>
                  </a:lnTo>
                  <a:lnTo>
                    <a:pt x="311" y="20"/>
                  </a:lnTo>
                  <a:lnTo>
                    <a:pt x="308" y="23"/>
                  </a:lnTo>
                  <a:lnTo>
                    <a:pt x="308" y="26"/>
                  </a:lnTo>
                  <a:lnTo>
                    <a:pt x="307" y="27"/>
                  </a:lnTo>
                  <a:lnTo>
                    <a:pt x="307" y="29"/>
                  </a:lnTo>
                  <a:lnTo>
                    <a:pt x="306" y="31"/>
                  </a:lnTo>
                  <a:lnTo>
                    <a:pt x="303" y="31"/>
                  </a:lnTo>
                  <a:lnTo>
                    <a:pt x="300" y="32"/>
                  </a:lnTo>
                  <a:lnTo>
                    <a:pt x="298" y="35"/>
                  </a:lnTo>
                  <a:lnTo>
                    <a:pt x="298" y="38"/>
                  </a:lnTo>
                  <a:lnTo>
                    <a:pt x="299" y="40"/>
                  </a:lnTo>
                  <a:lnTo>
                    <a:pt x="298" y="44"/>
                  </a:lnTo>
                  <a:lnTo>
                    <a:pt x="296" y="48"/>
                  </a:lnTo>
                  <a:lnTo>
                    <a:pt x="293" y="51"/>
                  </a:lnTo>
                  <a:lnTo>
                    <a:pt x="292" y="53"/>
                  </a:lnTo>
                  <a:lnTo>
                    <a:pt x="292" y="55"/>
                  </a:lnTo>
                  <a:lnTo>
                    <a:pt x="295" y="57"/>
                  </a:lnTo>
                  <a:lnTo>
                    <a:pt x="301" y="61"/>
                  </a:lnTo>
                  <a:lnTo>
                    <a:pt x="306" y="65"/>
                  </a:lnTo>
                  <a:lnTo>
                    <a:pt x="309" y="69"/>
                  </a:lnTo>
                  <a:lnTo>
                    <a:pt x="310" y="70"/>
                  </a:lnTo>
                  <a:lnTo>
                    <a:pt x="312" y="69"/>
                  </a:lnTo>
                  <a:lnTo>
                    <a:pt x="314" y="69"/>
                  </a:lnTo>
                  <a:lnTo>
                    <a:pt x="319" y="71"/>
                  </a:lnTo>
                  <a:lnTo>
                    <a:pt x="323" y="74"/>
                  </a:lnTo>
                  <a:lnTo>
                    <a:pt x="325" y="77"/>
                  </a:lnTo>
                  <a:lnTo>
                    <a:pt x="329" y="80"/>
                  </a:lnTo>
                  <a:lnTo>
                    <a:pt x="331" y="81"/>
                  </a:lnTo>
                  <a:lnTo>
                    <a:pt x="334" y="81"/>
                  </a:lnTo>
                  <a:lnTo>
                    <a:pt x="338" y="82"/>
                  </a:lnTo>
                  <a:lnTo>
                    <a:pt x="340" y="83"/>
                  </a:lnTo>
                  <a:lnTo>
                    <a:pt x="341" y="87"/>
                  </a:lnTo>
                  <a:lnTo>
                    <a:pt x="342" y="88"/>
                  </a:lnTo>
                  <a:lnTo>
                    <a:pt x="345" y="90"/>
                  </a:lnTo>
                  <a:lnTo>
                    <a:pt x="350" y="92"/>
                  </a:lnTo>
                  <a:lnTo>
                    <a:pt x="353" y="94"/>
                  </a:lnTo>
                  <a:lnTo>
                    <a:pt x="355" y="93"/>
                  </a:lnTo>
                  <a:lnTo>
                    <a:pt x="358" y="92"/>
                  </a:lnTo>
                  <a:lnTo>
                    <a:pt x="361" y="91"/>
                  </a:lnTo>
                  <a:lnTo>
                    <a:pt x="362" y="90"/>
                  </a:lnTo>
                  <a:lnTo>
                    <a:pt x="367" y="82"/>
                  </a:lnTo>
                  <a:lnTo>
                    <a:pt x="369" y="74"/>
                  </a:lnTo>
                  <a:lnTo>
                    <a:pt x="370" y="67"/>
                  </a:lnTo>
                  <a:lnTo>
                    <a:pt x="372" y="62"/>
                  </a:lnTo>
                  <a:lnTo>
                    <a:pt x="374" y="58"/>
                  </a:lnTo>
                  <a:lnTo>
                    <a:pt x="374" y="55"/>
                  </a:lnTo>
                  <a:lnTo>
                    <a:pt x="371" y="52"/>
                  </a:lnTo>
                  <a:lnTo>
                    <a:pt x="371" y="50"/>
                  </a:lnTo>
                  <a:lnTo>
                    <a:pt x="373" y="46"/>
                  </a:lnTo>
                  <a:lnTo>
                    <a:pt x="374" y="43"/>
                  </a:lnTo>
                  <a:lnTo>
                    <a:pt x="373" y="41"/>
                  </a:lnTo>
                  <a:lnTo>
                    <a:pt x="372" y="39"/>
                  </a:lnTo>
                  <a:lnTo>
                    <a:pt x="373" y="35"/>
                  </a:lnTo>
                  <a:lnTo>
                    <a:pt x="373" y="29"/>
                  </a:lnTo>
                  <a:lnTo>
                    <a:pt x="374" y="27"/>
                  </a:lnTo>
                  <a:lnTo>
                    <a:pt x="376" y="26"/>
                  </a:lnTo>
                  <a:lnTo>
                    <a:pt x="377" y="24"/>
                  </a:lnTo>
                  <a:lnTo>
                    <a:pt x="374" y="21"/>
                  </a:lnTo>
                  <a:lnTo>
                    <a:pt x="374" y="20"/>
                  </a:lnTo>
                  <a:lnTo>
                    <a:pt x="378" y="14"/>
                  </a:lnTo>
                  <a:lnTo>
                    <a:pt x="379" y="8"/>
                  </a:lnTo>
                  <a:lnTo>
                    <a:pt x="380" y="4"/>
                  </a:lnTo>
                  <a:lnTo>
                    <a:pt x="381" y="2"/>
                  </a:lnTo>
                  <a:lnTo>
                    <a:pt x="383"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4" name="Freeform 168">
              <a:extLst>
                <a:ext uri="{FF2B5EF4-FFF2-40B4-BE49-F238E27FC236}">
                  <a16:creationId xmlns:a16="http://schemas.microsoft.com/office/drawing/2014/main" id="{19CA0A03-925F-C445-6EC6-EE103331F1F3}"/>
                </a:ext>
              </a:extLst>
            </p:cNvPr>
            <p:cNvSpPr>
              <a:spLocks noEditPoints="1"/>
            </p:cNvSpPr>
            <p:nvPr/>
          </p:nvSpPr>
          <p:spPr bwMode="auto">
            <a:xfrm>
              <a:off x="8203784" y="5295900"/>
              <a:ext cx="238125" cy="166688"/>
            </a:xfrm>
            <a:custGeom>
              <a:avLst/>
              <a:gdLst/>
              <a:ahLst/>
              <a:cxnLst>
                <a:cxn ang="0">
                  <a:pos x="113" y="45"/>
                </a:cxn>
                <a:cxn ang="0">
                  <a:pos x="106" y="43"/>
                </a:cxn>
                <a:cxn ang="0">
                  <a:pos x="99" y="39"/>
                </a:cxn>
                <a:cxn ang="0">
                  <a:pos x="105" y="37"/>
                </a:cxn>
                <a:cxn ang="0">
                  <a:pos x="116" y="39"/>
                </a:cxn>
                <a:cxn ang="0">
                  <a:pos x="119" y="35"/>
                </a:cxn>
                <a:cxn ang="0">
                  <a:pos x="125" y="39"/>
                </a:cxn>
                <a:cxn ang="0">
                  <a:pos x="135" y="32"/>
                </a:cxn>
                <a:cxn ang="0">
                  <a:pos x="141" y="30"/>
                </a:cxn>
                <a:cxn ang="0">
                  <a:pos x="141" y="21"/>
                </a:cxn>
                <a:cxn ang="0">
                  <a:pos x="148" y="21"/>
                </a:cxn>
                <a:cxn ang="0">
                  <a:pos x="149" y="29"/>
                </a:cxn>
                <a:cxn ang="0">
                  <a:pos x="145" y="32"/>
                </a:cxn>
                <a:cxn ang="0">
                  <a:pos x="146" y="38"/>
                </a:cxn>
                <a:cxn ang="0">
                  <a:pos x="138" y="38"/>
                </a:cxn>
                <a:cxn ang="0">
                  <a:pos x="133" y="43"/>
                </a:cxn>
                <a:cxn ang="0">
                  <a:pos x="120" y="47"/>
                </a:cxn>
                <a:cxn ang="0">
                  <a:pos x="3" y="65"/>
                </a:cxn>
                <a:cxn ang="0">
                  <a:pos x="2" y="47"/>
                </a:cxn>
                <a:cxn ang="0">
                  <a:pos x="22" y="7"/>
                </a:cxn>
                <a:cxn ang="0">
                  <a:pos x="40" y="14"/>
                </a:cxn>
                <a:cxn ang="0">
                  <a:pos x="50" y="16"/>
                </a:cxn>
                <a:cxn ang="0">
                  <a:pos x="56" y="22"/>
                </a:cxn>
                <a:cxn ang="0">
                  <a:pos x="63" y="35"/>
                </a:cxn>
                <a:cxn ang="0">
                  <a:pos x="69" y="38"/>
                </a:cxn>
                <a:cxn ang="0">
                  <a:pos x="87" y="44"/>
                </a:cxn>
                <a:cxn ang="0">
                  <a:pos x="91" y="52"/>
                </a:cxn>
                <a:cxn ang="0">
                  <a:pos x="80" y="54"/>
                </a:cxn>
                <a:cxn ang="0">
                  <a:pos x="84" y="63"/>
                </a:cxn>
                <a:cxn ang="0">
                  <a:pos x="96" y="77"/>
                </a:cxn>
                <a:cxn ang="0">
                  <a:pos x="104" y="84"/>
                </a:cxn>
                <a:cxn ang="0">
                  <a:pos x="111" y="85"/>
                </a:cxn>
                <a:cxn ang="0">
                  <a:pos x="113" y="90"/>
                </a:cxn>
                <a:cxn ang="0">
                  <a:pos x="119" y="92"/>
                </a:cxn>
                <a:cxn ang="0">
                  <a:pos x="117" y="96"/>
                </a:cxn>
                <a:cxn ang="0">
                  <a:pos x="128" y="103"/>
                </a:cxn>
                <a:cxn ang="0">
                  <a:pos x="120" y="104"/>
                </a:cxn>
                <a:cxn ang="0">
                  <a:pos x="112" y="100"/>
                </a:cxn>
                <a:cxn ang="0">
                  <a:pos x="98" y="97"/>
                </a:cxn>
                <a:cxn ang="0">
                  <a:pos x="87" y="94"/>
                </a:cxn>
                <a:cxn ang="0">
                  <a:pos x="80" y="87"/>
                </a:cxn>
                <a:cxn ang="0">
                  <a:pos x="70" y="75"/>
                </a:cxn>
                <a:cxn ang="0">
                  <a:pos x="54" y="67"/>
                </a:cxn>
                <a:cxn ang="0">
                  <a:pos x="45" y="66"/>
                </a:cxn>
                <a:cxn ang="0">
                  <a:pos x="40" y="69"/>
                </a:cxn>
                <a:cxn ang="0">
                  <a:pos x="36" y="70"/>
                </a:cxn>
                <a:cxn ang="0">
                  <a:pos x="35" y="73"/>
                </a:cxn>
                <a:cxn ang="0">
                  <a:pos x="20" y="73"/>
                </a:cxn>
                <a:cxn ang="0">
                  <a:pos x="26" y="75"/>
                </a:cxn>
                <a:cxn ang="0">
                  <a:pos x="34" y="82"/>
                </a:cxn>
                <a:cxn ang="0">
                  <a:pos x="24" y="87"/>
                </a:cxn>
                <a:cxn ang="0">
                  <a:pos x="3" y="85"/>
                </a:cxn>
              </a:cxnLst>
              <a:rect l="0" t="0" r="r" b="b"/>
              <a:pathLst>
                <a:path w="150" h="105">
                  <a:moveTo>
                    <a:pt x="115" y="48"/>
                  </a:moveTo>
                  <a:lnTo>
                    <a:pt x="114" y="46"/>
                  </a:lnTo>
                  <a:lnTo>
                    <a:pt x="113" y="45"/>
                  </a:lnTo>
                  <a:lnTo>
                    <a:pt x="110" y="44"/>
                  </a:lnTo>
                  <a:lnTo>
                    <a:pt x="108" y="45"/>
                  </a:lnTo>
                  <a:lnTo>
                    <a:pt x="106" y="43"/>
                  </a:lnTo>
                  <a:lnTo>
                    <a:pt x="104" y="42"/>
                  </a:lnTo>
                  <a:lnTo>
                    <a:pt x="100" y="41"/>
                  </a:lnTo>
                  <a:lnTo>
                    <a:pt x="99" y="39"/>
                  </a:lnTo>
                  <a:lnTo>
                    <a:pt x="99" y="38"/>
                  </a:lnTo>
                  <a:lnTo>
                    <a:pt x="101" y="38"/>
                  </a:lnTo>
                  <a:lnTo>
                    <a:pt x="105" y="37"/>
                  </a:lnTo>
                  <a:lnTo>
                    <a:pt x="109" y="38"/>
                  </a:lnTo>
                  <a:lnTo>
                    <a:pt x="113" y="39"/>
                  </a:lnTo>
                  <a:lnTo>
                    <a:pt x="116" y="39"/>
                  </a:lnTo>
                  <a:lnTo>
                    <a:pt x="118" y="37"/>
                  </a:lnTo>
                  <a:lnTo>
                    <a:pt x="119" y="34"/>
                  </a:lnTo>
                  <a:lnTo>
                    <a:pt x="119" y="35"/>
                  </a:lnTo>
                  <a:lnTo>
                    <a:pt x="122" y="37"/>
                  </a:lnTo>
                  <a:lnTo>
                    <a:pt x="123" y="38"/>
                  </a:lnTo>
                  <a:lnTo>
                    <a:pt x="125" y="39"/>
                  </a:lnTo>
                  <a:lnTo>
                    <a:pt x="130" y="37"/>
                  </a:lnTo>
                  <a:lnTo>
                    <a:pt x="132" y="36"/>
                  </a:lnTo>
                  <a:lnTo>
                    <a:pt x="135" y="32"/>
                  </a:lnTo>
                  <a:lnTo>
                    <a:pt x="136" y="30"/>
                  </a:lnTo>
                  <a:lnTo>
                    <a:pt x="140" y="30"/>
                  </a:lnTo>
                  <a:lnTo>
                    <a:pt x="141" y="30"/>
                  </a:lnTo>
                  <a:lnTo>
                    <a:pt x="141" y="28"/>
                  </a:lnTo>
                  <a:lnTo>
                    <a:pt x="141" y="24"/>
                  </a:lnTo>
                  <a:lnTo>
                    <a:pt x="141" y="21"/>
                  </a:lnTo>
                  <a:lnTo>
                    <a:pt x="144" y="22"/>
                  </a:lnTo>
                  <a:lnTo>
                    <a:pt x="146" y="23"/>
                  </a:lnTo>
                  <a:lnTo>
                    <a:pt x="148" y="21"/>
                  </a:lnTo>
                  <a:lnTo>
                    <a:pt x="150" y="24"/>
                  </a:lnTo>
                  <a:lnTo>
                    <a:pt x="150" y="26"/>
                  </a:lnTo>
                  <a:lnTo>
                    <a:pt x="149" y="29"/>
                  </a:lnTo>
                  <a:lnTo>
                    <a:pt x="149" y="30"/>
                  </a:lnTo>
                  <a:lnTo>
                    <a:pt x="146" y="30"/>
                  </a:lnTo>
                  <a:lnTo>
                    <a:pt x="145" y="32"/>
                  </a:lnTo>
                  <a:lnTo>
                    <a:pt x="145" y="33"/>
                  </a:lnTo>
                  <a:lnTo>
                    <a:pt x="148" y="36"/>
                  </a:lnTo>
                  <a:lnTo>
                    <a:pt x="146" y="38"/>
                  </a:lnTo>
                  <a:lnTo>
                    <a:pt x="144" y="39"/>
                  </a:lnTo>
                  <a:lnTo>
                    <a:pt x="140" y="38"/>
                  </a:lnTo>
                  <a:lnTo>
                    <a:pt x="138" y="38"/>
                  </a:lnTo>
                  <a:lnTo>
                    <a:pt x="137" y="40"/>
                  </a:lnTo>
                  <a:lnTo>
                    <a:pt x="135" y="42"/>
                  </a:lnTo>
                  <a:lnTo>
                    <a:pt x="133" y="43"/>
                  </a:lnTo>
                  <a:lnTo>
                    <a:pt x="127" y="46"/>
                  </a:lnTo>
                  <a:lnTo>
                    <a:pt x="125" y="47"/>
                  </a:lnTo>
                  <a:lnTo>
                    <a:pt x="120" y="47"/>
                  </a:lnTo>
                  <a:lnTo>
                    <a:pt x="115" y="48"/>
                  </a:lnTo>
                  <a:close/>
                  <a:moveTo>
                    <a:pt x="3" y="85"/>
                  </a:moveTo>
                  <a:lnTo>
                    <a:pt x="3" y="65"/>
                  </a:lnTo>
                  <a:lnTo>
                    <a:pt x="2" y="60"/>
                  </a:lnTo>
                  <a:lnTo>
                    <a:pt x="0" y="52"/>
                  </a:lnTo>
                  <a:lnTo>
                    <a:pt x="2" y="47"/>
                  </a:lnTo>
                  <a:lnTo>
                    <a:pt x="2" y="0"/>
                  </a:lnTo>
                  <a:lnTo>
                    <a:pt x="17" y="5"/>
                  </a:lnTo>
                  <a:lnTo>
                    <a:pt x="22" y="7"/>
                  </a:lnTo>
                  <a:lnTo>
                    <a:pt x="28" y="9"/>
                  </a:lnTo>
                  <a:lnTo>
                    <a:pt x="35" y="11"/>
                  </a:lnTo>
                  <a:lnTo>
                    <a:pt x="40" y="14"/>
                  </a:lnTo>
                  <a:lnTo>
                    <a:pt x="44" y="16"/>
                  </a:lnTo>
                  <a:lnTo>
                    <a:pt x="47" y="16"/>
                  </a:lnTo>
                  <a:lnTo>
                    <a:pt x="50" y="16"/>
                  </a:lnTo>
                  <a:lnTo>
                    <a:pt x="51" y="19"/>
                  </a:lnTo>
                  <a:lnTo>
                    <a:pt x="53" y="21"/>
                  </a:lnTo>
                  <a:lnTo>
                    <a:pt x="56" y="22"/>
                  </a:lnTo>
                  <a:lnTo>
                    <a:pt x="60" y="25"/>
                  </a:lnTo>
                  <a:lnTo>
                    <a:pt x="65" y="29"/>
                  </a:lnTo>
                  <a:lnTo>
                    <a:pt x="63" y="35"/>
                  </a:lnTo>
                  <a:lnTo>
                    <a:pt x="63" y="36"/>
                  </a:lnTo>
                  <a:lnTo>
                    <a:pt x="65" y="37"/>
                  </a:lnTo>
                  <a:lnTo>
                    <a:pt x="69" y="38"/>
                  </a:lnTo>
                  <a:lnTo>
                    <a:pt x="80" y="43"/>
                  </a:lnTo>
                  <a:lnTo>
                    <a:pt x="82" y="43"/>
                  </a:lnTo>
                  <a:lnTo>
                    <a:pt x="87" y="44"/>
                  </a:lnTo>
                  <a:lnTo>
                    <a:pt x="87" y="45"/>
                  </a:lnTo>
                  <a:lnTo>
                    <a:pt x="90" y="49"/>
                  </a:lnTo>
                  <a:lnTo>
                    <a:pt x="91" y="52"/>
                  </a:lnTo>
                  <a:lnTo>
                    <a:pt x="90" y="53"/>
                  </a:lnTo>
                  <a:lnTo>
                    <a:pt x="84" y="53"/>
                  </a:lnTo>
                  <a:lnTo>
                    <a:pt x="80" y="54"/>
                  </a:lnTo>
                  <a:lnTo>
                    <a:pt x="80" y="55"/>
                  </a:lnTo>
                  <a:lnTo>
                    <a:pt x="80" y="57"/>
                  </a:lnTo>
                  <a:lnTo>
                    <a:pt x="84" y="63"/>
                  </a:lnTo>
                  <a:lnTo>
                    <a:pt x="87" y="66"/>
                  </a:lnTo>
                  <a:lnTo>
                    <a:pt x="95" y="72"/>
                  </a:lnTo>
                  <a:lnTo>
                    <a:pt x="96" y="77"/>
                  </a:lnTo>
                  <a:lnTo>
                    <a:pt x="101" y="83"/>
                  </a:lnTo>
                  <a:lnTo>
                    <a:pt x="102" y="84"/>
                  </a:lnTo>
                  <a:lnTo>
                    <a:pt x="104" y="84"/>
                  </a:lnTo>
                  <a:lnTo>
                    <a:pt x="108" y="83"/>
                  </a:lnTo>
                  <a:lnTo>
                    <a:pt x="110" y="83"/>
                  </a:lnTo>
                  <a:lnTo>
                    <a:pt x="111" y="85"/>
                  </a:lnTo>
                  <a:lnTo>
                    <a:pt x="109" y="88"/>
                  </a:lnTo>
                  <a:lnTo>
                    <a:pt x="110" y="89"/>
                  </a:lnTo>
                  <a:lnTo>
                    <a:pt x="113" y="90"/>
                  </a:lnTo>
                  <a:lnTo>
                    <a:pt x="115" y="90"/>
                  </a:lnTo>
                  <a:lnTo>
                    <a:pt x="119" y="91"/>
                  </a:lnTo>
                  <a:lnTo>
                    <a:pt x="119" y="92"/>
                  </a:lnTo>
                  <a:lnTo>
                    <a:pt x="119" y="93"/>
                  </a:lnTo>
                  <a:lnTo>
                    <a:pt x="115" y="94"/>
                  </a:lnTo>
                  <a:lnTo>
                    <a:pt x="117" y="96"/>
                  </a:lnTo>
                  <a:lnTo>
                    <a:pt x="123" y="97"/>
                  </a:lnTo>
                  <a:lnTo>
                    <a:pt x="126" y="99"/>
                  </a:lnTo>
                  <a:lnTo>
                    <a:pt x="128" y="103"/>
                  </a:lnTo>
                  <a:lnTo>
                    <a:pt x="127" y="105"/>
                  </a:lnTo>
                  <a:lnTo>
                    <a:pt x="121" y="105"/>
                  </a:lnTo>
                  <a:lnTo>
                    <a:pt x="120" y="104"/>
                  </a:lnTo>
                  <a:lnTo>
                    <a:pt x="119" y="101"/>
                  </a:lnTo>
                  <a:lnTo>
                    <a:pt x="118" y="100"/>
                  </a:lnTo>
                  <a:lnTo>
                    <a:pt x="112" y="100"/>
                  </a:lnTo>
                  <a:lnTo>
                    <a:pt x="106" y="98"/>
                  </a:lnTo>
                  <a:lnTo>
                    <a:pt x="102" y="97"/>
                  </a:lnTo>
                  <a:lnTo>
                    <a:pt x="98" y="97"/>
                  </a:lnTo>
                  <a:lnTo>
                    <a:pt x="93" y="97"/>
                  </a:lnTo>
                  <a:lnTo>
                    <a:pt x="90" y="96"/>
                  </a:lnTo>
                  <a:lnTo>
                    <a:pt x="87" y="94"/>
                  </a:lnTo>
                  <a:lnTo>
                    <a:pt x="86" y="91"/>
                  </a:lnTo>
                  <a:lnTo>
                    <a:pt x="84" y="89"/>
                  </a:lnTo>
                  <a:lnTo>
                    <a:pt x="80" y="87"/>
                  </a:lnTo>
                  <a:lnTo>
                    <a:pt x="77" y="85"/>
                  </a:lnTo>
                  <a:lnTo>
                    <a:pt x="76" y="84"/>
                  </a:lnTo>
                  <a:lnTo>
                    <a:pt x="70" y="75"/>
                  </a:lnTo>
                  <a:lnTo>
                    <a:pt x="66" y="70"/>
                  </a:lnTo>
                  <a:lnTo>
                    <a:pt x="63" y="70"/>
                  </a:lnTo>
                  <a:lnTo>
                    <a:pt x="54" y="67"/>
                  </a:lnTo>
                  <a:lnTo>
                    <a:pt x="51" y="66"/>
                  </a:lnTo>
                  <a:lnTo>
                    <a:pt x="47" y="65"/>
                  </a:lnTo>
                  <a:lnTo>
                    <a:pt x="45" y="66"/>
                  </a:lnTo>
                  <a:lnTo>
                    <a:pt x="42" y="67"/>
                  </a:lnTo>
                  <a:lnTo>
                    <a:pt x="38" y="64"/>
                  </a:lnTo>
                  <a:lnTo>
                    <a:pt x="40" y="69"/>
                  </a:lnTo>
                  <a:lnTo>
                    <a:pt x="39" y="70"/>
                  </a:lnTo>
                  <a:lnTo>
                    <a:pt x="38" y="70"/>
                  </a:lnTo>
                  <a:lnTo>
                    <a:pt x="36" y="70"/>
                  </a:lnTo>
                  <a:lnTo>
                    <a:pt x="34" y="70"/>
                  </a:lnTo>
                  <a:lnTo>
                    <a:pt x="36" y="73"/>
                  </a:lnTo>
                  <a:lnTo>
                    <a:pt x="35" y="73"/>
                  </a:lnTo>
                  <a:lnTo>
                    <a:pt x="29" y="73"/>
                  </a:lnTo>
                  <a:lnTo>
                    <a:pt x="22" y="72"/>
                  </a:lnTo>
                  <a:lnTo>
                    <a:pt x="20" y="73"/>
                  </a:lnTo>
                  <a:lnTo>
                    <a:pt x="21" y="73"/>
                  </a:lnTo>
                  <a:lnTo>
                    <a:pt x="22" y="74"/>
                  </a:lnTo>
                  <a:lnTo>
                    <a:pt x="26" y="75"/>
                  </a:lnTo>
                  <a:lnTo>
                    <a:pt x="30" y="78"/>
                  </a:lnTo>
                  <a:lnTo>
                    <a:pt x="32" y="79"/>
                  </a:lnTo>
                  <a:lnTo>
                    <a:pt x="34" y="82"/>
                  </a:lnTo>
                  <a:lnTo>
                    <a:pt x="31" y="83"/>
                  </a:lnTo>
                  <a:lnTo>
                    <a:pt x="27" y="85"/>
                  </a:lnTo>
                  <a:lnTo>
                    <a:pt x="24" y="87"/>
                  </a:lnTo>
                  <a:lnTo>
                    <a:pt x="20" y="86"/>
                  </a:lnTo>
                  <a:lnTo>
                    <a:pt x="10" y="86"/>
                  </a:lnTo>
                  <a:lnTo>
                    <a:pt x="3" y="85"/>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5" name="Freeform 169">
              <a:extLst>
                <a:ext uri="{FF2B5EF4-FFF2-40B4-BE49-F238E27FC236}">
                  <a16:creationId xmlns:a16="http://schemas.microsoft.com/office/drawing/2014/main" id="{2259C5AB-6C08-8206-05C3-AA14220E576C}"/>
                </a:ext>
              </a:extLst>
            </p:cNvPr>
            <p:cNvSpPr>
              <a:spLocks noEditPoints="1"/>
            </p:cNvSpPr>
            <p:nvPr/>
          </p:nvSpPr>
          <p:spPr bwMode="auto">
            <a:xfrm>
              <a:off x="8737184" y="6002338"/>
              <a:ext cx="250825" cy="334963"/>
            </a:xfrm>
            <a:custGeom>
              <a:avLst/>
              <a:gdLst/>
              <a:ahLst/>
              <a:cxnLst>
                <a:cxn ang="0">
                  <a:pos x="119" y="41"/>
                </a:cxn>
                <a:cxn ang="0">
                  <a:pos x="125" y="46"/>
                </a:cxn>
                <a:cxn ang="0">
                  <a:pos x="142" y="60"/>
                </a:cxn>
                <a:cxn ang="0">
                  <a:pos x="156" y="54"/>
                </a:cxn>
                <a:cxn ang="0">
                  <a:pos x="156" y="69"/>
                </a:cxn>
                <a:cxn ang="0">
                  <a:pos x="149" y="76"/>
                </a:cxn>
                <a:cxn ang="0">
                  <a:pos x="138" y="80"/>
                </a:cxn>
                <a:cxn ang="0">
                  <a:pos x="139" y="90"/>
                </a:cxn>
                <a:cxn ang="0">
                  <a:pos x="120" y="116"/>
                </a:cxn>
                <a:cxn ang="0">
                  <a:pos x="110" y="112"/>
                </a:cxn>
                <a:cxn ang="0">
                  <a:pos x="116" y="98"/>
                </a:cxn>
                <a:cxn ang="0">
                  <a:pos x="108" y="88"/>
                </a:cxn>
                <a:cxn ang="0">
                  <a:pos x="96" y="80"/>
                </a:cxn>
                <a:cxn ang="0">
                  <a:pos x="108" y="69"/>
                </a:cxn>
                <a:cxn ang="0">
                  <a:pos x="111" y="55"/>
                </a:cxn>
                <a:cxn ang="0">
                  <a:pos x="105" y="38"/>
                </a:cxn>
                <a:cxn ang="0">
                  <a:pos x="99" y="26"/>
                </a:cxn>
                <a:cxn ang="0">
                  <a:pos x="99" y="29"/>
                </a:cxn>
                <a:cxn ang="0">
                  <a:pos x="94" y="24"/>
                </a:cxn>
                <a:cxn ang="0">
                  <a:pos x="86" y="11"/>
                </a:cxn>
                <a:cxn ang="0">
                  <a:pos x="85" y="5"/>
                </a:cxn>
                <a:cxn ang="0">
                  <a:pos x="83" y="1"/>
                </a:cxn>
                <a:cxn ang="0">
                  <a:pos x="85" y="3"/>
                </a:cxn>
                <a:cxn ang="0">
                  <a:pos x="90" y="9"/>
                </a:cxn>
                <a:cxn ang="0">
                  <a:pos x="97" y="11"/>
                </a:cxn>
                <a:cxn ang="0">
                  <a:pos x="100" y="14"/>
                </a:cxn>
                <a:cxn ang="0">
                  <a:pos x="104" y="17"/>
                </a:cxn>
                <a:cxn ang="0">
                  <a:pos x="105" y="21"/>
                </a:cxn>
                <a:cxn ang="0">
                  <a:pos x="104" y="23"/>
                </a:cxn>
                <a:cxn ang="0">
                  <a:pos x="109" y="30"/>
                </a:cxn>
                <a:cxn ang="0">
                  <a:pos x="110" y="35"/>
                </a:cxn>
                <a:cxn ang="0">
                  <a:pos x="107" y="36"/>
                </a:cxn>
                <a:cxn ang="0">
                  <a:pos x="110" y="41"/>
                </a:cxn>
                <a:cxn ang="0">
                  <a:pos x="116" y="42"/>
                </a:cxn>
                <a:cxn ang="0">
                  <a:pos x="116" y="45"/>
                </a:cxn>
                <a:cxn ang="0">
                  <a:pos x="68" y="164"/>
                </a:cxn>
                <a:cxn ang="0">
                  <a:pos x="59" y="165"/>
                </a:cxn>
                <a:cxn ang="0">
                  <a:pos x="62" y="174"/>
                </a:cxn>
                <a:cxn ang="0">
                  <a:pos x="57" y="178"/>
                </a:cxn>
                <a:cxn ang="0">
                  <a:pos x="54" y="196"/>
                </a:cxn>
                <a:cxn ang="0">
                  <a:pos x="45" y="205"/>
                </a:cxn>
                <a:cxn ang="0">
                  <a:pos x="29" y="209"/>
                </a:cxn>
                <a:cxn ang="0">
                  <a:pos x="15" y="204"/>
                </a:cxn>
                <a:cxn ang="0">
                  <a:pos x="9" y="203"/>
                </a:cxn>
                <a:cxn ang="0">
                  <a:pos x="0" y="199"/>
                </a:cxn>
                <a:cxn ang="0">
                  <a:pos x="5" y="195"/>
                </a:cxn>
                <a:cxn ang="0">
                  <a:pos x="5" y="188"/>
                </a:cxn>
                <a:cxn ang="0">
                  <a:pos x="9" y="185"/>
                </a:cxn>
                <a:cxn ang="0">
                  <a:pos x="16" y="174"/>
                </a:cxn>
                <a:cxn ang="0">
                  <a:pos x="32" y="162"/>
                </a:cxn>
                <a:cxn ang="0">
                  <a:pos x="45" y="151"/>
                </a:cxn>
                <a:cxn ang="0">
                  <a:pos x="56" y="143"/>
                </a:cxn>
                <a:cxn ang="0">
                  <a:pos x="62" y="136"/>
                </a:cxn>
                <a:cxn ang="0">
                  <a:pos x="65" y="124"/>
                </a:cxn>
                <a:cxn ang="0">
                  <a:pos x="74" y="119"/>
                </a:cxn>
                <a:cxn ang="0">
                  <a:pos x="80" y="103"/>
                </a:cxn>
                <a:cxn ang="0">
                  <a:pos x="86" y="108"/>
                </a:cxn>
                <a:cxn ang="0">
                  <a:pos x="97" y="111"/>
                </a:cxn>
                <a:cxn ang="0">
                  <a:pos x="101" y="122"/>
                </a:cxn>
                <a:cxn ang="0">
                  <a:pos x="93" y="136"/>
                </a:cxn>
                <a:cxn ang="0">
                  <a:pos x="82" y="148"/>
                </a:cxn>
                <a:cxn ang="0">
                  <a:pos x="83" y="155"/>
                </a:cxn>
                <a:cxn ang="0">
                  <a:pos x="78" y="156"/>
                </a:cxn>
              </a:cxnLst>
              <a:rect l="0" t="0" r="r" b="b"/>
              <a:pathLst>
                <a:path w="158" h="211">
                  <a:moveTo>
                    <a:pt x="116" y="45"/>
                  </a:moveTo>
                  <a:lnTo>
                    <a:pt x="120" y="47"/>
                  </a:lnTo>
                  <a:lnTo>
                    <a:pt x="120" y="45"/>
                  </a:lnTo>
                  <a:lnTo>
                    <a:pt x="119" y="41"/>
                  </a:lnTo>
                  <a:lnTo>
                    <a:pt x="119" y="39"/>
                  </a:lnTo>
                  <a:lnTo>
                    <a:pt x="120" y="39"/>
                  </a:lnTo>
                  <a:lnTo>
                    <a:pt x="122" y="40"/>
                  </a:lnTo>
                  <a:lnTo>
                    <a:pt x="125" y="46"/>
                  </a:lnTo>
                  <a:lnTo>
                    <a:pt x="126" y="53"/>
                  </a:lnTo>
                  <a:lnTo>
                    <a:pt x="129" y="54"/>
                  </a:lnTo>
                  <a:lnTo>
                    <a:pt x="139" y="59"/>
                  </a:lnTo>
                  <a:lnTo>
                    <a:pt x="142" y="60"/>
                  </a:lnTo>
                  <a:lnTo>
                    <a:pt x="144" y="60"/>
                  </a:lnTo>
                  <a:lnTo>
                    <a:pt x="149" y="56"/>
                  </a:lnTo>
                  <a:lnTo>
                    <a:pt x="154" y="53"/>
                  </a:lnTo>
                  <a:lnTo>
                    <a:pt x="156" y="54"/>
                  </a:lnTo>
                  <a:lnTo>
                    <a:pt x="158" y="55"/>
                  </a:lnTo>
                  <a:lnTo>
                    <a:pt x="158" y="58"/>
                  </a:lnTo>
                  <a:lnTo>
                    <a:pt x="158" y="60"/>
                  </a:lnTo>
                  <a:lnTo>
                    <a:pt x="156" y="69"/>
                  </a:lnTo>
                  <a:lnTo>
                    <a:pt x="154" y="69"/>
                  </a:lnTo>
                  <a:lnTo>
                    <a:pt x="150" y="70"/>
                  </a:lnTo>
                  <a:lnTo>
                    <a:pt x="150" y="75"/>
                  </a:lnTo>
                  <a:lnTo>
                    <a:pt x="149" y="76"/>
                  </a:lnTo>
                  <a:lnTo>
                    <a:pt x="146" y="77"/>
                  </a:lnTo>
                  <a:lnTo>
                    <a:pt x="142" y="77"/>
                  </a:lnTo>
                  <a:lnTo>
                    <a:pt x="140" y="78"/>
                  </a:lnTo>
                  <a:lnTo>
                    <a:pt x="138" y="80"/>
                  </a:lnTo>
                  <a:lnTo>
                    <a:pt x="138" y="83"/>
                  </a:lnTo>
                  <a:lnTo>
                    <a:pt x="140" y="87"/>
                  </a:lnTo>
                  <a:lnTo>
                    <a:pt x="140" y="89"/>
                  </a:lnTo>
                  <a:lnTo>
                    <a:pt x="139" y="90"/>
                  </a:lnTo>
                  <a:lnTo>
                    <a:pt x="135" y="95"/>
                  </a:lnTo>
                  <a:lnTo>
                    <a:pt x="130" y="103"/>
                  </a:lnTo>
                  <a:lnTo>
                    <a:pt x="125" y="111"/>
                  </a:lnTo>
                  <a:lnTo>
                    <a:pt x="120" y="116"/>
                  </a:lnTo>
                  <a:lnTo>
                    <a:pt x="116" y="119"/>
                  </a:lnTo>
                  <a:lnTo>
                    <a:pt x="114" y="117"/>
                  </a:lnTo>
                  <a:lnTo>
                    <a:pt x="111" y="115"/>
                  </a:lnTo>
                  <a:lnTo>
                    <a:pt x="110" y="112"/>
                  </a:lnTo>
                  <a:lnTo>
                    <a:pt x="110" y="110"/>
                  </a:lnTo>
                  <a:lnTo>
                    <a:pt x="112" y="107"/>
                  </a:lnTo>
                  <a:lnTo>
                    <a:pt x="114" y="101"/>
                  </a:lnTo>
                  <a:lnTo>
                    <a:pt x="116" y="98"/>
                  </a:lnTo>
                  <a:lnTo>
                    <a:pt x="116" y="95"/>
                  </a:lnTo>
                  <a:lnTo>
                    <a:pt x="114" y="94"/>
                  </a:lnTo>
                  <a:lnTo>
                    <a:pt x="110" y="89"/>
                  </a:lnTo>
                  <a:lnTo>
                    <a:pt x="108" y="88"/>
                  </a:lnTo>
                  <a:lnTo>
                    <a:pt x="104" y="87"/>
                  </a:lnTo>
                  <a:lnTo>
                    <a:pt x="98" y="83"/>
                  </a:lnTo>
                  <a:lnTo>
                    <a:pt x="96" y="81"/>
                  </a:lnTo>
                  <a:lnTo>
                    <a:pt x="96" y="80"/>
                  </a:lnTo>
                  <a:lnTo>
                    <a:pt x="96" y="79"/>
                  </a:lnTo>
                  <a:lnTo>
                    <a:pt x="99" y="78"/>
                  </a:lnTo>
                  <a:lnTo>
                    <a:pt x="107" y="72"/>
                  </a:lnTo>
                  <a:lnTo>
                    <a:pt x="108" y="69"/>
                  </a:lnTo>
                  <a:lnTo>
                    <a:pt x="108" y="63"/>
                  </a:lnTo>
                  <a:lnTo>
                    <a:pt x="108" y="61"/>
                  </a:lnTo>
                  <a:lnTo>
                    <a:pt x="111" y="58"/>
                  </a:lnTo>
                  <a:lnTo>
                    <a:pt x="111" y="55"/>
                  </a:lnTo>
                  <a:lnTo>
                    <a:pt x="108" y="49"/>
                  </a:lnTo>
                  <a:lnTo>
                    <a:pt x="108" y="45"/>
                  </a:lnTo>
                  <a:lnTo>
                    <a:pt x="107" y="42"/>
                  </a:lnTo>
                  <a:lnTo>
                    <a:pt x="105" y="38"/>
                  </a:lnTo>
                  <a:lnTo>
                    <a:pt x="101" y="32"/>
                  </a:lnTo>
                  <a:lnTo>
                    <a:pt x="102" y="31"/>
                  </a:lnTo>
                  <a:lnTo>
                    <a:pt x="101" y="29"/>
                  </a:lnTo>
                  <a:lnTo>
                    <a:pt x="99" y="26"/>
                  </a:lnTo>
                  <a:lnTo>
                    <a:pt x="97" y="25"/>
                  </a:lnTo>
                  <a:lnTo>
                    <a:pt x="96" y="24"/>
                  </a:lnTo>
                  <a:lnTo>
                    <a:pt x="96" y="26"/>
                  </a:lnTo>
                  <a:lnTo>
                    <a:pt x="99" y="29"/>
                  </a:lnTo>
                  <a:lnTo>
                    <a:pt x="99" y="30"/>
                  </a:lnTo>
                  <a:lnTo>
                    <a:pt x="99" y="30"/>
                  </a:lnTo>
                  <a:lnTo>
                    <a:pt x="97" y="28"/>
                  </a:lnTo>
                  <a:lnTo>
                    <a:pt x="94" y="24"/>
                  </a:lnTo>
                  <a:lnTo>
                    <a:pt x="90" y="18"/>
                  </a:lnTo>
                  <a:lnTo>
                    <a:pt x="87" y="14"/>
                  </a:lnTo>
                  <a:lnTo>
                    <a:pt x="87" y="13"/>
                  </a:lnTo>
                  <a:lnTo>
                    <a:pt x="86" y="11"/>
                  </a:lnTo>
                  <a:lnTo>
                    <a:pt x="86" y="11"/>
                  </a:lnTo>
                  <a:lnTo>
                    <a:pt x="86" y="9"/>
                  </a:lnTo>
                  <a:lnTo>
                    <a:pt x="86" y="8"/>
                  </a:lnTo>
                  <a:lnTo>
                    <a:pt x="85" y="5"/>
                  </a:lnTo>
                  <a:lnTo>
                    <a:pt x="83" y="2"/>
                  </a:lnTo>
                  <a:lnTo>
                    <a:pt x="81" y="0"/>
                  </a:lnTo>
                  <a:lnTo>
                    <a:pt x="81" y="0"/>
                  </a:lnTo>
                  <a:lnTo>
                    <a:pt x="83" y="1"/>
                  </a:lnTo>
                  <a:lnTo>
                    <a:pt x="85" y="0"/>
                  </a:lnTo>
                  <a:lnTo>
                    <a:pt x="86" y="0"/>
                  </a:lnTo>
                  <a:lnTo>
                    <a:pt x="86" y="2"/>
                  </a:lnTo>
                  <a:lnTo>
                    <a:pt x="85" y="3"/>
                  </a:lnTo>
                  <a:lnTo>
                    <a:pt x="86" y="5"/>
                  </a:lnTo>
                  <a:lnTo>
                    <a:pt x="87" y="7"/>
                  </a:lnTo>
                  <a:lnTo>
                    <a:pt x="88" y="8"/>
                  </a:lnTo>
                  <a:lnTo>
                    <a:pt x="90" y="9"/>
                  </a:lnTo>
                  <a:lnTo>
                    <a:pt x="90" y="8"/>
                  </a:lnTo>
                  <a:lnTo>
                    <a:pt x="92" y="8"/>
                  </a:lnTo>
                  <a:lnTo>
                    <a:pt x="95" y="10"/>
                  </a:lnTo>
                  <a:lnTo>
                    <a:pt x="97" y="11"/>
                  </a:lnTo>
                  <a:lnTo>
                    <a:pt x="99" y="11"/>
                  </a:lnTo>
                  <a:lnTo>
                    <a:pt x="99" y="13"/>
                  </a:lnTo>
                  <a:lnTo>
                    <a:pt x="99" y="14"/>
                  </a:lnTo>
                  <a:lnTo>
                    <a:pt x="100" y="14"/>
                  </a:lnTo>
                  <a:lnTo>
                    <a:pt x="101" y="13"/>
                  </a:lnTo>
                  <a:lnTo>
                    <a:pt x="102" y="13"/>
                  </a:lnTo>
                  <a:lnTo>
                    <a:pt x="102" y="14"/>
                  </a:lnTo>
                  <a:lnTo>
                    <a:pt x="104" y="17"/>
                  </a:lnTo>
                  <a:lnTo>
                    <a:pt x="105" y="18"/>
                  </a:lnTo>
                  <a:lnTo>
                    <a:pt x="106" y="20"/>
                  </a:lnTo>
                  <a:lnTo>
                    <a:pt x="105" y="20"/>
                  </a:lnTo>
                  <a:lnTo>
                    <a:pt x="105" y="21"/>
                  </a:lnTo>
                  <a:lnTo>
                    <a:pt x="105" y="23"/>
                  </a:lnTo>
                  <a:lnTo>
                    <a:pt x="104" y="23"/>
                  </a:lnTo>
                  <a:lnTo>
                    <a:pt x="103" y="22"/>
                  </a:lnTo>
                  <a:lnTo>
                    <a:pt x="104" y="23"/>
                  </a:lnTo>
                  <a:lnTo>
                    <a:pt x="105" y="24"/>
                  </a:lnTo>
                  <a:lnTo>
                    <a:pt x="107" y="26"/>
                  </a:lnTo>
                  <a:lnTo>
                    <a:pt x="109" y="28"/>
                  </a:lnTo>
                  <a:lnTo>
                    <a:pt x="109" y="30"/>
                  </a:lnTo>
                  <a:lnTo>
                    <a:pt x="109" y="31"/>
                  </a:lnTo>
                  <a:lnTo>
                    <a:pt x="108" y="31"/>
                  </a:lnTo>
                  <a:lnTo>
                    <a:pt x="108" y="32"/>
                  </a:lnTo>
                  <a:lnTo>
                    <a:pt x="110" y="35"/>
                  </a:lnTo>
                  <a:lnTo>
                    <a:pt x="111" y="36"/>
                  </a:lnTo>
                  <a:lnTo>
                    <a:pt x="110" y="36"/>
                  </a:lnTo>
                  <a:lnTo>
                    <a:pt x="108" y="36"/>
                  </a:lnTo>
                  <a:lnTo>
                    <a:pt x="107" y="36"/>
                  </a:lnTo>
                  <a:lnTo>
                    <a:pt x="107" y="37"/>
                  </a:lnTo>
                  <a:lnTo>
                    <a:pt x="108" y="38"/>
                  </a:lnTo>
                  <a:lnTo>
                    <a:pt x="111" y="39"/>
                  </a:lnTo>
                  <a:lnTo>
                    <a:pt x="110" y="41"/>
                  </a:lnTo>
                  <a:lnTo>
                    <a:pt x="111" y="41"/>
                  </a:lnTo>
                  <a:lnTo>
                    <a:pt x="113" y="41"/>
                  </a:lnTo>
                  <a:lnTo>
                    <a:pt x="114" y="41"/>
                  </a:lnTo>
                  <a:lnTo>
                    <a:pt x="116" y="42"/>
                  </a:lnTo>
                  <a:lnTo>
                    <a:pt x="115" y="42"/>
                  </a:lnTo>
                  <a:lnTo>
                    <a:pt x="114" y="44"/>
                  </a:lnTo>
                  <a:lnTo>
                    <a:pt x="115" y="44"/>
                  </a:lnTo>
                  <a:lnTo>
                    <a:pt x="116" y="45"/>
                  </a:lnTo>
                  <a:close/>
                  <a:moveTo>
                    <a:pt x="73" y="159"/>
                  </a:moveTo>
                  <a:lnTo>
                    <a:pt x="72" y="160"/>
                  </a:lnTo>
                  <a:lnTo>
                    <a:pt x="69" y="161"/>
                  </a:lnTo>
                  <a:lnTo>
                    <a:pt x="68" y="164"/>
                  </a:lnTo>
                  <a:lnTo>
                    <a:pt x="66" y="164"/>
                  </a:lnTo>
                  <a:lnTo>
                    <a:pt x="64" y="166"/>
                  </a:lnTo>
                  <a:lnTo>
                    <a:pt x="60" y="164"/>
                  </a:lnTo>
                  <a:lnTo>
                    <a:pt x="59" y="165"/>
                  </a:lnTo>
                  <a:lnTo>
                    <a:pt x="60" y="167"/>
                  </a:lnTo>
                  <a:lnTo>
                    <a:pt x="63" y="170"/>
                  </a:lnTo>
                  <a:lnTo>
                    <a:pt x="62" y="171"/>
                  </a:lnTo>
                  <a:lnTo>
                    <a:pt x="62" y="174"/>
                  </a:lnTo>
                  <a:lnTo>
                    <a:pt x="62" y="177"/>
                  </a:lnTo>
                  <a:lnTo>
                    <a:pt x="60" y="177"/>
                  </a:lnTo>
                  <a:lnTo>
                    <a:pt x="54" y="176"/>
                  </a:lnTo>
                  <a:lnTo>
                    <a:pt x="57" y="178"/>
                  </a:lnTo>
                  <a:lnTo>
                    <a:pt x="60" y="180"/>
                  </a:lnTo>
                  <a:lnTo>
                    <a:pt x="58" y="184"/>
                  </a:lnTo>
                  <a:lnTo>
                    <a:pt x="55" y="191"/>
                  </a:lnTo>
                  <a:lnTo>
                    <a:pt x="54" y="196"/>
                  </a:lnTo>
                  <a:lnTo>
                    <a:pt x="52" y="199"/>
                  </a:lnTo>
                  <a:lnTo>
                    <a:pt x="48" y="202"/>
                  </a:lnTo>
                  <a:lnTo>
                    <a:pt x="47" y="204"/>
                  </a:lnTo>
                  <a:lnTo>
                    <a:pt x="45" y="205"/>
                  </a:lnTo>
                  <a:lnTo>
                    <a:pt x="42" y="207"/>
                  </a:lnTo>
                  <a:lnTo>
                    <a:pt x="38" y="210"/>
                  </a:lnTo>
                  <a:lnTo>
                    <a:pt x="36" y="211"/>
                  </a:lnTo>
                  <a:lnTo>
                    <a:pt x="29" y="209"/>
                  </a:lnTo>
                  <a:lnTo>
                    <a:pt x="26" y="209"/>
                  </a:lnTo>
                  <a:lnTo>
                    <a:pt x="22" y="206"/>
                  </a:lnTo>
                  <a:lnTo>
                    <a:pt x="17" y="204"/>
                  </a:lnTo>
                  <a:lnTo>
                    <a:pt x="15" y="204"/>
                  </a:lnTo>
                  <a:lnTo>
                    <a:pt x="14" y="201"/>
                  </a:lnTo>
                  <a:lnTo>
                    <a:pt x="11" y="200"/>
                  </a:lnTo>
                  <a:lnTo>
                    <a:pt x="10" y="201"/>
                  </a:lnTo>
                  <a:lnTo>
                    <a:pt x="9" y="203"/>
                  </a:lnTo>
                  <a:lnTo>
                    <a:pt x="5" y="204"/>
                  </a:lnTo>
                  <a:lnTo>
                    <a:pt x="4" y="202"/>
                  </a:lnTo>
                  <a:lnTo>
                    <a:pt x="1" y="201"/>
                  </a:lnTo>
                  <a:lnTo>
                    <a:pt x="0" y="199"/>
                  </a:lnTo>
                  <a:lnTo>
                    <a:pt x="2" y="198"/>
                  </a:lnTo>
                  <a:lnTo>
                    <a:pt x="1" y="197"/>
                  </a:lnTo>
                  <a:lnTo>
                    <a:pt x="3" y="195"/>
                  </a:lnTo>
                  <a:lnTo>
                    <a:pt x="5" y="195"/>
                  </a:lnTo>
                  <a:lnTo>
                    <a:pt x="2" y="191"/>
                  </a:lnTo>
                  <a:lnTo>
                    <a:pt x="7" y="194"/>
                  </a:lnTo>
                  <a:lnTo>
                    <a:pt x="4" y="189"/>
                  </a:lnTo>
                  <a:lnTo>
                    <a:pt x="5" y="188"/>
                  </a:lnTo>
                  <a:lnTo>
                    <a:pt x="11" y="189"/>
                  </a:lnTo>
                  <a:lnTo>
                    <a:pt x="11" y="188"/>
                  </a:lnTo>
                  <a:lnTo>
                    <a:pt x="10" y="186"/>
                  </a:lnTo>
                  <a:lnTo>
                    <a:pt x="9" y="185"/>
                  </a:lnTo>
                  <a:lnTo>
                    <a:pt x="9" y="182"/>
                  </a:lnTo>
                  <a:lnTo>
                    <a:pt x="11" y="180"/>
                  </a:lnTo>
                  <a:lnTo>
                    <a:pt x="14" y="177"/>
                  </a:lnTo>
                  <a:lnTo>
                    <a:pt x="16" y="174"/>
                  </a:lnTo>
                  <a:lnTo>
                    <a:pt x="19" y="171"/>
                  </a:lnTo>
                  <a:lnTo>
                    <a:pt x="20" y="169"/>
                  </a:lnTo>
                  <a:lnTo>
                    <a:pt x="26" y="164"/>
                  </a:lnTo>
                  <a:lnTo>
                    <a:pt x="32" y="162"/>
                  </a:lnTo>
                  <a:lnTo>
                    <a:pt x="36" y="159"/>
                  </a:lnTo>
                  <a:lnTo>
                    <a:pt x="39" y="156"/>
                  </a:lnTo>
                  <a:lnTo>
                    <a:pt x="42" y="155"/>
                  </a:lnTo>
                  <a:lnTo>
                    <a:pt x="45" y="151"/>
                  </a:lnTo>
                  <a:lnTo>
                    <a:pt x="46" y="149"/>
                  </a:lnTo>
                  <a:lnTo>
                    <a:pt x="49" y="146"/>
                  </a:lnTo>
                  <a:lnTo>
                    <a:pt x="51" y="146"/>
                  </a:lnTo>
                  <a:lnTo>
                    <a:pt x="56" y="143"/>
                  </a:lnTo>
                  <a:lnTo>
                    <a:pt x="60" y="140"/>
                  </a:lnTo>
                  <a:lnTo>
                    <a:pt x="60" y="138"/>
                  </a:lnTo>
                  <a:lnTo>
                    <a:pt x="60" y="137"/>
                  </a:lnTo>
                  <a:lnTo>
                    <a:pt x="62" y="136"/>
                  </a:lnTo>
                  <a:lnTo>
                    <a:pt x="65" y="134"/>
                  </a:lnTo>
                  <a:lnTo>
                    <a:pt x="64" y="129"/>
                  </a:lnTo>
                  <a:lnTo>
                    <a:pt x="64" y="128"/>
                  </a:lnTo>
                  <a:lnTo>
                    <a:pt x="65" y="124"/>
                  </a:lnTo>
                  <a:lnTo>
                    <a:pt x="67" y="125"/>
                  </a:lnTo>
                  <a:lnTo>
                    <a:pt x="67" y="123"/>
                  </a:lnTo>
                  <a:lnTo>
                    <a:pt x="71" y="122"/>
                  </a:lnTo>
                  <a:lnTo>
                    <a:pt x="74" y="119"/>
                  </a:lnTo>
                  <a:lnTo>
                    <a:pt x="74" y="117"/>
                  </a:lnTo>
                  <a:lnTo>
                    <a:pt x="75" y="108"/>
                  </a:lnTo>
                  <a:lnTo>
                    <a:pt x="78" y="103"/>
                  </a:lnTo>
                  <a:lnTo>
                    <a:pt x="80" y="103"/>
                  </a:lnTo>
                  <a:lnTo>
                    <a:pt x="82" y="104"/>
                  </a:lnTo>
                  <a:lnTo>
                    <a:pt x="83" y="106"/>
                  </a:lnTo>
                  <a:lnTo>
                    <a:pt x="84" y="107"/>
                  </a:lnTo>
                  <a:lnTo>
                    <a:pt x="86" y="108"/>
                  </a:lnTo>
                  <a:lnTo>
                    <a:pt x="87" y="114"/>
                  </a:lnTo>
                  <a:lnTo>
                    <a:pt x="89" y="116"/>
                  </a:lnTo>
                  <a:lnTo>
                    <a:pt x="95" y="111"/>
                  </a:lnTo>
                  <a:lnTo>
                    <a:pt x="97" y="111"/>
                  </a:lnTo>
                  <a:lnTo>
                    <a:pt x="99" y="112"/>
                  </a:lnTo>
                  <a:lnTo>
                    <a:pt x="101" y="116"/>
                  </a:lnTo>
                  <a:lnTo>
                    <a:pt x="99" y="119"/>
                  </a:lnTo>
                  <a:lnTo>
                    <a:pt x="101" y="122"/>
                  </a:lnTo>
                  <a:lnTo>
                    <a:pt x="101" y="125"/>
                  </a:lnTo>
                  <a:lnTo>
                    <a:pt x="98" y="130"/>
                  </a:lnTo>
                  <a:lnTo>
                    <a:pt x="96" y="133"/>
                  </a:lnTo>
                  <a:lnTo>
                    <a:pt x="93" y="136"/>
                  </a:lnTo>
                  <a:lnTo>
                    <a:pt x="89" y="142"/>
                  </a:lnTo>
                  <a:lnTo>
                    <a:pt x="85" y="145"/>
                  </a:lnTo>
                  <a:lnTo>
                    <a:pt x="83" y="146"/>
                  </a:lnTo>
                  <a:lnTo>
                    <a:pt x="82" y="148"/>
                  </a:lnTo>
                  <a:lnTo>
                    <a:pt x="80" y="149"/>
                  </a:lnTo>
                  <a:lnTo>
                    <a:pt x="78" y="151"/>
                  </a:lnTo>
                  <a:lnTo>
                    <a:pt x="80" y="155"/>
                  </a:lnTo>
                  <a:lnTo>
                    <a:pt x="83" y="155"/>
                  </a:lnTo>
                  <a:lnTo>
                    <a:pt x="86" y="157"/>
                  </a:lnTo>
                  <a:lnTo>
                    <a:pt x="84" y="158"/>
                  </a:lnTo>
                  <a:lnTo>
                    <a:pt x="81" y="159"/>
                  </a:lnTo>
                  <a:lnTo>
                    <a:pt x="78" y="156"/>
                  </a:lnTo>
                  <a:lnTo>
                    <a:pt x="75" y="158"/>
                  </a:lnTo>
                  <a:lnTo>
                    <a:pt x="73" y="15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6" name="Freeform 170">
              <a:extLst>
                <a:ext uri="{FF2B5EF4-FFF2-40B4-BE49-F238E27FC236}">
                  <a16:creationId xmlns:a16="http://schemas.microsoft.com/office/drawing/2014/main" id="{6D9BC206-5799-961C-9FEC-7A0388D47E97}"/>
                </a:ext>
              </a:extLst>
            </p:cNvPr>
            <p:cNvSpPr>
              <a:spLocks noEditPoints="1"/>
            </p:cNvSpPr>
            <p:nvPr/>
          </p:nvSpPr>
          <p:spPr bwMode="auto">
            <a:xfrm>
              <a:off x="5824121" y="4275138"/>
              <a:ext cx="388938" cy="165100"/>
            </a:xfrm>
            <a:custGeom>
              <a:avLst/>
              <a:gdLst/>
              <a:ahLst/>
              <a:cxnLst>
                <a:cxn ang="0">
                  <a:pos x="237" y="86"/>
                </a:cxn>
                <a:cxn ang="0">
                  <a:pos x="232" y="82"/>
                </a:cxn>
                <a:cxn ang="0">
                  <a:pos x="218" y="81"/>
                </a:cxn>
                <a:cxn ang="0">
                  <a:pos x="212" y="82"/>
                </a:cxn>
                <a:cxn ang="0">
                  <a:pos x="190" y="86"/>
                </a:cxn>
                <a:cxn ang="0">
                  <a:pos x="160" y="88"/>
                </a:cxn>
                <a:cxn ang="0">
                  <a:pos x="140" y="91"/>
                </a:cxn>
                <a:cxn ang="0">
                  <a:pos x="140" y="99"/>
                </a:cxn>
                <a:cxn ang="0">
                  <a:pos x="132" y="104"/>
                </a:cxn>
                <a:cxn ang="0">
                  <a:pos x="127" y="98"/>
                </a:cxn>
                <a:cxn ang="0">
                  <a:pos x="130" y="90"/>
                </a:cxn>
                <a:cxn ang="0">
                  <a:pos x="124" y="93"/>
                </a:cxn>
                <a:cxn ang="0">
                  <a:pos x="120" y="95"/>
                </a:cxn>
                <a:cxn ang="0">
                  <a:pos x="106" y="96"/>
                </a:cxn>
                <a:cxn ang="0">
                  <a:pos x="102" y="101"/>
                </a:cxn>
                <a:cxn ang="0">
                  <a:pos x="86" y="102"/>
                </a:cxn>
                <a:cxn ang="0">
                  <a:pos x="59" y="89"/>
                </a:cxn>
                <a:cxn ang="0">
                  <a:pos x="55" y="100"/>
                </a:cxn>
                <a:cxn ang="0">
                  <a:pos x="39" y="91"/>
                </a:cxn>
                <a:cxn ang="0">
                  <a:pos x="25" y="91"/>
                </a:cxn>
                <a:cxn ang="0">
                  <a:pos x="17" y="87"/>
                </a:cxn>
                <a:cxn ang="0">
                  <a:pos x="15" y="80"/>
                </a:cxn>
                <a:cxn ang="0">
                  <a:pos x="12" y="70"/>
                </a:cxn>
                <a:cxn ang="0">
                  <a:pos x="6" y="62"/>
                </a:cxn>
                <a:cxn ang="0">
                  <a:pos x="10" y="59"/>
                </a:cxn>
                <a:cxn ang="0">
                  <a:pos x="13" y="54"/>
                </a:cxn>
                <a:cxn ang="0">
                  <a:pos x="10" y="50"/>
                </a:cxn>
                <a:cxn ang="0">
                  <a:pos x="11" y="45"/>
                </a:cxn>
                <a:cxn ang="0">
                  <a:pos x="1" y="45"/>
                </a:cxn>
                <a:cxn ang="0">
                  <a:pos x="1" y="38"/>
                </a:cxn>
                <a:cxn ang="0">
                  <a:pos x="10" y="29"/>
                </a:cxn>
                <a:cxn ang="0">
                  <a:pos x="19" y="30"/>
                </a:cxn>
                <a:cxn ang="0">
                  <a:pos x="22" y="28"/>
                </a:cxn>
                <a:cxn ang="0">
                  <a:pos x="26" y="29"/>
                </a:cxn>
                <a:cxn ang="0">
                  <a:pos x="40" y="28"/>
                </a:cxn>
                <a:cxn ang="0">
                  <a:pos x="46" y="24"/>
                </a:cxn>
                <a:cxn ang="0">
                  <a:pos x="43" y="23"/>
                </a:cxn>
                <a:cxn ang="0">
                  <a:pos x="54" y="16"/>
                </a:cxn>
                <a:cxn ang="0">
                  <a:pos x="70" y="13"/>
                </a:cxn>
                <a:cxn ang="0">
                  <a:pos x="93" y="2"/>
                </a:cxn>
                <a:cxn ang="0">
                  <a:pos x="117" y="0"/>
                </a:cxn>
                <a:cxn ang="0">
                  <a:pos x="130" y="6"/>
                </a:cxn>
                <a:cxn ang="0">
                  <a:pos x="146" y="18"/>
                </a:cxn>
                <a:cxn ang="0">
                  <a:pos x="174" y="17"/>
                </a:cxn>
                <a:cxn ang="0">
                  <a:pos x="199" y="13"/>
                </a:cxn>
                <a:cxn ang="0">
                  <a:pos x="218" y="8"/>
                </a:cxn>
                <a:cxn ang="0">
                  <a:pos x="233" y="24"/>
                </a:cxn>
                <a:cxn ang="0">
                  <a:pos x="244" y="40"/>
                </a:cxn>
                <a:cxn ang="0">
                  <a:pos x="236" y="47"/>
                </a:cxn>
                <a:cxn ang="0">
                  <a:pos x="238" y="62"/>
                </a:cxn>
                <a:cxn ang="0">
                  <a:pos x="238" y="70"/>
                </a:cxn>
                <a:cxn ang="0">
                  <a:pos x="241" y="78"/>
                </a:cxn>
                <a:cxn ang="0">
                  <a:pos x="26" y="3"/>
                </a:cxn>
                <a:cxn ang="0">
                  <a:pos x="35" y="13"/>
                </a:cxn>
                <a:cxn ang="0">
                  <a:pos x="34" y="19"/>
                </a:cxn>
                <a:cxn ang="0">
                  <a:pos x="17" y="22"/>
                </a:cxn>
                <a:cxn ang="0">
                  <a:pos x="4" y="32"/>
                </a:cxn>
                <a:cxn ang="0">
                  <a:pos x="2" y="30"/>
                </a:cxn>
                <a:cxn ang="0">
                  <a:pos x="1" y="25"/>
                </a:cxn>
                <a:cxn ang="0">
                  <a:pos x="7" y="9"/>
                </a:cxn>
                <a:cxn ang="0">
                  <a:pos x="14" y="0"/>
                </a:cxn>
              </a:cxnLst>
              <a:rect l="0" t="0" r="r" b="b"/>
              <a:pathLst>
                <a:path w="245" h="104">
                  <a:moveTo>
                    <a:pt x="245" y="83"/>
                  </a:moveTo>
                  <a:lnTo>
                    <a:pt x="243" y="83"/>
                  </a:lnTo>
                  <a:lnTo>
                    <a:pt x="240" y="86"/>
                  </a:lnTo>
                  <a:lnTo>
                    <a:pt x="239" y="87"/>
                  </a:lnTo>
                  <a:lnTo>
                    <a:pt x="237" y="86"/>
                  </a:lnTo>
                  <a:lnTo>
                    <a:pt x="237" y="84"/>
                  </a:lnTo>
                  <a:lnTo>
                    <a:pt x="237" y="82"/>
                  </a:lnTo>
                  <a:lnTo>
                    <a:pt x="235" y="81"/>
                  </a:lnTo>
                  <a:lnTo>
                    <a:pt x="233" y="81"/>
                  </a:lnTo>
                  <a:lnTo>
                    <a:pt x="232" y="82"/>
                  </a:lnTo>
                  <a:lnTo>
                    <a:pt x="230" y="82"/>
                  </a:lnTo>
                  <a:lnTo>
                    <a:pt x="225" y="81"/>
                  </a:lnTo>
                  <a:lnTo>
                    <a:pt x="223" y="82"/>
                  </a:lnTo>
                  <a:lnTo>
                    <a:pt x="221" y="80"/>
                  </a:lnTo>
                  <a:lnTo>
                    <a:pt x="218" y="81"/>
                  </a:lnTo>
                  <a:lnTo>
                    <a:pt x="217" y="82"/>
                  </a:lnTo>
                  <a:lnTo>
                    <a:pt x="215" y="82"/>
                  </a:lnTo>
                  <a:lnTo>
                    <a:pt x="215" y="80"/>
                  </a:lnTo>
                  <a:lnTo>
                    <a:pt x="214" y="80"/>
                  </a:lnTo>
                  <a:lnTo>
                    <a:pt x="212" y="82"/>
                  </a:lnTo>
                  <a:lnTo>
                    <a:pt x="208" y="85"/>
                  </a:lnTo>
                  <a:lnTo>
                    <a:pt x="202" y="86"/>
                  </a:lnTo>
                  <a:lnTo>
                    <a:pt x="197" y="86"/>
                  </a:lnTo>
                  <a:lnTo>
                    <a:pt x="193" y="85"/>
                  </a:lnTo>
                  <a:lnTo>
                    <a:pt x="190" y="86"/>
                  </a:lnTo>
                  <a:lnTo>
                    <a:pt x="182" y="91"/>
                  </a:lnTo>
                  <a:lnTo>
                    <a:pt x="178" y="92"/>
                  </a:lnTo>
                  <a:lnTo>
                    <a:pt x="172" y="93"/>
                  </a:lnTo>
                  <a:lnTo>
                    <a:pt x="169" y="92"/>
                  </a:lnTo>
                  <a:lnTo>
                    <a:pt x="160" y="88"/>
                  </a:lnTo>
                  <a:lnTo>
                    <a:pt x="158" y="89"/>
                  </a:lnTo>
                  <a:lnTo>
                    <a:pt x="152" y="91"/>
                  </a:lnTo>
                  <a:lnTo>
                    <a:pt x="148" y="92"/>
                  </a:lnTo>
                  <a:lnTo>
                    <a:pt x="145" y="92"/>
                  </a:lnTo>
                  <a:lnTo>
                    <a:pt x="140" y="91"/>
                  </a:lnTo>
                  <a:lnTo>
                    <a:pt x="139" y="91"/>
                  </a:lnTo>
                  <a:lnTo>
                    <a:pt x="138" y="90"/>
                  </a:lnTo>
                  <a:lnTo>
                    <a:pt x="137" y="93"/>
                  </a:lnTo>
                  <a:lnTo>
                    <a:pt x="138" y="96"/>
                  </a:lnTo>
                  <a:lnTo>
                    <a:pt x="140" y="99"/>
                  </a:lnTo>
                  <a:lnTo>
                    <a:pt x="136" y="100"/>
                  </a:lnTo>
                  <a:lnTo>
                    <a:pt x="135" y="103"/>
                  </a:lnTo>
                  <a:lnTo>
                    <a:pt x="134" y="104"/>
                  </a:lnTo>
                  <a:lnTo>
                    <a:pt x="133" y="104"/>
                  </a:lnTo>
                  <a:lnTo>
                    <a:pt x="132" y="104"/>
                  </a:lnTo>
                  <a:lnTo>
                    <a:pt x="130" y="104"/>
                  </a:lnTo>
                  <a:lnTo>
                    <a:pt x="128" y="104"/>
                  </a:lnTo>
                  <a:lnTo>
                    <a:pt x="127" y="100"/>
                  </a:lnTo>
                  <a:lnTo>
                    <a:pt x="126" y="100"/>
                  </a:lnTo>
                  <a:lnTo>
                    <a:pt x="127" y="98"/>
                  </a:lnTo>
                  <a:lnTo>
                    <a:pt x="128" y="97"/>
                  </a:lnTo>
                  <a:lnTo>
                    <a:pt x="131" y="94"/>
                  </a:lnTo>
                  <a:lnTo>
                    <a:pt x="131" y="93"/>
                  </a:lnTo>
                  <a:lnTo>
                    <a:pt x="131" y="92"/>
                  </a:lnTo>
                  <a:lnTo>
                    <a:pt x="130" y="90"/>
                  </a:lnTo>
                  <a:lnTo>
                    <a:pt x="129" y="89"/>
                  </a:lnTo>
                  <a:lnTo>
                    <a:pt x="126" y="92"/>
                  </a:lnTo>
                  <a:lnTo>
                    <a:pt x="125" y="92"/>
                  </a:lnTo>
                  <a:lnTo>
                    <a:pt x="124" y="93"/>
                  </a:lnTo>
                  <a:lnTo>
                    <a:pt x="124" y="93"/>
                  </a:lnTo>
                  <a:lnTo>
                    <a:pt x="124" y="95"/>
                  </a:lnTo>
                  <a:lnTo>
                    <a:pt x="122" y="95"/>
                  </a:lnTo>
                  <a:lnTo>
                    <a:pt x="122" y="94"/>
                  </a:lnTo>
                  <a:lnTo>
                    <a:pt x="122" y="95"/>
                  </a:lnTo>
                  <a:lnTo>
                    <a:pt x="120" y="95"/>
                  </a:lnTo>
                  <a:lnTo>
                    <a:pt x="118" y="94"/>
                  </a:lnTo>
                  <a:lnTo>
                    <a:pt x="115" y="92"/>
                  </a:lnTo>
                  <a:lnTo>
                    <a:pt x="113" y="91"/>
                  </a:lnTo>
                  <a:lnTo>
                    <a:pt x="110" y="92"/>
                  </a:lnTo>
                  <a:lnTo>
                    <a:pt x="106" y="96"/>
                  </a:lnTo>
                  <a:lnTo>
                    <a:pt x="103" y="98"/>
                  </a:lnTo>
                  <a:lnTo>
                    <a:pt x="103" y="99"/>
                  </a:lnTo>
                  <a:lnTo>
                    <a:pt x="103" y="100"/>
                  </a:lnTo>
                  <a:lnTo>
                    <a:pt x="102" y="100"/>
                  </a:lnTo>
                  <a:lnTo>
                    <a:pt x="102" y="101"/>
                  </a:lnTo>
                  <a:lnTo>
                    <a:pt x="101" y="100"/>
                  </a:lnTo>
                  <a:lnTo>
                    <a:pt x="97" y="101"/>
                  </a:lnTo>
                  <a:lnTo>
                    <a:pt x="93" y="102"/>
                  </a:lnTo>
                  <a:lnTo>
                    <a:pt x="90" y="102"/>
                  </a:lnTo>
                  <a:lnTo>
                    <a:pt x="86" y="102"/>
                  </a:lnTo>
                  <a:lnTo>
                    <a:pt x="82" y="100"/>
                  </a:lnTo>
                  <a:lnTo>
                    <a:pt x="77" y="94"/>
                  </a:lnTo>
                  <a:lnTo>
                    <a:pt x="70" y="90"/>
                  </a:lnTo>
                  <a:lnTo>
                    <a:pt x="64" y="89"/>
                  </a:lnTo>
                  <a:lnTo>
                    <a:pt x="59" y="89"/>
                  </a:lnTo>
                  <a:lnTo>
                    <a:pt x="59" y="91"/>
                  </a:lnTo>
                  <a:lnTo>
                    <a:pt x="58" y="96"/>
                  </a:lnTo>
                  <a:lnTo>
                    <a:pt x="58" y="99"/>
                  </a:lnTo>
                  <a:lnTo>
                    <a:pt x="57" y="100"/>
                  </a:lnTo>
                  <a:lnTo>
                    <a:pt x="55" y="100"/>
                  </a:lnTo>
                  <a:lnTo>
                    <a:pt x="54" y="99"/>
                  </a:lnTo>
                  <a:lnTo>
                    <a:pt x="47" y="101"/>
                  </a:lnTo>
                  <a:lnTo>
                    <a:pt x="45" y="100"/>
                  </a:lnTo>
                  <a:lnTo>
                    <a:pt x="43" y="99"/>
                  </a:lnTo>
                  <a:lnTo>
                    <a:pt x="39" y="91"/>
                  </a:lnTo>
                  <a:lnTo>
                    <a:pt x="36" y="93"/>
                  </a:lnTo>
                  <a:lnTo>
                    <a:pt x="32" y="90"/>
                  </a:lnTo>
                  <a:lnTo>
                    <a:pt x="29" y="90"/>
                  </a:lnTo>
                  <a:lnTo>
                    <a:pt x="26" y="93"/>
                  </a:lnTo>
                  <a:lnTo>
                    <a:pt x="25" y="91"/>
                  </a:lnTo>
                  <a:lnTo>
                    <a:pt x="25" y="89"/>
                  </a:lnTo>
                  <a:lnTo>
                    <a:pt x="26" y="88"/>
                  </a:lnTo>
                  <a:lnTo>
                    <a:pt x="26" y="87"/>
                  </a:lnTo>
                  <a:lnTo>
                    <a:pt x="20" y="87"/>
                  </a:lnTo>
                  <a:lnTo>
                    <a:pt x="17" y="87"/>
                  </a:lnTo>
                  <a:lnTo>
                    <a:pt x="16" y="85"/>
                  </a:lnTo>
                  <a:lnTo>
                    <a:pt x="20" y="83"/>
                  </a:lnTo>
                  <a:lnTo>
                    <a:pt x="19" y="82"/>
                  </a:lnTo>
                  <a:lnTo>
                    <a:pt x="17" y="80"/>
                  </a:lnTo>
                  <a:lnTo>
                    <a:pt x="15" y="80"/>
                  </a:lnTo>
                  <a:lnTo>
                    <a:pt x="14" y="77"/>
                  </a:lnTo>
                  <a:lnTo>
                    <a:pt x="14" y="75"/>
                  </a:lnTo>
                  <a:lnTo>
                    <a:pt x="15" y="73"/>
                  </a:lnTo>
                  <a:lnTo>
                    <a:pt x="14" y="71"/>
                  </a:lnTo>
                  <a:lnTo>
                    <a:pt x="12" y="70"/>
                  </a:lnTo>
                  <a:lnTo>
                    <a:pt x="8" y="67"/>
                  </a:lnTo>
                  <a:lnTo>
                    <a:pt x="6" y="68"/>
                  </a:lnTo>
                  <a:lnTo>
                    <a:pt x="5" y="67"/>
                  </a:lnTo>
                  <a:lnTo>
                    <a:pt x="5" y="65"/>
                  </a:lnTo>
                  <a:lnTo>
                    <a:pt x="6" y="62"/>
                  </a:lnTo>
                  <a:lnTo>
                    <a:pt x="7" y="62"/>
                  </a:lnTo>
                  <a:lnTo>
                    <a:pt x="9" y="64"/>
                  </a:lnTo>
                  <a:lnTo>
                    <a:pt x="13" y="62"/>
                  </a:lnTo>
                  <a:lnTo>
                    <a:pt x="10" y="60"/>
                  </a:lnTo>
                  <a:lnTo>
                    <a:pt x="10" y="59"/>
                  </a:lnTo>
                  <a:lnTo>
                    <a:pt x="9" y="58"/>
                  </a:lnTo>
                  <a:lnTo>
                    <a:pt x="9" y="58"/>
                  </a:lnTo>
                  <a:lnTo>
                    <a:pt x="12" y="56"/>
                  </a:lnTo>
                  <a:lnTo>
                    <a:pt x="13" y="55"/>
                  </a:lnTo>
                  <a:lnTo>
                    <a:pt x="13" y="54"/>
                  </a:lnTo>
                  <a:lnTo>
                    <a:pt x="12" y="54"/>
                  </a:lnTo>
                  <a:lnTo>
                    <a:pt x="10" y="53"/>
                  </a:lnTo>
                  <a:lnTo>
                    <a:pt x="10" y="52"/>
                  </a:lnTo>
                  <a:lnTo>
                    <a:pt x="11" y="52"/>
                  </a:lnTo>
                  <a:lnTo>
                    <a:pt x="10" y="50"/>
                  </a:lnTo>
                  <a:lnTo>
                    <a:pt x="9" y="49"/>
                  </a:lnTo>
                  <a:lnTo>
                    <a:pt x="9" y="48"/>
                  </a:lnTo>
                  <a:lnTo>
                    <a:pt x="7" y="48"/>
                  </a:lnTo>
                  <a:lnTo>
                    <a:pt x="9" y="47"/>
                  </a:lnTo>
                  <a:lnTo>
                    <a:pt x="11" y="45"/>
                  </a:lnTo>
                  <a:lnTo>
                    <a:pt x="12" y="44"/>
                  </a:lnTo>
                  <a:lnTo>
                    <a:pt x="12" y="43"/>
                  </a:lnTo>
                  <a:lnTo>
                    <a:pt x="10" y="43"/>
                  </a:lnTo>
                  <a:lnTo>
                    <a:pt x="7" y="44"/>
                  </a:lnTo>
                  <a:lnTo>
                    <a:pt x="1" y="45"/>
                  </a:lnTo>
                  <a:lnTo>
                    <a:pt x="1" y="45"/>
                  </a:lnTo>
                  <a:lnTo>
                    <a:pt x="1" y="42"/>
                  </a:lnTo>
                  <a:lnTo>
                    <a:pt x="1" y="41"/>
                  </a:lnTo>
                  <a:lnTo>
                    <a:pt x="1" y="40"/>
                  </a:lnTo>
                  <a:lnTo>
                    <a:pt x="1" y="38"/>
                  </a:lnTo>
                  <a:lnTo>
                    <a:pt x="2" y="35"/>
                  </a:lnTo>
                  <a:lnTo>
                    <a:pt x="4" y="35"/>
                  </a:lnTo>
                  <a:lnTo>
                    <a:pt x="5" y="32"/>
                  </a:lnTo>
                  <a:lnTo>
                    <a:pt x="6" y="32"/>
                  </a:lnTo>
                  <a:lnTo>
                    <a:pt x="10" y="29"/>
                  </a:lnTo>
                  <a:lnTo>
                    <a:pt x="13" y="29"/>
                  </a:lnTo>
                  <a:lnTo>
                    <a:pt x="13" y="28"/>
                  </a:lnTo>
                  <a:lnTo>
                    <a:pt x="16" y="28"/>
                  </a:lnTo>
                  <a:lnTo>
                    <a:pt x="17" y="29"/>
                  </a:lnTo>
                  <a:lnTo>
                    <a:pt x="19" y="30"/>
                  </a:lnTo>
                  <a:lnTo>
                    <a:pt x="20" y="31"/>
                  </a:lnTo>
                  <a:lnTo>
                    <a:pt x="23" y="31"/>
                  </a:lnTo>
                  <a:lnTo>
                    <a:pt x="23" y="29"/>
                  </a:lnTo>
                  <a:lnTo>
                    <a:pt x="23" y="29"/>
                  </a:lnTo>
                  <a:lnTo>
                    <a:pt x="22" y="28"/>
                  </a:lnTo>
                  <a:lnTo>
                    <a:pt x="23" y="27"/>
                  </a:lnTo>
                  <a:lnTo>
                    <a:pt x="25" y="27"/>
                  </a:lnTo>
                  <a:lnTo>
                    <a:pt x="26" y="28"/>
                  </a:lnTo>
                  <a:lnTo>
                    <a:pt x="25" y="29"/>
                  </a:lnTo>
                  <a:lnTo>
                    <a:pt x="26" y="29"/>
                  </a:lnTo>
                  <a:lnTo>
                    <a:pt x="32" y="29"/>
                  </a:lnTo>
                  <a:lnTo>
                    <a:pt x="35" y="29"/>
                  </a:lnTo>
                  <a:lnTo>
                    <a:pt x="38" y="29"/>
                  </a:lnTo>
                  <a:lnTo>
                    <a:pt x="40" y="30"/>
                  </a:lnTo>
                  <a:lnTo>
                    <a:pt x="40" y="28"/>
                  </a:lnTo>
                  <a:lnTo>
                    <a:pt x="40" y="28"/>
                  </a:lnTo>
                  <a:lnTo>
                    <a:pt x="37" y="28"/>
                  </a:lnTo>
                  <a:lnTo>
                    <a:pt x="36" y="26"/>
                  </a:lnTo>
                  <a:lnTo>
                    <a:pt x="37" y="25"/>
                  </a:lnTo>
                  <a:lnTo>
                    <a:pt x="46" y="24"/>
                  </a:lnTo>
                  <a:lnTo>
                    <a:pt x="48" y="23"/>
                  </a:lnTo>
                  <a:lnTo>
                    <a:pt x="50" y="23"/>
                  </a:lnTo>
                  <a:lnTo>
                    <a:pt x="48" y="23"/>
                  </a:lnTo>
                  <a:lnTo>
                    <a:pt x="44" y="23"/>
                  </a:lnTo>
                  <a:lnTo>
                    <a:pt x="43" y="23"/>
                  </a:lnTo>
                  <a:lnTo>
                    <a:pt x="43" y="22"/>
                  </a:lnTo>
                  <a:lnTo>
                    <a:pt x="39" y="19"/>
                  </a:lnTo>
                  <a:lnTo>
                    <a:pt x="41" y="14"/>
                  </a:lnTo>
                  <a:lnTo>
                    <a:pt x="46" y="16"/>
                  </a:lnTo>
                  <a:lnTo>
                    <a:pt x="54" y="16"/>
                  </a:lnTo>
                  <a:lnTo>
                    <a:pt x="55" y="15"/>
                  </a:lnTo>
                  <a:lnTo>
                    <a:pt x="62" y="17"/>
                  </a:lnTo>
                  <a:lnTo>
                    <a:pt x="68" y="17"/>
                  </a:lnTo>
                  <a:lnTo>
                    <a:pt x="70" y="16"/>
                  </a:lnTo>
                  <a:lnTo>
                    <a:pt x="70" y="13"/>
                  </a:lnTo>
                  <a:lnTo>
                    <a:pt x="74" y="11"/>
                  </a:lnTo>
                  <a:lnTo>
                    <a:pt x="76" y="10"/>
                  </a:lnTo>
                  <a:lnTo>
                    <a:pt x="83" y="5"/>
                  </a:lnTo>
                  <a:lnTo>
                    <a:pt x="87" y="4"/>
                  </a:lnTo>
                  <a:lnTo>
                    <a:pt x="93" y="2"/>
                  </a:lnTo>
                  <a:lnTo>
                    <a:pt x="98" y="1"/>
                  </a:lnTo>
                  <a:lnTo>
                    <a:pt x="103" y="2"/>
                  </a:lnTo>
                  <a:lnTo>
                    <a:pt x="108" y="3"/>
                  </a:lnTo>
                  <a:lnTo>
                    <a:pt x="113" y="3"/>
                  </a:lnTo>
                  <a:lnTo>
                    <a:pt x="117" y="0"/>
                  </a:lnTo>
                  <a:lnTo>
                    <a:pt x="118" y="4"/>
                  </a:lnTo>
                  <a:lnTo>
                    <a:pt x="121" y="7"/>
                  </a:lnTo>
                  <a:lnTo>
                    <a:pt x="122" y="7"/>
                  </a:lnTo>
                  <a:lnTo>
                    <a:pt x="126" y="7"/>
                  </a:lnTo>
                  <a:lnTo>
                    <a:pt x="130" y="6"/>
                  </a:lnTo>
                  <a:lnTo>
                    <a:pt x="132" y="12"/>
                  </a:lnTo>
                  <a:lnTo>
                    <a:pt x="135" y="14"/>
                  </a:lnTo>
                  <a:lnTo>
                    <a:pt x="139" y="13"/>
                  </a:lnTo>
                  <a:lnTo>
                    <a:pt x="141" y="13"/>
                  </a:lnTo>
                  <a:lnTo>
                    <a:pt x="146" y="18"/>
                  </a:lnTo>
                  <a:lnTo>
                    <a:pt x="154" y="18"/>
                  </a:lnTo>
                  <a:lnTo>
                    <a:pt x="160" y="20"/>
                  </a:lnTo>
                  <a:lnTo>
                    <a:pt x="165" y="20"/>
                  </a:lnTo>
                  <a:lnTo>
                    <a:pt x="171" y="17"/>
                  </a:lnTo>
                  <a:lnTo>
                    <a:pt x="174" y="17"/>
                  </a:lnTo>
                  <a:lnTo>
                    <a:pt x="178" y="18"/>
                  </a:lnTo>
                  <a:lnTo>
                    <a:pt x="182" y="19"/>
                  </a:lnTo>
                  <a:lnTo>
                    <a:pt x="187" y="19"/>
                  </a:lnTo>
                  <a:lnTo>
                    <a:pt x="190" y="18"/>
                  </a:lnTo>
                  <a:lnTo>
                    <a:pt x="199" y="13"/>
                  </a:lnTo>
                  <a:lnTo>
                    <a:pt x="202" y="11"/>
                  </a:lnTo>
                  <a:lnTo>
                    <a:pt x="209" y="11"/>
                  </a:lnTo>
                  <a:lnTo>
                    <a:pt x="212" y="12"/>
                  </a:lnTo>
                  <a:lnTo>
                    <a:pt x="213" y="11"/>
                  </a:lnTo>
                  <a:lnTo>
                    <a:pt x="218" y="8"/>
                  </a:lnTo>
                  <a:lnTo>
                    <a:pt x="220" y="9"/>
                  </a:lnTo>
                  <a:lnTo>
                    <a:pt x="228" y="17"/>
                  </a:lnTo>
                  <a:lnTo>
                    <a:pt x="228" y="17"/>
                  </a:lnTo>
                  <a:lnTo>
                    <a:pt x="233" y="23"/>
                  </a:lnTo>
                  <a:lnTo>
                    <a:pt x="233" y="24"/>
                  </a:lnTo>
                  <a:lnTo>
                    <a:pt x="230" y="31"/>
                  </a:lnTo>
                  <a:lnTo>
                    <a:pt x="231" y="34"/>
                  </a:lnTo>
                  <a:lnTo>
                    <a:pt x="232" y="35"/>
                  </a:lnTo>
                  <a:lnTo>
                    <a:pt x="241" y="36"/>
                  </a:lnTo>
                  <a:lnTo>
                    <a:pt x="244" y="40"/>
                  </a:lnTo>
                  <a:lnTo>
                    <a:pt x="243" y="41"/>
                  </a:lnTo>
                  <a:lnTo>
                    <a:pt x="241" y="41"/>
                  </a:lnTo>
                  <a:lnTo>
                    <a:pt x="239" y="42"/>
                  </a:lnTo>
                  <a:lnTo>
                    <a:pt x="239" y="46"/>
                  </a:lnTo>
                  <a:lnTo>
                    <a:pt x="236" y="47"/>
                  </a:lnTo>
                  <a:lnTo>
                    <a:pt x="236" y="49"/>
                  </a:lnTo>
                  <a:lnTo>
                    <a:pt x="237" y="55"/>
                  </a:lnTo>
                  <a:lnTo>
                    <a:pt x="236" y="58"/>
                  </a:lnTo>
                  <a:lnTo>
                    <a:pt x="238" y="61"/>
                  </a:lnTo>
                  <a:lnTo>
                    <a:pt x="238" y="62"/>
                  </a:lnTo>
                  <a:lnTo>
                    <a:pt x="239" y="61"/>
                  </a:lnTo>
                  <a:lnTo>
                    <a:pt x="241" y="63"/>
                  </a:lnTo>
                  <a:lnTo>
                    <a:pt x="241" y="64"/>
                  </a:lnTo>
                  <a:lnTo>
                    <a:pt x="239" y="66"/>
                  </a:lnTo>
                  <a:lnTo>
                    <a:pt x="238" y="70"/>
                  </a:lnTo>
                  <a:lnTo>
                    <a:pt x="238" y="71"/>
                  </a:lnTo>
                  <a:lnTo>
                    <a:pt x="239" y="72"/>
                  </a:lnTo>
                  <a:lnTo>
                    <a:pt x="241" y="73"/>
                  </a:lnTo>
                  <a:lnTo>
                    <a:pt x="240" y="75"/>
                  </a:lnTo>
                  <a:lnTo>
                    <a:pt x="241" y="78"/>
                  </a:lnTo>
                  <a:lnTo>
                    <a:pt x="244" y="81"/>
                  </a:lnTo>
                  <a:lnTo>
                    <a:pt x="245" y="81"/>
                  </a:lnTo>
                  <a:lnTo>
                    <a:pt x="245" y="83"/>
                  </a:lnTo>
                  <a:close/>
                  <a:moveTo>
                    <a:pt x="25" y="1"/>
                  </a:moveTo>
                  <a:lnTo>
                    <a:pt x="26" y="3"/>
                  </a:lnTo>
                  <a:lnTo>
                    <a:pt x="26" y="5"/>
                  </a:lnTo>
                  <a:lnTo>
                    <a:pt x="26" y="7"/>
                  </a:lnTo>
                  <a:lnTo>
                    <a:pt x="27" y="8"/>
                  </a:lnTo>
                  <a:lnTo>
                    <a:pt x="31" y="11"/>
                  </a:lnTo>
                  <a:lnTo>
                    <a:pt x="35" y="13"/>
                  </a:lnTo>
                  <a:lnTo>
                    <a:pt x="39" y="14"/>
                  </a:lnTo>
                  <a:lnTo>
                    <a:pt x="40" y="15"/>
                  </a:lnTo>
                  <a:lnTo>
                    <a:pt x="38" y="19"/>
                  </a:lnTo>
                  <a:lnTo>
                    <a:pt x="37" y="20"/>
                  </a:lnTo>
                  <a:lnTo>
                    <a:pt x="34" y="19"/>
                  </a:lnTo>
                  <a:lnTo>
                    <a:pt x="28" y="17"/>
                  </a:lnTo>
                  <a:lnTo>
                    <a:pt x="26" y="18"/>
                  </a:lnTo>
                  <a:lnTo>
                    <a:pt x="25" y="19"/>
                  </a:lnTo>
                  <a:lnTo>
                    <a:pt x="19" y="19"/>
                  </a:lnTo>
                  <a:lnTo>
                    <a:pt x="17" y="22"/>
                  </a:lnTo>
                  <a:lnTo>
                    <a:pt x="16" y="24"/>
                  </a:lnTo>
                  <a:lnTo>
                    <a:pt x="11" y="26"/>
                  </a:lnTo>
                  <a:lnTo>
                    <a:pt x="8" y="29"/>
                  </a:lnTo>
                  <a:lnTo>
                    <a:pt x="6" y="31"/>
                  </a:lnTo>
                  <a:lnTo>
                    <a:pt x="4" y="32"/>
                  </a:lnTo>
                  <a:lnTo>
                    <a:pt x="3" y="34"/>
                  </a:lnTo>
                  <a:lnTo>
                    <a:pt x="1" y="35"/>
                  </a:lnTo>
                  <a:lnTo>
                    <a:pt x="2" y="33"/>
                  </a:lnTo>
                  <a:lnTo>
                    <a:pt x="2" y="32"/>
                  </a:lnTo>
                  <a:lnTo>
                    <a:pt x="2" y="30"/>
                  </a:lnTo>
                  <a:lnTo>
                    <a:pt x="5" y="28"/>
                  </a:lnTo>
                  <a:lnTo>
                    <a:pt x="7" y="27"/>
                  </a:lnTo>
                  <a:lnTo>
                    <a:pt x="5" y="25"/>
                  </a:lnTo>
                  <a:lnTo>
                    <a:pt x="5" y="26"/>
                  </a:lnTo>
                  <a:lnTo>
                    <a:pt x="1" y="25"/>
                  </a:lnTo>
                  <a:lnTo>
                    <a:pt x="0" y="24"/>
                  </a:lnTo>
                  <a:lnTo>
                    <a:pt x="2" y="20"/>
                  </a:lnTo>
                  <a:lnTo>
                    <a:pt x="4" y="16"/>
                  </a:lnTo>
                  <a:lnTo>
                    <a:pt x="8" y="10"/>
                  </a:lnTo>
                  <a:lnTo>
                    <a:pt x="7" y="9"/>
                  </a:lnTo>
                  <a:lnTo>
                    <a:pt x="5" y="7"/>
                  </a:lnTo>
                  <a:lnTo>
                    <a:pt x="4" y="7"/>
                  </a:lnTo>
                  <a:lnTo>
                    <a:pt x="7" y="4"/>
                  </a:lnTo>
                  <a:lnTo>
                    <a:pt x="11" y="1"/>
                  </a:lnTo>
                  <a:lnTo>
                    <a:pt x="14" y="0"/>
                  </a:lnTo>
                  <a:lnTo>
                    <a:pt x="17" y="1"/>
                  </a:lnTo>
                  <a:lnTo>
                    <a:pt x="25" y="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697" name="Freeform 6">
              <a:extLst>
                <a:ext uri="{FF2B5EF4-FFF2-40B4-BE49-F238E27FC236}">
                  <a16:creationId xmlns:a16="http://schemas.microsoft.com/office/drawing/2014/main" id="{9F517AFB-7C7B-D290-9784-E700A5D60C16}"/>
                </a:ext>
              </a:extLst>
            </p:cNvPr>
            <p:cNvSpPr>
              <a:spLocks/>
            </p:cNvSpPr>
            <p:nvPr/>
          </p:nvSpPr>
          <p:spPr bwMode="auto">
            <a:xfrm>
              <a:off x="9013409" y="3238500"/>
              <a:ext cx="207963" cy="230188"/>
            </a:xfrm>
            <a:custGeom>
              <a:avLst/>
              <a:gdLst/>
              <a:ahLst/>
              <a:cxnLst>
                <a:cxn ang="0">
                  <a:pos x="0" y="125"/>
                </a:cxn>
                <a:cxn ang="0">
                  <a:pos x="0" y="115"/>
                </a:cxn>
                <a:cxn ang="0">
                  <a:pos x="0" y="66"/>
                </a:cxn>
                <a:cxn ang="0">
                  <a:pos x="0" y="0"/>
                </a:cxn>
                <a:cxn ang="0">
                  <a:pos x="26" y="19"/>
                </a:cxn>
                <a:cxn ang="0">
                  <a:pos x="54" y="36"/>
                </a:cxn>
                <a:cxn ang="0">
                  <a:pos x="61" y="45"/>
                </a:cxn>
                <a:cxn ang="0">
                  <a:pos x="64" y="54"/>
                </a:cxn>
                <a:cxn ang="0">
                  <a:pos x="65" y="72"/>
                </a:cxn>
                <a:cxn ang="0">
                  <a:pos x="76" y="87"/>
                </a:cxn>
                <a:cxn ang="0">
                  <a:pos x="78" y="82"/>
                </a:cxn>
                <a:cxn ang="0">
                  <a:pos x="74" y="74"/>
                </a:cxn>
                <a:cxn ang="0">
                  <a:pos x="74" y="62"/>
                </a:cxn>
                <a:cxn ang="0">
                  <a:pos x="86" y="63"/>
                </a:cxn>
                <a:cxn ang="0">
                  <a:pos x="93" y="66"/>
                </a:cxn>
                <a:cxn ang="0">
                  <a:pos x="105" y="66"/>
                </a:cxn>
                <a:cxn ang="0">
                  <a:pos x="114" y="77"/>
                </a:cxn>
                <a:cxn ang="0">
                  <a:pos x="125" y="88"/>
                </a:cxn>
                <a:cxn ang="0">
                  <a:pos x="131" y="93"/>
                </a:cxn>
                <a:cxn ang="0">
                  <a:pos x="129" y="96"/>
                </a:cxn>
                <a:cxn ang="0">
                  <a:pos x="122" y="95"/>
                </a:cxn>
                <a:cxn ang="0">
                  <a:pos x="108" y="100"/>
                </a:cxn>
                <a:cxn ang="0">
                  <a:pos x="111" y="105"/>
                </a:cxn>
                <a:cxn ang="0">
                  <a:pos x="107" y="108"/>
                </a:cxn>
                <a:cxn ang="0">
                  <a:pos x="95" y="103"/>
                </a:cxn>
                <a:cxn ang="0">
                  <a:pos x="92" y="104"/>
                </a:cxn>
                <a:cxn ang="0">
                  <a:pos x="94" y="108"/>
                </a:cxn>
                <a:cxn ang="0">
                  <a:pos x="98" y="115"/>
                </a:cxn>
                <a:cxn ang="0">
                  <a:pos x="99" y="126"/>
                </a:cxn>
                <a:cxn ang="0">
                  <a:pos x="89" y="127"/>
                </a:cxn>
                <a:cxn ang="0">
                  <a:pos x="91" y="141"/>
                </a:cxn>
                <a:cxn ang="0">
                  <a:pos x="84" y="144"/>
                </a:cxn>
                <a:cxn ang="0">
                  <a:pos x="75" y="142"/>
                </a:cxn>
                <a:cxn ang="0">
                  <a:pos x="64" y="131"/>
                </a:cxn>
                <a:cxn ang="0">
                  <a:pos x="56" y="129"/>
                </a:cxn>
                <a:cxn ang="0">
                  <a:pos x="53" y="121"/>
                </a:cxn>
                <a:cxn ang="0">
                  <a:pos x="52" y="113"/>
                </a:cxn>
                <a:cxn ang="0">
                  <a:pos x="44" y="107"/>
                </a:cxn>
                <a:cxn ang="0">
                  <a:pos x="34" y="111"/>
                </a:cxn>
                <a:cxn ang="0">
                  <a:pos x="20" y="110"/>
                </a:cxn>
                <a:cxn ang="0">
                  <a:pos x="19" y="101"/>
                </a:cxn>
                <a:cxn ang="0">
                  <a:pos x="11" y="96"/>
                </a:cxn>
                <a:cxn ang="0">
                  <a:pos x="5" y="119"/>
                </a:cxn>
                <a:cxn ang="0">
                  <a:pos x="0" y="133"/>
                </a:cxn>
              </a:cxnLst>
              <a:rect l="0" t="0" r="r" b="b"/>
              <a:pathLst>
                <a:path w="131" h="145">
                  <a:moveTo>
                    <a:pt x="0" y="133"/>
                  </a:moveTo>
                  <a:lnTo>
                    <a:pt x="0" y="125"/>
                  </a:lnTo>
                  <a:lnTo>
                    <a:pt x="0" y="117"/>
                  </a:lnTo>
                  <a:lnTo>
                    <a:pt x="0" y="115"/>
                  </a:lnTo>
                  <a:lnTo>
                    <a:pt x="0" y="97"/>
                  </a:lnTo>
                  <a:lnTo>
                    <a:pt x="0" y="66"/>
                  </a:lnTo>
                  <a:lnTo>
                    <a:pt x="0" y="33"/>
                  </a:lnTo>
                  <a:lnTo>
                    <a:pt x="0" y="0"/>
                  </a:lnTo>
                  <a:lnTo>
                    <a:pt x="17" y="9"/>
                  </a:lnTo>
                  <a:lnTo>
                    <a:pt x="26" y="19"/>
                  </a:lnTo>
                  <a:lnTo>
                    <a:pt x="32" y="21"/>
                  </a:lnTo>
                  <a:lnTo>
                    <a:pt x="54" y="36"/>
                  </a:lnTo>
                  <a:lnTo>
                    <a:pt x="60" y="42"/>
                  </a:lnTo>
                  <a:lnTo>
                    <a:pt x="61" y="45"/>
                  </a:lnTo>
                  <a:lnTo>
                    <a:pt x="61" y="48"/>
                  </a:lnTo>
                  <a:lnTo>
                    <a:pt x="64" y="54"/>
                  </a:lnTo>
                  <a:lnTo>
                    <a:pt x="66" y="66"/>
                  </a:lnTo>
                  <a:lnTo>
                    <a:pt x="65" y="72"/>
                  </a:lnTo>
                  <a:lnTo>
                    <a:pt x="71" y="84"/>
                  </a:lnTo>
                  <a:lnTo>
                    <a:pt x="76" y="87"/>
                  </a:lnTo>
                  <a:lnTo>
                    <a:pt x="76" y="85"/>
                  </a:lnTo>
                  <a:lnTo>
                    <a:pt x="78" y="82"/>
                  </a:lnTo>
                  <a:lnTo>
                    <a:pt x="78" y="79"/>
                  </a:lnTo>
                  <a:lnTo>
                    <a:pt x="74" y="74"/>
                  </a:lnTo>
                  <a:lnTo>
                    <a:pt x="74" y="66"/>
                  </a:lnTo>
                  <a:lnTo>
                    <a:pt x="74" y="62"/>
                  </a:lnTo>
                  <a:lnTo>
                    <a:pt x="80" y="59"/>
                  </a:lnTo>
                  <a:lnTo>
                    <a:pt x="86" y="63"/>
                  </a:lnTo>
                  <a:lnTo>
                    <a:pt x="89" y="65"/>
                  </a:lnTo>
                  <a:lnTo>
                    <a:pt x="93" y="66"/>
                  </a:lnTo>
                  <a:lnTo>
                    <a:pt x="99" y="64"/>
                  </a:lnTo>
                  <a:lnTo>
                    <a:pt x="105" y="66"/>
                  </a:lnTo>
                  <a:lnTo>
                    <a:pt x="110" y="72"/>
                  </a:lnTo>
                  <a:lnTo>
                    <a:pt x="114" y="77"/>
                  </a:lnTo>
                  <a:lnTo>
                    <a:pt x="123" y="87"/>
                  </a:lnTo>
                  <a:lnTo>
                    <a:pt x="125" y="88"/>
                  </a:lnTo>
                  <a:lnTo>
                    <a:pt x="128" y="91"/>
                  </a:lnTo>
                  <a:lnTo>
                    <a:pt x="131" y="93"/>
                  </a:lnTo>
                  <a:lnTo>
                    <a:pt x="131" y="95"/>
                  </a:lnTo>
                  <a:lnTo>
                    <a:pt x="129" y="96"/>
                  </a:lnTo>
                  <a:lnTo>
                    <a:pt x="124" y="94"/>
                  </a:lnTo>
                  <a:lnTo>
                    <a:pt x="122" y="95"/>
                  </a:lnTo>
                  <a:lnTo>
                    <a:pt x="117" y="106"/>
                  </a:lnTo>
                  <a:lnTo>
                    <a:pt x="108" y="100"/>
                  </a:lnTo>
                  <a:lnTo>
                    <a:pt x="109" y="102"/>
                  </a:lnTo>
                  <a:lnTo>
                    <a:pt x="111" y="105"/>
                  </a:lnTo>
                  <a:lnTo>
                    <a:pt x="114" y="109"/>
                  </a:lnTo>
                  <a:lnTo>
                    <a:pt x="107" y="108"/>
                  </a:lnTo>
                  <a:lnTo>
                    <a:pt x="102" y="109"/>
                  </a:lnTo>
                  <a:lnTo>
                    <a:pt x="95" y="103"/>
                  </a:lnTo>
                  <a:lnTo>
                    <a:pt x="91" y="102"/>
                  </a:lnTo>
                  <a:lnTo>
                    <a:pt x="92" y="104"/>
                  </a:lnTo>
                  <a:lnTo>
                    <a:pt x="93" y="108"/>
                  </a:lnTo>
                  <a:lnTo>
                    <a:pt x="94" y="108"/>
                  </a:lnTo>
                  <a:lnTo>
                    <a:pt x="97" y="111"/>
                  </a:lnTo>
                  <a:lnTo>
                    <a:pt x="98" y="115"/>
                  </a:lnTo>
                  <a:lnTo>
                    <a:pt x="99" y="121"/>
                  </a:lnTo>
                  <a:lnTo>
                    <a:pt x="99" y="126"/>
                  </a:lnTo>
                  <a:lnTo>
                    <a:pt x="94" y="127"/>
                  </a:lnTo>
                  <a:lnTo>
                    <a:pt x="89" y="127"/>
                  </a:lnTo>
                  <a:lnTo>
                    <a:pt x="88" y="130"/>
                  </a:lnTo>
                  <a:lnTo>
                    <a:pt x="91" y="141"/>
                  </a:lnTo>
                  <a:lnTo>
                    <a:pt x="90" y="145"/>
                  </a:lnTo>
                  <a:lnTo>
                    <a:pt x="84" y="144"/>
                  </a:lnTo>
                  <a:lnTo>
                    <a:pt x="82" y="145"/>
                  </a:lnTo>
                  <a:lnTo>
                    <a:pt x="75" y="142"/>
                  </a:lnTo>
                  <a:lnTo>
                    <a:pt x="74" y="138"/>
                  </a:lnTo>
                  <a:lnTo>
                    <a:pt x="64" y="131"/>
                  </a:lnTo>
                  <a:lnTo>
                    <a:pt x="62" y="135"/>
                  </a:lnTo>
                  <a:lnTo>
                    <a:pt x="56" y="129"/>
                  </a:lnTo>
                  <a:lnTo>
                    <a:pt x="54" y="126"/>
                  </a:lnTo>
                  <a:lnTo>
                    <a:pt x="53" y="121"/>
                  </a:lnTo>
                  <a:lnTo>
                    <a:pt x="54" y="118"/>
                  </a:lnTo>
                  <a:lnTo>
                    <a:pt x="52" y="113"/>
                  </a:lnTo>
                  <a:lnTo>
                    <a:pt x="47" y="108"/>
                  </a:lnTo>
                  <a:lnTo>
                    <a:pt x="44" y="107"/>
                  </a:lnTo>
                  <a:lnTo>
                    <a:pt x="39" y="108"/>
                  </a:lnTo>
                  <a:lnTo>
                    <a:pt x="34" y="111"/>
                  </a:lnTo>
                  <a:lnTo>
                    <a:pt x="27" y="112"/>
                  </a:lnTo>
                  <a:lnTo>
                    <a:pt x="20" y="110"/>
                  </a:lnTo>
                  <a:lnTo>
                    <a:pt x="20" y="106"/>
                  </a:lnTo>
                  <a:lnTo>
                    <a:pt x="19" y="101"/>
                  </a:lnTo>
                  <a:lnTo>
                    <a:pt x="16" y="94"/>
                  </a:lnTo>
                  <a:lnTo>
                    <a:pt x="11" y="96"/>
                  </a:lnTo>
                  <a:lnTo>
                    <a:pt x="8" y="102"/>
                  </a:lnTo>
                  <a:lnTo>
                    <a:pt x="5" y="119"/>
                  </a:lnTo>
                  <a:lnTo>
                    <a:pt x="3" y="129"/>
                  </a:lnTo>
                  <a:lnTo>
                    <a:pt x="0" y="13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nvGrpSpPr>
            <p:cNvPr id="698" name="Group 308">
              <a:extLst>
                <a:ext uri="{FF2B5EF4-FFF2-40B4-BE49-F238E27FC236}">
                  <a16:creationId xmlns:a16="http://schemas.microsoft.com/office/drawing/2014/main" id="{572EBF97-8BEB-FE3D-2CB4-54EC57833073}"/>
                </a:ext>
              </a:extLst>
            </p:cNvPr>
            <p:cNvGrpSpPr/>
            <p:nvPr/>
          </p:nvGrpSpPr>
          <p:grpSpPr>
            <a:xfrm>
              <a:off x="6813134" y="3919376"/>
              <a:ext cx="1261872" cy="934801"/>
              <a:chOff x="6813134" y="3916995"/>
              <a:chExt cx="1261872" cy="934801"/>
            </a:xfrm>
            <a:grpFill/>
          </p:grpSpPr>
          <p:sp>
            <p:nvSpPr>
              <p:cNvPr id="700" name="Freeform 22">
                <a:extLst>
                  <a:ext uri="{FF2B5EF4-FFF2-40B4-BE49-F238E27FC236}">
                    <a16:creationId xmlns:a16="http://schemas.microsoft.com/office/drawing/2014/main" id="{A467D61C-A11A-0467-0835-5F01F9171EBF}"/>
                  </a:ext>
                </a:extLst>
              </p:cNvPr>
              <p:cNvSpPr>
                <a:spLocks/>
              </p:cNvSpPr>
              <p:nvPr/>
            </p:nvSpPr>
            <p:spPr bwMode="auto">
              <a:xfrm>
                <a:off x="7533407" y="4810763"/>
                <a:ext cx="49200" cy="41033"/>
              </a:xfrm>
              <a:custGeom>
                <a:avLst/>
                <a:gdLst>
                  <a:gd name="T0" fmla="*/ 96 w 247"/>
                  <a:gd name="T1" fmla="*/ 206 h 206"/>
                  <a:gd name="T2" fmla="*/ 40 w 247"/>
                  <a:gd name="T3" fmla="*/ 182 h 206"/>
                  <a:gd name="T4" fmla="*/ 8 w 247"/>
                  <a:gd name="T5" fmla="*/ 167 h 206"/>
                  <a:gd name="T6" fmla="*/ 0 w 247"/>
                  <a:gd name="T7" fmla="*/ 103 h 206"/>
                  <a:gd name="T8" fmla="*/ 8 w 247"/>
                  <a:gd name="T9" fmla="*/ 87 h 206"/>
                  <a:gd name="T10" fmla="*/ 16 w 247"/>
                  <a:gd name="T11" fmla="*/ 79 h 206"/>
                  <a:gd name="T12" fmla="*/ 32 w 247"/>
                  <a:gd name="T13" fmla="*/ 63 h 206"/>
                  <a:gd name="T14" fmla="*/ 72 w 247"/>
                  <a:gd name="T15" fmla="*/ 31 h 206"/>
                  <a:gd name="T16" fmla="*/ 96 w 247"/>
                  <a:gd name="T17" fmla="*/ 31 h 206"/>
                  <a:gd name="T18" fmla="*/ 96 w 247"/>
                  <a:gd name="T19" fmla="*/ 31 h 206"/>
                  <a:gd name="T20" fmla="*/ 104 w 247"/>
                  <a:gd name="T21" fmla="*/ 7 h 206"/>
                  <a:gd name="T22" fmla="*/ 119 w 247"/>
                  <a:gd name="T23" fmla="*/ 7 h 206"/>
                  <a:gd name="T24" fmla="*/ 143 w 247"/>
                  <a:gd name="T25" fmla="*/ 23 h 206"/>
                  <a:gd name="T26" fmla="*/ 159 w 247"/>
                  <a:gd name="T27" fmla="*/ 7 h 206"/>
                  <a:gd name="T28" fmla="*/ 175 w 247"/>
                  <a:gd name="T29" fmla="*/ 7 h 206"/>
                  <a:gd name="T30" fmla="*/ 215 w 247"/>
                  <a:gd name="T31" fmla="*/ 0 h 206"/>
                  <a:gd name="T32" fmla="*/ 247 w 247"/>
                  <a:gd name="T33" fmla="*/ 31 h 206"/>
                  <a:gd name="T34" fmla="*/ 239 w 247"/>
                  <a:gd name="T35" fmla="*/ 39 h 206"/>
                  <a:gd name="T36" fmla="*/ 215 w 247"/>
                  <a:gd name="T37" fmla="*/ 55 h 206"/>
                  <a:gd name="T38" fmla="*/ 199 w 247"/>
                  <a:gd name="T39" fmla="*/ 79 h 206"/>
                  <a:gd name="T40" fmla="*/ 183 w 247"/>
                  <a:gd name="T41" fmla="*/ 119 h 206"/>
                  <a:gd name="T42" fmla="*/ 191 w 247"/>
                  <a:gd name="T43" fmla="*/ 135 h 206"/>
                  <a:gd name="T44" fmla="*/ 175 w 247"/>
                  <a:gd name="T45" fmla="*/ 151 h 206"/>
                  <a:gd name="T46" fmla="*/ 167 w 247"/>
                  <a:gd name="T47" fmla="*/ 151 h 206"/>
                  <a:gd name="T48" fmla="*/ 119 w 247"/>
                  <a:gd name="T49" fmla="*/ 174 h 206"/>
                  <a:gd name="T50" fmla="*/ 96 w 247"/>
                  <a:gd name="T51" fmla="*/ 206 h 206"/>
                  <a:gd name="T52" fmla="*/ 96 w 247"/>
                  <a:gd name="T53" fmla="*/ 206 h 206"/>
                  <a:gd name="T54" fmla="*/ 96 w 247"/>
                  <a:gd name="T5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206">
                    <a:moveTo>
                      <a:pt x="96" y="206"/>
                    </a:moveTo>
                    <a:lnTo>
                      <a:pt x="40" y="182"/>
                    </a:lnTo>
                    <a:lnTo>
                      <a:pt x="8" y="167"/>
                    </a:lnTo>
                    <a:lnTo>
                      <a:pt x="0" y="103"/>
                    </a:lnTo>
                    <a:lnTo>
                      <a:pt x="8" y="87"/>
                    </a:lnTo>
                    <a:lnTo>
                      <a:pt x="16" y="79"/>
                    </a:lnTo>
                    <a:lnTo>
                      <a:pt x="32" y="63"/>
                    </a:lnTo>
                    <a:lnTo>
                      <a:pt x="72" y="31"/>
                    </a:lnTo>
                    <a:lnTo>
                      <a:pt x="96" y="31"/>
                    </a:lnTo>
                    <a:lnTo>
                      <a:pt x="96" y="31"/>
                    </a:lnTo>
                    <a:lnTo>
                      <a:pt x="104" y="7"/>
                    </a:lnTo>
                    <a:lnTo>
                      <a:pt x="119" y="7"/>
                    </a:lnTo>
                    <a:lnTo>
                      <a:pt x="143" y="23"/>
                    </a:lnTo>
                    <a:lnTo>
                      <a:pt x="159" y="7"/>
                    </a:lnTo>
                    <a:lnTo>
                      <a:pt x="175" y="7"/>
                    </a:lnTo>
                    <a:lnTo>
                      <a:pt x="215" y="0"/>
                    </a:lnTo>
                    <a:lnTo>
                      <a:pt x="247" y="31"/>
                    </a:lnTo>
                    <a:lnTo>
                      <a:pt x="239" y="39"/>
                    </a:lnTo>
                    <a:lnTo>
                      <a:pt x="215" y="55"/>
                    </a:lnTo>
                    <a:lnTo>
                      <a:pt x="199" y="79"/>
                    </a:lnTo>
                    <a:lnTo>
                      <a:pt x="183" y="119"/>
                    </a:lnTo>
                    <a:lnTo>
                      <a:pt x="191" y="135"/>
                    </a:lnTo>
                    <a:lnTo>
                      <a:pt x="175" y="151"/>
                    </a:lnTo>
                    <a:lnTo>
                      <a:pt x="167" y="151"/>
                    </a:lnTo>
                    <a:lnTo>
                      <a:pt x="119" y="174"/>
                    </a:lnTo>
                    <a:lnTo>
                      <a:pt x="96" y="206"/>
                    </a:lnTo>
                    <a:lnTo>
                      <a:pt x="96" y="206"/>
                    </a:lnTo>
                    <a:lnTo>
                      <a:pt x="96" y="20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01" name="Freeform 23">
                <a:extLst>
                  <a:ext uri="{FF2B5EF4-FFF2-40B4-BE49-F238E27FC236}">
                    <a16:creationId xmlns:a16="http://schemas.microsoft.com/office/drawing/2014/main" id="{4BCCA61F-1AFB-9AA3-FCA5-3A48992F4298}"/>
                  </a:ext>
                </a:extLst>
              </p:cNvPr>
              <p:cNvSpPr>
                <a:spLocks/>
              </p:cNvSpPr>
              <p:nvPr/>
            </p:nvSpPr>
            <p:spPr bwMode="auto">
              <a:xfrm>
                <a:off x="6813134" y="3916995"/>
                <a:ext cx="1261872" cy="888987"/>
              </a:xfrm>
              <a:custGeom>
                <a:avLst/>
                <a:gdLst/>
                <a:ahLst/>
                <a:cxnLst/>
                <a:rect l="l" t="t" r="r" b="b"/>
                <a:pathLst>
                  <a:path w="1261872" h="888987">
                    <a:moveTo>
                      <a:pt x="1018063" y="0"/>
                    </a:moveTo>
                    <a:lnTo>
                      <a:pt x="1026031" y="0"/>
                    </a:lnTo>
                    <a:lnTo>
                      <a:pt x="1036986" y="3187"/>
                    </a:lnTo>
                    <a:lnTo>
                      <a:pt x="1048141" y="10956"/>
                    </a:lnTo>
                    <a:lnTo>
                      <a:pt x="1052921" y="14143"/>
                    </a:lnTo>
                    <a:lnTo>
                      <a:pt x="1067064" y="10956"/>
                    </a:lnTo>
                    <a:lnTo>
                      <a:pt x="1071844" y="10956"/>
                    </a:lnTo>
                    <a:lnTo>
                      <a:pt x="1078218" y="18923"/>
                    </a:lnTo>
                    <a:lnTo>
                      <a:pt x="1086186" y="33265"/>
                    </a:lnTo>
                    <a:lnTo>
                      <a:pt x="1095548" y="69717"/>
                    </a:lnTo>
                    <a:lnTo>
                      <a:pt x="1105109" y="93420"/>
                    </a:lnTo>
                    <a:lnTo>
                      <a:pt x="1113077" y="120311"/>
                    </a:lnTo>
                    <a:lnTo>
                      <a:pt x="1116264" y="126685"/>
                    </a:lnTo>
                    <a:lnTo>
                      <a:pt x="1121044" y="129872"/>
                    </a:lnTo>
                    <a:lnTo>
                      <a:pt x="1133593" y="134653"/>
                    </a:lnTo>
                    <a:lnTo>
                      <a:pt x="1147935" y="137641"/>
                    </a:lnTo>
                    <a:lnTo>
                      <a:pt x="1171639" y="150389"/>
                    </a:lnTo>
                    <a:lnTo>
                      <a:pt x="1174826" y="151982"/>
                    </a:lnTo>
                    <a:lnTo>
                      <a:pt x="1176419" y="164930"/>
                    </a:lnTo>
                    <a:lnTo>
                      <a:pt x="1181200" y="182259"/>
                    </a:lnTo>
                    <a:lnTo>
                      <a:pt x="1182794" y="188633"/>
                    </a:lnTo>
                    <a:lnTo>
                      <a:pt x="1190562" y="188633"/>
                    </a:lnTo>
                    <a:lnTo>
                      <a:pt x="1195343" y="187040"/>
                    </a:lnTo>
                    <a:lnTo>
                      <a:pt x="1211278" y="187040"/>
                    </a:lnTo>
                    <a:lnTo>
                      <a:pt x="1217453" y="183853"/>
                    </a:lnTo>
                    <a:lnTo>
                      <a:pt x="1225420" y="180666"/>
                    </a:lnTo>
                    <a:lnTo>
                      <a:pt x="1238168" y="176084"/>
                    </a:lnTo>
                    <a:lnTo>
                      <a:pt x="1249124" y="172897"/>
                    </a:lnTo>
                    <a:lnTo>
                      <a:pt x="1257092" y="172897"/>
                    </a:lnTo>
                    <a:lnTo>
                      <a:pt x="1260279" y="172897"/>
                    </a:lnTo>
                    <a:lnTo>
                      <a:pt x="1260279" y="177678"/>
                    </a:lnTo>
                    <a:lnTo>
                      <a:pt x="1261872" y="182259"/>
                    </a:lnTo>
                    <a:lnTo>
                      <a:pt x="1261872" y="190227"/>
                    </a:lnTo>
                    <a:lnTo>
                      <a:pt x="1257092" y="195008"/>
                    </a:lnTo>
                    <a:lnTo>
                      <a:pt x="1250717" y="201382"/>
                    </a:lnTo>
                    <a:lnTo>
                      <a:pt x="1247730" y="210744"/>
                    </a:lnTo>
                    <a:lnTo>
                      <a:pt x="1244543" y="223492"/>
                    </a:lnTo>
                    <a:lnTo>
                      <a:pt x="1239762" y="237834"/>
                    </a:lnTo>
                    <a:lnTo>
                      <a:pt x="1234981" y="251976"/>
                    </a:lnTo>
                    <a:lnTo>
                      <a:pt x="1231794" y="256757"/>
                    </a:lnTo>
                    <a:lnTo>
                      <a:pt x="1225420" y="266318"/>
                    </a:lnTo>
                    <a:lnTo>
                      <a:pt x="1222233" y="271098"/>
                    </a:lnTo>
                    <a:lnTo>
                      <a:pt x="1216058" y="269505"/>
                    </a:lnTo>
                    <a:lnTo>
                      <a:pt x="1211278" y="266318"/>
                    </a:lnTo>
                    <a:lnTo>
                      <a:pt x="1204904" y="263131"/>
                    </a:lnTo>
                    <a:lnTo>
                      <a:pt x="1200123" y="263131"/>
                    </a:lnTo>
                    <a:lnTo>
                      <a:pt x="1185781" y="275680"/>
                    </a:lnTo>
                    <a:lnTo>
                      <a:pt x="1184387" y="283647"/>
                    </a:lnTo>
                    <a:lnTo>
                      <a:pt x="1187375" y="294802"/>
                    </a:lnTo>
                    <a:lnTo>
                      <a:pt x="1187375" y="304363"/>
                    </a:lnTo>
                    <a:lnTo>
                      <a:pt x="1187375" y="310538"/>
                    </a:lnTo>
                    <a:lnTo>
                      <a:pt x="1187375" y="315319"/>
                    </a:lnTo>
                    <a:lnTo>
                      <a:pt x="1187375" y="318506"/>
                    </a:lnTo>
                    <a:lnTo>
                      <a:pt x="1187375" y="321693"/>
                    </a:lnTo>
                    <a:lnTo>
                      <a:pt x="1185781" y="326473"/>
                    </a:lnTo>
                    <a:lnTo>
                      <a:pt x="1181200" y="331254"/>
                    </a:lnTo>
                    <a:lnTo>
                      <a:pt x="1170045" y="337628"/>
                    </a:lnTo>
                    <a:lnTo>
                      <a:pt x="1168452" y="337628"/>
                    </a:lnTo>
                    <a:lnTo>
                      <a:pt x="1163671" y="329660"/>
                    </a:lnTo>
                    <a:lnTo>
                      <a:pt x="1162078" y="329660"/>
                    </a:lnTo>
                    <a:lnTo>
                      <a:pt x="1158891" y="331254"/>
                    </a:lnTo>
                    <a:lnTo>
                      <a:pt x="1155704" y="336035"/>
                    </a:lnTo>
                    <a:lnTo>
                      <a:pt x="1152716" y="343803"/>
                    </a:lnTo>
                    <a:lnTo>
                      <a:pt x="1144748" y="351771"/>
                    </a:lnTo>
                    <a:lnTo>
                      <a:pt x="1138374" y="354958"/>
                    </a:lnTo>
                    <a:lnTo>
                      <a:pt x="1133593" y="354958"/>
                    </a:lnTo>
                    <a:lnTo>
                      <a:pt x="1128813" y="353364"/>
                    </a:lnTo>
                    <a:lnTo>
                      <a:pt x="1125626" y="351771"/>
                    </a:lnTo>
                    <a:lnTo>
                      <a:pt x="1122439" y="353364"/>
                    </a:lnTo>
                    <a:lnTo>
                      <a:pt x="1121044" y="356551"/>
                    </a:lnTo>
                    <a:lnTo>
                      <a:pt x="1119451" y="361332"/>
                    </a:lnTo>
                    <a:lnTo>
                      <a:pt x="1124032" y="370893"/>
                    </a:lnTo>
                    <a:lnTo>
                      <a:pt x="1125626" y="370893"/>
                    </a:lnTo>
                    <a:lnTo>
                      <a:pt x="1121044" y="373881"/>
                    </a:lnTo>
                    <a:lnTo>
                      <a:pt x="1111483" y="373881"/>
                    </a:lnTo>
                    <a:lnTo>
                      <a:pt x="1106703" y="372287"/>
                    </a:lnTo>
                    <a:lnTo>
                      <a:pt x="1101922" y="369299"/>
                    </a:lnTo>
                    <a:lnTo>
                      <a:pt x="1098735" y="364519"/>
                    </a:lnTo>
                    <a:lnTo>
                      <a:pt x="1095548" y="364519"/>
                    </a:lnTo>
                    <a:lnTo>
                      <a:pt x="1090767" y="366112"/>
                    </a:lnTo>
                    <a:lnTo>
                      <a:pt x="1084593" y="378661"/>
                    </a:lnTo>
                    <a:lnTo>
                      <a:pt x="1079812" y="385035"/>
                    </a:lnTo>
                    <a:lnTo>
                      <a:pt x="1068657" y="391409"/>
                    </a:lnTo>
                    <a:lnTo>
                      <a:pt x="1054515" y="399377"/>
                    </a:lnTo>
                    <a:lnTo>
                      <a:pt x="1049734" y="403958"/>
                    </a:lnTo>
                    <a:lnTo>
                      <a:pt x="1046547" y="408739"/>
                    </a:lnTo>
                    <a:lnTo>
                      <a:pt x="1043360" y="415113"/>
                    </a:lnTo>
                    <a:lnTo>
                      <a:pt x="1043360" y="413520"/>
                    </a:lnTo>
                    <a:lnTo>
                      <a:pt x="1038580" y="416707"/>
                    </a:lnTo>
                    <a:lnTo>
                      <a:pt x="1027425" y="418300"/>
                    </a:lnTo>
                    <a:lnTo>
                      <a:pt x="1021250" y="419894"/>
                    </a:lnTo>
                    <a:lnTo>
                      <a:pt x="998941" y="431048"/>
                    </a:lnTo>
                    <a:lnTo>
                      <a:pt x="992766" y="435630"/>
                    </a:lnTo>
                    <a:lnTo>
                      <a:pt x="987985" y="442004"/>
                    </a:lnTo>
                    <a:lnTo>
                      <a:pt x="983205" y="443597"/>
                    </a:lnTo>
                    <a:lnTo>
                      <a:pt x="980018" y="443597"/>
                    </a:lnTo>
                    <a:lnTo>
                      <a:pt x="981611" y="442004"/>
                    </a:lnTo>
                    <a:lnTo>
                      <a:pt x="987985" y="434235"/>
                    </a:lnTo>
                    <a:lnTo>
                      <a:pt x="991172" y="429455"/>
                    </a:lnTo>
                    <a:lnTo>
                      <a:pt x="987985" y="427861"/>
                    </a:lnTo>
                    <a:lnTo>
                      <a:pt x="983205" y="429455"/>
                    </a:lnTo>
                    <a:lnTo>
                      <a:pt x="983205" y="424674"/>
                    </a:lnTo>
                    <a:lnTo>
                      <a:pt x="983205" y="423081"/>
                    </a:lnTo>
                    <a:lnTo>
                      <a:pt x="992766" y="413520"/>
                    </a:lnTo>
                    <a:lnTo>
                      <a:pt x="994359" y="408739"/>
                    </a:lnTo>
                    <a:lnTo>
                      <a:pt x="1000534" y="403958"/>
                    </a:lnTo>
                    <a:lnTo>
                      <a:pt x="1000534" y="400971"/>
                    </a:lnTo>
                    <a:lnTo>
                      <a:pt x="1000534" y="397784"/>
                    </a:lnTo>
                    <a:lnTo>
                      <a:pt x="994359" y="391409"/>
                    </a:lnTo>
                    <a:lnTo>
                      <a:pt x="986392" y="388222"/>
                    </a:lnTo>
                    <a:lnTo>
                      <a:pt x="986392" y="386629"/>
                    </a:lnTo>
                    <a:lnTo>
                      <a:pt x="980018" y="388222"/>
                    </a:lnTo>
                    <a:lnTo>
                      <a:pt x="978424" y="388222"/>
                    </a:lnTo>
                    <a:lnTo>
                      <a:pt x="973643" y="393003"/>
                    </a:lnTo>
                    <a:lnTo>
                      <a:pt x="962688" y="407146"/>
                    </a:lnTo>
                    <a:lnTo>
                      <a:pt x="959501" y="408739"/>
                    </a:lnTo>
                    <a:lnTo>
                      <a:pt x="954720" y="410333"/>
                    </a:lnTo>
                    <a:lnTo>
                      <a:pt x="948346" y="413520"/>
                    </a:lnTo>
                    <a:lnTo>
                      <a:pt x="945159" y="415113"/>
                    </a:lnTo>
                    <a:lnTo>
                      <a:pt x="940379" y="419894"/>
                    </a:lnTo>
                    <a:lnTo>
                      <a:pt x="940379" y="426268"/>
                    </a:lnTo>
                    <a:lnTo>
                      <a:pt x="938785" y="429455"/>
                    </a:lnTo>
                    <a:lnTo>
                      <a:pt x="935598" y="432642"/>
                    </a:lnTo>
                    <a:lnTo>
                      <a:pt x="932411" y="434235"/>
                    </a:lnTo>
                    <a:lnTo>
                      <a:pt x="927830" y="434235"/>
                    </a:lnTo>
                    <a:lnTo>
                      <a:pt x="924643" y="437223"/>
                    </a:lnTo>
                    <a:lnTo>
                      <a:pt x="921456" y="437223"/>
                    </a:lnTo>
                    <a:lnTo>
                      <a:pt x="916675" y="431048"/>
                    </a:lnTo>
                    <a:lnTo>
                      <a:pt x="915081" y="431048"/>
                    </a:lnTo>
                    <a:lnTo>
                      <a:pt x="910301" y="432642"/>
                    </a:lnTo>
                    <a:lnTo>
                      <a:pt x="907114" y="440410"/>
                    </a:lnTo>
                    <a:lnTo>
                      <a:pt x="903927" y="448378"/>
                    </a:lnTo>
                    <a:lnTo>
                      <a:pt x="905520" y="453159"/>
                    </a:lnTo>
                    <a:lnTo>
                      <a:pt x="907114" y="456346"/>
                    </a:lnTo>
                    <a:lnTo>
                      <a:pt x="911894" y="461126"/>
                    </a:lnTo>
                    <a:lnTo>
                      <a:pt x="919862" y="462720"/>
                    </a:lnTo>
                    <a:lnTo>
                      <a:pt x="931017" y="462720"/>
                    </a:lnTo>
                    <a:lnTo>
                      <a:pt x="934005" y="465907"/>
                    </a:lnTo>
                    <a:lnTo>
                      <a:pt x="934005" y="472082"/>
                    </a:lnTo>
                    <a:lnTo>
                      <a:pt x="932411" y="478456"/>
                    </a:lnTo>
                    <a:lnTo>
                      <a:pt x="934005" y="484830"/>
                    </a:lnTo>
                    <a:lnTo>
                      <a:pt x="935598" y="488017"/>
                    </a:lnTo>
                    <a:lnTo>
                      <a:pt x="943566" y="489610"/>
                    </a:lnTo>
                    <a:lnTo>
                      <a:pt x="949940" y="488017"/>
                    </a:lnTo>
                    <a:lnTo>
                      <a:pt x="956314" y="481643"/>
                    </a:lnTo>
                    <a:lnTo>
                      <a:pt x="961094" y="475269"/>
                    </a:lnTo>
                    <a:lnTo>
                      <a:pt x="965676" y="472082"/>
                    </a:lnTo>
                    <a:lnTo>
                      <a:pt x="972050" y="470488"/>
                    </a:lnTo>
                    <a:lnTo>
                      <a:pt x="973643" y="472082"/>
                    </a:lnTo>
                    <a:lnTo>
                      <a:pt x="981611" y="480049"/>
                    </a:lnTo>
                    <a:lnTo>
                      <a:pt x="987985" y="481643"/>
                    </a:lnTo>
                    <a:lnTo>
                      <a:pt x="997347" y="480049"/>
                    </a:lnTo>
                    <a:lnTo>
                      <a:pt x="1000534" y="481643"/>
                    </a:lnTo>
                    <a:lnTo>
                      <a:pt x="1005315" y="483236"/>
                    </a:lnTo>
                    <a:lnTo>
                      <a:pt x="1006908" y="483236"/>
                    </a:lnTo>
                    <a:lnTo>
                      <a:pt x="1005315" y="491204"/>
                    </a:lnTo>
                    <a:lnTo>
                      <a:pt x="1003721" y="497578"/>
                    </a:lnTo>
                    <a:lnTo>
                      <a:pt x="998941" y="494391"/>
                    </a:lnTo>
                    <a:lnTo>
                      <a:pt x="995754" y="494391"/>
                    </a:lnTo>
                    <a:lnTo>
                      <a:pt x="991172" y="494391"/>
                    </a:lnTo>
                    <a:lnTo>
                      <a:pt x="975237" y="500566"/>
                    </a:lnTo>
                    <a:lnTo>
                      <a:pt x="968863" y="505346"/>
                    </a:lnTo>
                    <a:lnTo>
                      <a:pt x="967269" y="514908"/>
                    </a:lnTo>
                    <a:lnTo>
                      <a:pt x="962688" y="516501"/>
                    </a:lnTo>
                    <a:lnTo>
                      <a:pt x="962688" y="514908"/>
                    </a:lnTo>
                    <a:lnTo>
                      <a:pt x="961094" y="511721"/>
                    </a:lnTo>
                    <a:lnTo>
                      <a:pt x="959501" y="511721"/>
                    </a:lnTo>
                    <a:lnTo>
                      <a:pt x="956314" y="513314"/>
                    </a:lnTo>
                    <a:lnTo>
                      <a:pt x="957907" y="518095"/>
                    </a:lnTo>
                    <a:lnTo>
                      <a:pt x="954720" y="522875"/>
                    </a:lnTo>
                    <a:lnTo>
                      <a:pt x="951533" y="527656"/>
                    </a:lnTo>
                    <a:lnTo>
                      <a:pt x="938785" y="540205"/>
                    </a:lnTo>
                    <a:lnTo>
                      <a:pt x="937192" y="543392"/>
                    </a:lnTo>
                    <a:lnTo>
                      <a:pt x="937192" y="549766"/>
                    </a:lnTo>
                    <a:lnTo>
                      <a:pt x="943566" y="551359"/>
                    </a:lnTo>
                    <a:lnTo>
                      <a:pt x="949940" y="557734"/>
                    </a:lnTo>
                    <a:lnTo>
                      <a:pt x="957907" y="562713"/>
                    </a:lnTo>
                    <a:lnTo>
                      <a:pt x="961094" y="570681"/>
                    </a:lnTo>
                    <a:lnTo>
                      <a:pt x="964082" y="583230"/>
                    </a:lnTo>
                    <a:lnTo>
                      <a:pt x="970456" y="591198"/>
                    </a:lnTo>
                    <a:lnTo>
                      <a:pt x="972050" y="595978"/>
                    </a:lnTo>
                    <a:lnTo>
                      <a:pt x="972050" y="603946"/>
                    </a:lnTo>
                    <a:lnTo>
                      <a:pt x="972050" y="605539"/>
                    </a:lnTo>
                    <a:lnTo>
                      <a:pt x="978424" y="608527"/>
                    </a:lnTo>
                    <a:lnTo>
                      <a:pt x="983205" y="614901"/>
                    </a:lnTo>
                    <a:lnTo>
                      <a:pt x="987985" y="618088"/>
                    </a:lnTo>
                    <a:lnTo>
                      <a:pt x="991172" y="619682"/>
                    </a:lnTo>
                    <a:lnTo>
                      <a:pt x="991172" y="624462"/>
                    </a:lnTo>
                    <a:lnTo>
                      <a:pt x="991172" y="626056"/>
                    </a:lnTo>
                    <a:lnTo>
                      <a:pt x="983205" y="629243"/>
                    </a:lnTo>
                    <a:lnTo>
                      <a:pt x="984798" y="630836"/>
                    </a:lnTo>
                    <a:lnTo>
                      <a:pt x="987985" y="634023"/>
                    </a:lnTo>
                    <a:lnTo>
                      <a:pt x="991172" y="641792"/>
                    </a:lnTo>
                    <a:lnTo>
                      <a:pt x="991172" y="646572"/>
                    </a:lnTo>
                    <a:lnTo>
                      <a:pt x="989579" y="648166"/>
                    </a:lnTo>
                    <a:lnTo>
                      <a:pt x="984798" y="648166"/>
                    </a:lnTo>
                    <a:lnTo>
                      <a:pt x="978424" y="651353"/>
                    </a:lnTo>
                    <a:lnTo>
                      <a:pt x="970456" y="656134"/>
                    </a:lnTo>
                    <a:lnTo>
                      <a:pt x="962688" y="659321"/>
                    </a:lnTo>
                    <a:lnTo>
                      <a:pt x="956314" y="662508"/>
                    </a:lnTo>
                    <a:lnTo>
                      <a:pt x="962688" y="664101"/>
                    </a:lnTo>
                    <a:lnTo>
                      <a:pt x="967269" y="665695"/>
                    </a:lnTo>
                    <a:lnTo>
                      <a:pt x="975237" y="660914"/>
                    </a:lnTo>
                    <a:lnTo>
                      <a:pt x="980018" y="659321"/>
                    </a:lnTo>
                    <a:lnTo>
                      <a:pt x="981611" y="660914"/>
                    </a:lnTo>
                    <a:lnTo>
                      <a:pt x="986392" y="667288"/>
                    </a:lnTo>
                    <a:lnTo>
                      <a:pt x="989579" y="668882"/>
                    </a:lnTo>
                    <a:lnTo>
                      <a:pt x="994359" y="668882"/>
                    </a:lnTo>
                    <a:lnTo>
                      <a:pt x="994359" y="670276"/>
                    </a:lnTo>
                    <a:lnTo>
                      <a:pt x="992766" y="673463"/>
                    </a:lnTo>
                    <a:lnTo>
                      <a:pt x="987985" y="676650"/>
                    </a:lnTo>
                    <a:lnTo>
                      <a:pt x="986392" y="678244"/>
                    </a:lnTo>
                    <a:lnTo>
                      <a:pt x="986392" y="679837"/>
                    </a:lnTo>
                    <a:lnTo>
                      <a:pt x="989579" y="679837"/>
                    </a:lnTo>
                    <a:lnTo>
                      <a:pt x="991172" y="681431"/>
                    </a:lnTo>
                    <a:lnTo>
                      <a:pt x="989579" y="684618"/>
                    </a:lnTo>
                    <a:lnTo>
                      <a:pt x="987985" y="692585"/>
                    </a:lnTo>
                    <a:lnTo>
                      <a:pt x="986392" y="698960"/>
                    </a:lnTo>
                    <a:lnTo>
                      <a:pt x="986392" y="703541"/>
                    </a:lnTo>
                    <a:lnTo>
                      <a:pt x="983205" y="708321"/>
                    </a:lnTo>
                    <a:lnTo>
                      <a:pt x="981611" y="708321"/>
                    </a:lnTo>
                    <a:lnTo>
                      <a:pt x="978424" y="705134"/>
                    </a:lnTo>
                    <a:lnTo>
                      <a:pt x="976831" y="706728"/>
                    </a:lnTo>
                    <a:lnTo>
                      <a:pt x="972050" y="714696"/>
                    </a:lnTo>
                    <a:lnTo>
                      <a:pt x="967269" y="721070"/>
                    </a:lnTo>
                    <a:lnTo>
                      <a:pt x="965676" y="727444"/>
                    </a:lnTo>
                    <a:lnTo>
                      <a:pt x="964082" y="732224"/>
                    </a:lnTo>
                    <a:lnTo>
                      <a:pt x="959501" y="735212"/>
                    </a:lnTo>
                    <a:lnTo>
                      <a:pt x="957907" y="739993"/>
                    </a:lnTo>
                    <a:lnTo>
                      <a:pt x="954720" y="741586"/>
                    </a:lnTo>
                    <a:lnTo>
                      <a:pt x="949940" y="743180"/>
                    </a:lnTo>
                    <a:lnTo>
                      <a:pt x="945159" y="744773"/>
                    </a:lnTo>
                    <a:lnTo>
                      <a:pt x="948346" y="752741"/>
                    </a:lnTo>
                    <a:lnTo>
                      <a:pt x="945159" y="757522"/>
                    </a:lnTo>
                    <a:lnTo>
                      <a:pt x="946753" y="763896"/>
                    </a:lnTo>
                    <a:lnTo>
                      <a:pt x="945159" y="766883"/>
                    </a:lnTo>
                    <a:lnTo>
                      <a:pt x="943566" y="770071"/>
                    </a:lnTo>
                    <a:lnTo>
                      <a:pt x="938785" y="771664"/>
                    </a:lnTo>
                    <a:lnTo>
                      <a:pt x="937192" y="774851"/>
                    </a:lnTo>
                    <a:lnTo>
                      <a:pt x="935598" y="778038"/>
                    </a:lnTo>
                    <a:lnTo>
                      <a:pt x="932411" y="784412"/>
                    </a:lnTo>
                    <a:lnTo>
                      <a:pt x="926236" y="789193"/>
                    </a:lnTo>
                    <a:lnTo>
                      <a:pt x="923049" y="793973"/>
                    </a:lnTo>
                    <a:lnTo>
                      <a:pt x="918269" y="792380"/>
                    </a:lnTo>
                    <a:lnTo>
                      <a:pt x="915081" y="790786"/>
                    </a:lnTo>
                    <a:lnTo>
                      <a:pt x="913488" y="792380"/>
                    </a:lnTo>
                    <a:lnTo>
                      <a:pt x="911894" y="793973"/>
                    </a:lnTo>
                    <a:lnTo>
                      <a:pt x="913488" y="803335"/>
                    </a:lnTo>
                    <a:lnTo>
                      <a:pt x="910301" y="804929"/>
                    </a:lnTo>
                    <a:lnTo>
                      <a:pt x="903927" y="811303"/>
                    </a:lnTo>
                    <a:lnTo>
                      <a:pt x="900740" y="812896"/>
                    </a:lnTo>
                    <a:lnTo>
                      <a:pt x="894565" y="814490"/>
                    </a:lnTo>
                    <a:lnTo>
                      <a:pt x="889784" y="819271"/>
                    </a:lnTo>
                    <a:lnTo>
                      <a:pt x="883410" y="820864"/>
                    </a:lnTo>
                    <a:lnTo>
                      <a:pt x="883410" y="822458"/>
                    </a:lnTo>
                    <a:lnTo>
                      <a:pt x="883410" y="827238"/>
                    </a:lnTo>
                    <a:lnTo>
                      <a:pt x="881817" y="828832"/>
                    </a:lnTo>
                    <a:lnTo>
                      <a:pt x="877036" y="828832"/>
                    </a:lnTo>
                    <a:lnTo>
                      <a:pt x="872256" y="830425"/>
                    </a:lnTo>
                    <a:lnTo>
                      <a:pt x="869068" y="835007"/>
                    </a:lnTo>
                    <a:lnTo>
                      <a:pt x="864487" y="833413"/>
                    </a:lnTo>
                    <a:lnTo>
                      <a:pt x="859707" y="831820"/>
                    </a:lnTo>
                    <a:lnTo>
                      <a:pt x="858113" y="831820"/>
                    </a:lnTo>
                    <a:lnTo>
                      <a:pt x="854926" y="836600"/>
                    </a:lnTo>
                    <a:lnTo>
                      <a:pt x="850145" y="838194"/>
                    </a:lnTo>
                    <a:lnTo>
                      <a:pt x="845365" y="838194"/>
                    </a:lnTo>
                    <a:lnTo>
                      <a:pt x="843771" y="833413"/>
                    </a:lnTo>
                    <a:lnTo>
                      <a:pt x="838991" y="835007"/>
                    </a:lnTo>
                    <a:lnTo>
                      <a:pt x="832816" y="836600"/>
                    </a:lnTo>
                    <a:lnTo>
                      <a:pt x="829629" y="838194"/>
                    </a:lnTo>
                    <a:lnTo>
                      <a:pt x="828035" y="838194"/>
                    </a:lnTo>
                    <a:lnTo>
                      <a:pt x="823255" y="833413"/>
                    </a:lnTo>
                    <a:lnTo>
                      <a:pt x="821661" y="831820"/>
                    </a:lnTo>
                    <a:lnTo>
                      <a:pt x="820068" y="835007"/>
                    </a:lnTo>
                    <a:lnTo>
                      <a:pt x="821661" y="836600"/>
                    </a:lnTo>
                    <a:lnTo>
                      <a:pt x="821661" y="838194"/>
                    </a:lnTo>
                    <a:lnTo>
                      <a:pt x="820068" y="846161"/>
                    </a:lnTo>
                    <a:lnTo>
                      <a:pt x="818474" y="847755"/>
                    </a:lnTo>
                    <a:lnTo>
                      <a:pt x="815287" y="849348"/>
                    </a:lnTo>
                    <a:lnTo>
                      <a:pt x="810506" y="847755"/>
                    </a:lnTo>
                    <a:lnTo>
                      <a:pt x="808913" y="850942"/>
                    </a:lnTo>
                    <a:lnTo>
                      <a:pt x="808913" y="852535"/>
                    </a:lnTo>
                    <a:lnTo>
                      <a:pt x="807319" y="854129"/>
                    </a:lnTo>
                    <a:lnTo>
                      <a:pt x="801144" y="855722"/>
                    </a:lnTo>
                    <a:lnTo>
                      <a:pt x="797957" y="855722"/>
                    </a:lnTo>
                    <a:lnTo>
                      <a:pt x="793177" y="857316"/>
                    </a:lnTo>
                    <a:lnTo>
                      <a:pt x="788396" y="854129"/>
                    </a:lnTo>
                    <a:lnTo>
                      <a:pt x="786803" y="855722"/>
                    </a:lnTo>
                    <a:lnTo>
                      <a:pt x="782022" y="860503"/>
                    </a:lnTo>
                    <a:lnTo>
                      <a:pt x="780429" y="860503"/>
                    </a:lnTo>
                    <a:lnTo>
                      <a:pt x="772660" y="860503"/>
                    </a:lnTo>
                    <a:lnTo>
                      <a:pt x="766286" y="863491"/>
                    </a:lnTo>
                    <a:lnTo>
                      <a:pt x="763099" y="866678"/>
                    </a:lnTo>
                    <a:lnTo>
                      <a:pt x="758319" y="866678"/>
                    </a:lnTo>
                    <a:lnTo>
                      <a:pt x="755131" y="865084"/>
                    </a:lnTo>
                    <a:lnTo>
                      <a:pt x="755131" y="869865"/>
                    </a:lnTo>
                    <a:lnTo>
                      <a:pt x="751944" y="873052"/>
                    </a:lnTo>
                    <a:lnTo>
                      <a:pt x="751944" y="874646"/>
                    </a:lnTo>
                    <a:lnTo>
                      <a:pt x="756725" y="881020"/>
                    </a:lnTo>
                    <a:lnTo>
                      <a:pt x="759912" y="881020"/>
                    </a:lnTo>
                    <a:lnTo>
                      <a:pt x="759912" y="884207"/>
                    </a:lnTo>
                    <a:lnTo>
                      <a:pt x="756725" y="885800"/>
                    </a:lnTo>
                    <a:lnTo>
                      <a:pt x="748757" y="888987"/>
                    </a:lnTo>
                    <a:lnTo>
                      <a:pt x="743977" y="881020"/>
                    </a:lnTo>
                    <a:lnTo>
                      <a:pt x="742383" y="874646"/>
                    </a:lnTo>
                    <a:lnTo>
                      <a:pt x="742383" y="869865"/>
                    </a:lnTo>
                    <a:lnTo>
                      <a:pt x="745570" y="862097"/>
                    </a:lnTo>
                    <a:lnTo>
                      <a:pt x="745570" y="860503"/>
                    </a:lnTo>
                    <a:lnTo>
                      <a:pt x="740989" y="857316"/>
                    </a:lnTo>
                    <a:lnTo>
                      <a:pt x="739395" y="858909"/>
                    </a:lnTo>
                    <a:lnTo>
                      <a:pt x="736208" y="862097"/>
                    </a:lnTo>
                    <a:lnTo>
                      <a:pt x="731428" y="862097"/>
                    </a:lnTo>
                    <a:lnTo>
                      <a:pt x="726647" y="860503"/>
                    </a:lnTo>
                    <a:lnTo>
                      <a:pt x="720273" y="852535"/>
                    </a:lnTo>
                    <a:lnTo>
                      <a:pt x="718680" y="854129"/>
                    </a:lnTo>
                    <a:lnTo>
                      <a:pt x="718680" y="855722"/>
                    </a:lnTo>
                    <a:lnTo>
                      <a:pt x="717086" y="860503"/>
                    </a:lnTo>
                    <a:lnTo>
                      <a:pt x="715493" y="860503"/>
                    </a:lnTo>
                    <a:lnTo>
                      <a:pt x="712306" y="860503"/>
                    </a:lnTo>
                    <a:lnTo>
                      <a:pt x="707724" y="860503"/>
                    </a:lnTo>
                    <a:lnTo>
                      <a:pt x="706131" y="860503"/>
                    </a:lnTo>
                    <a:lnTo>
                      <a:pt x="704537" y="860503"/>
                    </a:lnTo>
                    <a:lnTo>
                      <a:pt x="696569" y="858909"/>
                    </a:lnTo>
                    <a:lnTo>
                      <a:pt x="690195" y="857316"/>
                    </a:lnTo>
                    <a:lnTo>
                      <a:pt x="682228" y="850942"/>
                    </a:lnTo>
                    <a:lnTo>
                      <a:pt x="679041" y="847755"/>
                    </a:lnTo>
                    <a:lnTo>
                      <a:pt x="679041" y="841381"/>
                    </a:lnTo>
                    <a:lnTo>
                      <a:pt x="682228" y="833413"/>
                    </a:lnTo>
                    <a:lnTo>
                      <a:pt x="682228" y="830425"/>
                    </a:lnTo>
                    <a:lnTo>
                      <a:pt x="679041" y="828832"/>
                    </a:lnTo>
                    <a:lnTo>
                      <a:pt x="672866" y="828832"/>
                    </a:lnTo>
                    <a:lnTo>
                      <a:pt x="666492" y="828832"/>
                    </a:lnTo>
                    <a:lnTo>
                      <a:pt x="660118" y="825645"/>
                    </a:lnTo>
                    <a:lnTo>
                      <a:pt x="653744" y="819271"/>
                    </a:lnTo>
                    <a:lnTo>
                      <a:pt x="650556" y="820864"/>
                    </a:lnTo>
                    <a:lnTo>
                      <a:pt x="645975" y="824051"/>
                    </a:lnTo>
                    <a:lnTo>
                      <a:pt x="639601" y="830425"/>
                    </a:lnTo>
                    <a:lnTo>
                      <a:pt x="636414" y="831820"/>
                    </a:lnTo>
                    <a:lnTo>
                      <a:pt x="628446" y="833413"/>
                    </a:lnTo>
                    <a:lnTo>
                      <a:pt x="614304" y="833413"/>
                    </a:lnTo>
                    <a:lnTo>
                      <a:pt x="611117" y="833413"/>
                    </a:lnTo>
                    <a:lnTo>
                      <a:pt x="606336" y="838194"/>
                    </a:lnTo>
                    <a:lnTo>
                      <a:pt x="603149" y="838194"/>
                    </a:lnTo>
                    <a:lnTo>
                      <a:pt x="596775" y="833413"/>
                    </a:lnTo>
                    <a:lnTo>
                      <a:pt x="593588" y="833413"/>
                    </a:lnTo>
                    <a:lnTo>
                      <a:pt x="588807" y="835007"/>
                    </a:lnTo>
                    <a:lnTo>
                      <a:pt x="584027" y="836600"/>
                    </a:lnTo>
                    <a:lnTo>
                      <a:pt x="577852" y="839787"/>
                    </a:lnTo>
                    <a:lnTo>
                      <a:pt x="576258" y="842974"/>
                    </a:lnTo>
                    <a:lnTo>
                      <a:pt x="574665" y="846161"/>
                    </a:lnTo>
                    <a:lnTo>
                      <a:pt x="576258" y="852535"/>
                    </a:lnTo>
                    <a:lnTo>
                      <a:pt x="579445" y="855722"/>
                    </a:lnTo>
                    <a:lnTo>
                      <a:pt x="579445" y="860503"/>
                    </a:lnTo>
                    <a:lnTo>
                      <a:pt x="579445" y="865084"/>
                    </a:lnTo>
                    <a:lnTo>
                      <a:pt x="576258" y="866678"/>
                    </a:lnTo>
                    <a:lnTo>
                      <a:pt x="569884" y="865084"/>
                    </a:lnTo>
                    <a:lnTo>
                      <a:pt x="566697" y="863491"/>
                    </a:lnTo>
                    <a:lnTo>
                      <a:pt x="565104" y="862097"/>
                    </a:lnTo>
                    <a:lnTo>
                      <a:pt x="563510" y="858909"/>
                    </a:lnTo>
                    <a:lnTo>
                      <a:pt x="561917" y="855722"/>
                    </a:lnTo>
                    <a:lnTo>
                      <a:pt x="555543" y="860503"/>
                    </a:lnTo>
                    <a:lnTo>
                      <a:pt x="550961" y="860503"/>
                    </a:lnTo>
                    <a:lnTo>
                      <a:pt x="547774" y="860503"/>
                    </a:lnTo>
                    <a:lnTo>
                      <a:pt x="544587" y="857316"/>
                    </a:lnTo>
                    <a:lnTo>
                      <a:pt x="541400" y="850942"/>
                    </a:lnTo>
                    <a:lnTo>
                      <a:pt x="538213" y="846161"/>
                    </a:lnTo>
                    <a:lnTo>
                      <a:pt x="535026" y="846161"/>
                    </a:lnTo>
                    <a:lnTo>
                      <a:pt x="530245" y="846161"/>
                    </a:lnTo>
                    <a:lnTo>
                      <a:pt x="527058" y="846161"/>
                    </a:lnTo>
                    <a:lnTo>
                      <a:pt x="525465" y="842974"/>
                    </a:lnTo>
                    <a:lnTo>
                      <a:pt x="533432" y="827238"/>
                    </a:lnTo>
                    <a:lnTo>
                      <a:pt x="531839" y="824051"/>
                    </a:lnTo>
                    <a:lnTo>
                      <a:pt x="527058" y="822458"/>
                    </a:lnTo>
                    <a:lnTo>
                      <a:pt x="522278" y="824051"/>
                    </a:lnTo>
                    <a:lnTo>
                      <a:pt x="520883" y="819271"/>
                    </a:lnTo>
                    <a:lnTo>
                      <a:pt x="517696" y="801742"/>
                    </a:lnTo>
                    <a:lnTo>
                      <a:pt x="516103" y="800148"/>
                    </a:lnTo>
                    <a:lnTo>
                      <a:pt x="512916" y="800148"/>
                    </a:lnTo>
                    <a:lnTo>
                      <a:pt x="504948" y="801742"/>
                    </a:lnTo>
                    <a:lnTo>
                      <a:pt x="496981" y="806522"/>
                    </a:lnTo>
                    <a:lnTo>
                      <a:pt x="493794" y="808116"/>
                    </a:lnTo>
                    <a:lnTo>
                      <a:pt x="492200" y="806522"/>
                    </a:lnTo>
                    <a:lnTo>
                      <a:pt x="492200" y="803335"/>
                    </a:lnTo>
                    <a:lnTo>
                      <a:pt x="493794" y="798555"/>
                    </a:lnTo>
                    <a:lnTo>
                      <a:pt x="493794" y="790786"/>
                    </a:lnTo>
                    <a:lnTo>
                      <a:pt x="492200" y="786006"/>
                    </a:lnTo>
                    <a:lnTo>
                      <a:pt x="498574" y="776445"/>
                    </a:lnTo>
                    <a:lnTo>
                      <a:pt x="500168" y="774851"/>
                    </a:lnTo>
                    <a:lnTo>
                      <a:pt x="504948" y="771664"/>
                    </a:lnTo>
                    <a:lnTo>
                      <a:pt x="509729" y="766883"/>
                    </a:lnTo>
                    <a:lnTo>
                      <a:pt x="514509" y="759115"/>
                    </a:lnTo>
                    <a:lnTo>
                      <a:pt x="517696" y="751147"/>
                    </a:lnTo>
                    <a:lnTo>
                      <a:pt x="517696" y="741586"/>
                    </a:lnTo>
                    <a:lnTo>
                      <a:pt x="516103" y="724257"/>
                    </a:lnTo>
                    <a:lnTo>
                      <a:pt x="514509" y="722663"/>
                    </a:lnTo>
                    <a:lnTo>
                      <a:pt x="509729" y="722663"/>
                    </a:lnTo>
                    <a:lnTo>
                      <a:pt x="506542" y="722663"/>
                    </a:lnTo>
                    <a:lnTo>
                      <a:pt x="504948" y="719476"/>
                    </a:lnTo>
                    <a:lnTo>
                      <a:pt x="501761" y="709915"/>
                    </a:lnTo>
                    <a:lnTo>
                      <a:pt x="498574" y="705134"/>
                    </a:lnTo>
                    <a:lnTo>
                      <a:pt x="493794" y="702147"/>
                    </a:lnTo>
                    <a:lnTo>
                      <a:pt x="492200" y="703541"/>
                    </a:lnTo>
                    <a:lnTo>
                      <a:pt x="489212" y="706728"/>
                    </a:lnTo>
                    <a:lnTo>
                      <a:pt x="489212" y="708321"/>
                    </a:lnTo>
                    <a:lnTo>
                      <a:pt x="482838" y="706728"/>
                    </a:lnTo>
                    <a:lnTo>
                      <a:pt x="476464" y="705134"/>
                    </a:lnTo>
                    <a:lnTo>
                      <a:pt x="471448" y="703880"/>
                    </a:lnTo>
                    <a:lnTo>
                      <a:pt x="473868" y="700250"/>
                    </a:lnTo>
                    <a:lnTo>
                      <a:pt x="473868" y="695487"/>
                    </a:lnTo>
                    <a:lnTo>
                      <a:pt x="470090" y="691709"/>
                    </a:lnTo>
                    <a:lnTo>
                      <a:pt x="470090" y="690992"/>
                    </a:lnTo>
                    <a:lnTo>
                      <a:pt x="463716" y="684618"/>
                    </a:lnTo>
                    <a:lnTo>
                      <a:pt x="458935" y="679837"/>
                    </a:lnTo>
                    <a:lnTo>
                      <a:pt x="446386" y="689398"/>
                    </a:lnTo>
                    <a:lnTo>
                      <a:pt x="443199" y="689398"/>
                    </a:lnTo>
                    <a:lnTo>
                      <a:pt x="433638" y="686211"/>
                    </a:lnTo>
                    <a:lnTo>
                      <a:pt x="432044" y="684618"/>
                    </a:lnTo>
                    <a:lnTo>
                      <a:pt x="427264" y="684618"/>
                    </a:lnTo>
                    <a:lnTo>
                      <a:pt x="422683" y="687805"/>
                    </a:lnTo>
                    <a:lnTo>
                      <a:pt x="413121" y="695772"/>
                    </a:lnTo>
                    <a:lnTo>
                      <a:pt x="405154" y="698960"/>
                    </a:lnTo>
                    <a:lnTo>
                      <a:pt x="400373" y="702147"/>
                    </a:lnTo>
                    <a:lnTo>
                      <a:pt x="389418" y="713102"/>
                    </a:lnTo>
                    <a:lnTo>
                      <a:pt x="386231" y="716289"/>
                    </a:lnTo>
                    <a:lnTo>
                      <a:pt x="379857" y="719476"/>
                    </a:lnTo>
                    <a:lnTo>
                      <a:pt x="371889" y="719476"/>
                    </a:lnTo>
                    <a:lnTo>
                      <a:pt x="370295" y="719476"/>
                    </a:lnTo>
                    <a:lnTo>
                      <a:pt x="367108" y="713102"/>
                    </a:lnTo>
                    <a:lnTo>
                      <a:pt x="363921" y="711509"/>
                    </a:lnTo>
                    <a:lnTo>
                      <a:pt x="360933" y="711509"/>
                    </a:lnTo>
                    <a:lnTo>
                      <a:pt x="345197" y="709915"/>
                    </a:lnTo>
                    <a:lnTo>
                      <a:pt x="340616" y="708321"/>
                    </a:lnTo>
                    <a:lnTo>
                      <a:pt x="337429" y="705134"/>
                    </a:lnTo>
                    <a:lnTo>
                      <a:pt x="334242" y="705134"/>
                    </a:lnTo>
                    <a:lnTo>
                      <a:pt x="332648" y="706728"/>
                    </a:lnTo>
                    <a:lnTo>
                      <a:pt x="329461" y="709915"/>
                    </a:lnTo>
                    <a:lnTo>
                      <a:pt x="323087" y="714696"/>
                    </a:lnTo>
                    <a:lnTo>
                      <a:pt x="313666" y="729500"/>
                    </a:lnTo>
                    <a:lnTo>
                      <a:pt x="313531" y="728825"/>
                    </a:lnTo>
                    <a:lnTo>
                      <a:pt x="313531" y="719300"/>
                    </a:lnTo>
                    <a:lnTo>
                      <a:pt x="311943" y="717712"/>
                    </a:lnTo>
                    <a:lnTo>
                      <a:pt x="310356" y="717712"/>
                    </a:lnTo>
                    <a:lnTo>
                      <a:pt x="310339" y="717712"/>
                    </a:lnTo>
                    <a:lnTo>
                      <a:pt x="310339" y="714696"/>
                    </a:lnTo>
                    <a:lnTo>
                      <a:pt x="308945" y="713102"/>
                    </a:lnTo>
                    <a:lnTo>
                      <a:pt x="307351" y="713102"/>
                    </a:lnTo>
                    <a:lnTo>
                      <a:pt x="302571" y="713102"/>
                    </a:lnTo>
                    <a:lnTo>
                      <a:pt x="299384" y="714696"/>
                    </a:lnTo>
                    <a:lnTo>
                      <a:pt x="293009" y="713102"/>
                    </a:lnTo>
                    <a:lnTo>
                      <a:pt x="289822" y="716289"/>
                    </a:lnTo>
                    <a:lnTo>
                      <a:pt x="288229" y="714696"/>
                    </a:lnTo>
                    <a:lnTo>
                      <a:pt x="278668" y="714696"/>
                    </a:lnTo>
                    <a:lnTo>
                      <a:pt x="275680" y="711509"/>
                    </a:lnTo>
                    <a:lnTo>
                      <a:pt x="270899" y="708321"/>
                    </a:lnTo>
                    <a:lnTo>
                      <a:pt x="266119" y="708321"/>
                    </a:lnTo>
                    <a:lnTo>
                      <a:pt x="266119" y="713102"/>
                    </a:lnTo>
                    <a:lnTo>
                      <a:pt x="262932" y="713102"/>
                    </a:lnTo>
                    <a:lnTo>
                      <a:pt x="256558" y="709915"/>
                    </a:lnTo>
                    <a:lnTo>
                      <a:pt x="256558" y="713102"/>
                    </a:lnTo>
                    <a:lnTo>
                      <a:pt x="254964" y="714696"/>
                    </a:lnTo>
                    <a:lnTo>
                      <a:pt x="253371" y="709915"/>
                    </a:lnTo>
                    <a:lnTo>
                      <a:pt x="248590" y="703541"/>
                    </a:lnTo>
                    <a:lnTo>
                      <a:pt x="245602" y="705134"/>
                    </a:lnTo>
                    <a:lnTo>
                      <a:pt x="236041" y="703541"/>
                    </a:lnTo>
                    <a:lnTo>
                      <a:pt x="236041" y="700553"/>
                    </a:lnTo>
                    <a:lnTo>
                      <a:pt x="237635" y="697366"/>
                    </a:lnTo>
                    <a:lnTo>
                      <a:pt x="236041" y="697366"/>
                    </a:lnTo>
                    <a:lnTo>
                      <a:pt x="231260" y="698960"/>
                    </a:lnTo>
                    <a:lnTo>
                      <a:pt x="218512" y="689398"/>
                    </a:lnTo>
                    <a:lnTo>
                      <a:pt x="218512" y="686211"/>
                    </a:lnTo>
                    <a:lnTo>
                      <a:pt x="216919" y="683024"/>
                    </a:lnTo>
                    <a:lnTo>
                      <a:pt x="213931" y="681431"/>
                    </a:lnTo>
                    <a:lnTo>
                      <a:pt x="207557" y="681431"/>
                    </a:lnTo>
                    <a:lnTo>
                      <a:pt x="207557" y="684618"/>
                    </a:lnTo>
                    <a:lnTo>
                      <a:pt x="199589" y="675057"/>
                    </a:lnTo>
                    <a:lnTo>
                      <a:pt x="196402" y="671870"/>
                    </a:lnTo>
                    <a:lnTo>
                      <a:pt x="194809" y="673463"/>
                    </a:lnTo>
                    <a:lnTo>
                      <a:pt x="190028" y="671870"/>
                    </a:lnTo>
                    <a:lnTo>
                      <a:pt x="183853" y="665695"/>
                    </a:lnTo>
                    <a:lnTo>
                      <a:pt x="175885" y="662508"/>
                    </a:lnTo>
                    <a:lnTo>
                      <a:pt x="174292" y="656134"/>
                    </a:lnTo>
                    <a:lnTo>
                      <a:pt x="164731" y="652947"/>
                    </a:lnTo>
                    <a:lnTo>
                      <a:pt x="163137" y="656134"/>
                    </a:lnTo>
                    <a:lnTo>
                      <a:pt x="159950" y="654540"/>
                    </a:lnTo>
                    <a:lnTo>
                      <a:pt x="158357" y="660914"/>
                    </a:lnTo>
                    <a:lnTo>
                      <a:pt x="156763" y="664101"/>
                    </a:lnTo>
                    <a:lnTo>
                      <a:pt x="153775" y="662508"/>
                    </a:lnTo>
                    <a:lnTo>
                      <a:pt x="150588" y="659321"/>
                    </a:lnTo>
                    <a:lnTo>
                      <a:pt x="142621" y="652947"/>
                    </a:lnTo>
                    <a:lnTo>
                      <a:pt x="138541" y="652131"/>
                    </a:lnTo>
                    <a:lnTo>
                      <a:pt x="138905" y="651037"/>
                    </a:lnTo>
                    <a:lnTo>
                      <a:pt x="135512" y="648775"/>
                    </a:lnTo>
                    <a:lnTo>
                      <a:pt x="136247" y="646572"/>
                    </a:lnTo>
                    <a:lnTo>
                      <a:pt x="126685" y="640198"/>
                    </a:lnTo>
                    <a:lnTo>
                      <a:pt x="122104" y="641792"/>
                    </a:lnTo>
                    <a:lnTo>
                      <a:pt x="115730" y="632430"/>
                    </a:lnTo>
                    <a:lnTo>
                      <a:pt x="112543" y="629243"/>
                    </a:lnTo>
                    <a:lnTo>
                      <a:pt x="107762" y="632430"/>
                    </a:lnTo>
                    <a:lnTo>
                      <a:pt x="107155" y="632430"/>
                    </a:lnTo>
                    <a:lnTo>
                      <a:pt x="107155" y="631987"/>
                    </a:lnTo>
                    <a:lnTo>
                      <a:pt x="108743" y="628812"/>
                    </a:lnTo>
                    <a:lnTo>
                      <a:pt x="107155" y="625637"/>
                    </a:lnTo>
                    <a:lnTo>
                      <a:pt x="107155" y="620875"/>
                    </a:lnTo>
                    <a:lnTo>
                      <a:pt x="104575" y="617435"/>
                    </a:lnTo>
                    <a:lnTo>
                      <a:pt x="104575" y="616495"/>
                    </a:lnTo>
                    <a:lnTo>
                      <a:pt x="102137" y="613244"/>
                    </a:lnTo>
                    <a:lnTo>
                      <a:pt x="100805" y="606587"/>
                    </a:lnTo>
                    <a:lnTo>
                      <a:pt x="107155" y="605000"/>
                    </a:lnTo>
                    <a:lnTo>
                      <a:pt x="108743" y="608175"/>
                    </a:lnTo>
                    <a:lnTo>
                      <a:pt x="111918" y="611350"/>
                    </a:lnTo>
                    <a:lnTo>
                      <a:pt x="115093" y="609762"/>
                    </a:lnTo>
                    <a:lnTo>
                      <a:pt x="118268" y="608175"/>
                    </a:lnTo>
                    <a:lnTo>
                      <a:pt x="124618" y="603412"/>
                    </a:lnTo>
                    <a:lnTo>
                      <a:pt x="122117" y="599245"/>
                    </a:lnTo>
                    <a:lnTo>
                      <a:pt x="123093" y="598696"/>
                    </a:lnTo>
                    <a:cubicBezTo>
                      <a:pt x="122265" y="598395"/>
                      <a:pt x="121464" y="598012"/>
                      <a:pt x="120926" y="597201"/>
                    </a:cubicBezTo>
                    <a:lnTo>
                      <a:pt x="119868" y="595438"/>
                    </a:lnTo>
                    <a:lnTo>
                      <a:pt x="121443" y="590712"/>
                    </a:lnTo>
                    <a:lnTo>
                      <a:pt x="117485" y="590712"/>
                    </a:lnTo>
                    <a:lnTo>
                      <a:pt x="118917" y="586417"/>
                    </a:lnTo>
                    <a:lnTo>
                      <a:pt x="113386" y="586417"/>
                    </a:lnTo>
                    <a:lnTo>
                      <a:pt x="112543" y="584550"/>
                    </a:lnTo>
                    <a:lnTo>
                      <a:pt x="112543" y="583230"/>
                    </a:lnTo>
                    <a:lnTo>
                      <a:pt x="111947" y="583230"/>
                    </a:lnTo>
                    <a:cubicBezTo>
                      <a:pt x="111250" y="581687"/>
                      <a:pt x="111214" y="581608"/>
                      <a:pt x="111212" y="581604"/>
                    </a:cubicBezTo>
                    <a:cubicBezTo>
                      <a:pt x="111212" y="580562"/>
                      <a:pt x="111212" y="579519"/>
                      <a:pt x="111212" y="578477"/>
                    </a:cubicBezTo>
                    <a:cubicBezTo>
                      <a:pt x="116699" y="567098"/>
                      <a:pt x="116837" y="566812"/>
                      <a:pt x="116840" y="566805"/>
                    </a:cubicBezTo>
                    <a:cubicBezTo>
                      <a:pt x="118508" y="565346"/>
                      <a:pt x="120384" y="563886"/>
                      <a:pt x="123093" y="562636"/>
                    </a:cubicBezTo>
                    <a:cubicBezTo>
                      <a:pt x="118716" y="562636"/>
                      <a:pt x="118716" y="562636"/>
                      <a:pt x="119133" y="561802"/>
                    </a:cubicBezTo>
                    <a:cubicBezTo>
                      <a:pt x="126220" y="558467"/>
                      <a:pt x="139769" y="551380"/>
                      <a:pt x="135183" y="538665"/>
                    </a:cubicBezTo>
                    <a:cubicBezTo>
                      <a:pt x="135809" y="540333"/>
                      <a:pt x="110379" y="526576"/>
                      <a:pt x="110795" y="526576"/>
                    </a:cubicBezTo>
                    <a:cubicBezTo>
                      <a:pt x="105269" y="526014"/>
                      <a:pt x="96712" y="531850"/>
                      <a:pt x="88105" y="535661"/>
                    </a:cubicBezTo>
                    <a:lnTo>
                      <a:pt x="88105" y="533562"/>
                    </a:lnTo>
                    <a:lnTo>
                      <a:pt x="85652" y="535198"/>
                    </a:lnTo>
                    <a:lnTo>
                      <a:pt x="85652" y="529249"/>
                    </a:lnTo>
                    <a:lnTo>
                      <a:pt x="80872" y="532237"/>
                    </a:lnTo>
                    <a:lnTo>
                      <a:pt x="79278" y="529249"/>
                    </a:lnTo>
                    <a:lnTo>
                      <a:pt x="76091" y="529249"/>
                    </a:lnTo>
                    <a:lnTo>
                      <a:pt x="64936" y="527656"/>
                    </a:lnTo>
                    <a:lnTo>
                      <a:pt x="58761" y="522875"/>
                    </a:lnTo>
                    <a:lnTo>
                      <a:pt x="57168" y="521282"/>
                    </a:lnTo>
                    <a:lnTo>
                      <a:pt x="57168" y="519688"/>
                    </a:lnTo>
                    <a:lnTo>
                      <a:pt x="55667" y="519688"/>
                    </a:lnTo>
                    <a:cubicBezTo>
                      <a:pt x="50792" y="517113"/>
                      <a:pt x="49374" y="508701"/>
                      <a:pt x="47220" y="509484"/>
                    </a:cubicBezTo>
                    <a:cubicBezTo>
                      <a:pt x="44405" y="514511"/>
                      <a:pt x="44307" y="514689"/>
                      <a:pt x="44302" y="514695"/>
                    </a:cubicBezTo>
                    <a:cubicBezTo>
                      <a:pt x="44160" y="514248"/>
                      <a:pt x="43988" y="513766"/>
                      <a:pt x="43614" y="513332"/>
                    </a:cubicBezTo>
                    <a:lnTo>
                      <a:pt x="46013" y="508533"/>
                    </a:lnTo>
                    <a:lnTo>
                      <a:pt x="46013" y="503753"/>
                    </a:lnTo>
                    <a:lnTo>
                      <a:pt x="42826" y="500566"/>
                    </a:lnTo>
                    <a:lnTo>
                      <a:pt x="39639" y="495984"/>
                    </a:lnTo>
                    <a:lnTo>
                      <a:pt x="33265" y="495984"/>
                    </a:lnTo>
                    <a:lnTo>
                      <a:pt x="31672" y="497578"/>
                    </a:lnTo>
                    <a:lnTo>
                      <a:pt x="31672" y="492797"/>
                    </a:lnTo>
                    <a:lnTo>
                      <a:pt x="27090" y="491204"/>
                    </a:lnTo>
                    <a:lnTo>
                      <a:pt x="23903" y="491204"/>
                    </a:lnTo>
                    <a:lnTo>
                      <a:pt x="20716" y="492797"/>
                    </a:lnTo>
                    <a:lnTo>
                      <a:pt x="19123" y="491204"/>
                    </a:lnTo>
                    <a:lnTo>
                      <a:pt x="17529" y="491204"/>
                    </a:lnTo>
                    <a:lnTo>
                      <a:pt x="15935" y="489610"/>
                    </a:lnTo>
                    <a:lnTo>
                      <a:pt x="14342" y="489610"/>
                    </a:lnTo>
                    <a:lnTo>
                      <a:pt x="14342" y="486423"/>
                    </a:lnTo>
                    <a:lnTo>
                      <a:pt x="19123" y="486423"/>
                    </a:lnTo>
                    <a:lnTo>
                      <a:pt x="20716" y="484830"/>
                    </a:lnTo>
                    <a:lnTo>
                      <a:pt x="23903" y="483236"/>
                    </a:lnTo>
                    <a:lnTo>
                      <a:pt x="25497" y="480049"/>
                    </a:lnTo>
                    <a:lnTo>
                      <a:pt x="27090" y="478456"/>
                    </a:lnTo>
                    <a:lnTo>
                      <a:pt x="25497" y="476862"/>
                    </a:lnTo>
                    <a:lnTo>
                      <a:pt x="27090" y="472082"/>
                    </a:lnTo>
                    <a:lnTo>
                      <a:pt x="23903" y="468895"/>
                    </a:lnTo>
                    <a:lnTo>
                      <a:pt x="25497" y="464313"/>
                    </a:lnTo>
                    <a:lnTo>
                      <a:pt x="25497" y="462720"/>
                    </a:lnTo>
                    <a:lnTo>
                      <a:pt x="23903" y="462720"/>
                    </a:lnTo>
                    <a:lnTo>
                      <a:pt x="23903" y="459533"/>
                    </a:lnTo>
                    <a:lnTo>
                      <a:pt x="23903" y="456346"/>
                    </a:lnTo>
                    <a:lnTo>
                      <a:pt x="20716" y="451565"/>
                    </a:lnTo>
                    <a:lnTo>
                      <a:pt x="17529" y="448378"/>
                    </a:lnTo>
                    <a:lnTo>
                      <a:pt x="11155" y="448378"/>
                    </a:lnTo>
                    <a:lnTo>
                      <a:pt x="9561" y="448378"/>
                    </a:lnTo>
                    <a:lnTo>
                      <a:pt x="7968" y="449971"/>
                    </a:lnTo>
                    <a:lnTo>
                      <a:pt x="3187" y="449971"/>
                    </a:lnTo>
                    <a:lnTo>
                      <a:pt x="0" y="445191"/>
                    </a:lnTo>
                    <a:lnTo>
                      <a:pt x="0" y="442004"/>
                    </a:lnTo>
                    <a:lnTo>
                      <a:pt x="1594" y="438817"/>
                    </a:lnTo>
                    <a:lnTo>
                      <a:pt x="0" y="426268"/>
                    </a:lnTo>
                    <a:lnTo>
                      <a:pt x="1594" y="426268"/>
                    </a:lnTo>
                    <a:lnTo>
                      <a:pt x="3187" y="416707"/>
                    </a:lnTo>
                    <a:lnTo>
                      <a:pt x="3187" y="415113"/>
                    </a:lnTo>
                    <a:lnTo>
                      <a:pt x="6374" y="411926"/>
                    </a:lnTo>
                    <a:lnTo>
                      <a:pt x="19123" y="403958"/>
                    </a:lnTo>
                    <a:lnTo>
                      <a:pt x="36452" y="394597"/>
                    </a:lnTo>
                    <a:lnTo>
                      <a:pt x="38046" y="394597"/>
                    </a:lnTo>
                    <a:lnTo>
                      <a:pt x="39639" y="394597"/>
                    </a:lnTo>
                    <a:lnTo>
                      <a:pt x="41233" y="402564"/>
                    </a:lnTo>
                    <a:lnTo>
                      <a:pt x="44420" y="402564"/>
                    </a:lnTo>
                    <a:lnTo>
                      <a:pt x="49200" y="400971"/>
                    </a:lnTo>
                    <a:lnTo>
                      <a:pt x="57168" y="399377"/>
                    </a:lnTo>
                    <a:lnTo>
                      <a:pt x="60156" y="396190"/>
                    </a:lnTo>
                    <a:lnTo>
                      <a:pt x="64936" y="386629"/>
                    </a:lnTo>
                    <a:lnTo>
                      <a:pt x="68123" y="380255"/>
                    </a:lnTo>
                    <a:lnTo>
                      <a:pt x="71310" y="380255"/>
                    </a:lnTo>
                    <a:lnTo>
                      <a:pt x="82465" y="383442"/>
                    </a:lnTo>
                    <a:lnTo>
                      <a:pt x="87246" y="383442"/>
                    </a:lnTo>
                    <a:lnTo>
                      <a:pt x="90433" y="381848"/>
                    </a:lnTo>
                    <a:lnTo>
                      <a:pt x="96608" y="377068"/>
                    </a:lnTo>
                    <a:lnTo>
                      <a:pt x="102982" y="369299"/>
                    </a:lnTo>
                    <a:lnTo>
                      <a:pt x="107762" y="366112"/>
                    </a:lnTo>
                    <a:lnTo>
                      <a:pt x="110949" y="362925"/>
                    </a:lnTo>
                    <a:lnTo>
                      <a:pt x="123498" y="358145"/>
                    </a:lnTo>
                    <a:lnTo>
                      <a:pt x="133060" y="356551"/>
                    </a:lnTo>
                    <a:lnTo>
                      <a:pt x="136247" y="353364"/>
                    </a:lnTo>
                    <a:lnTo>
                      <a:pt x="136247" y="351771"/>
                    </a:lnTo>
                    <a:lnTo>
                      <a:pt x="136247" y="348584"/>
                    </a:lnTo>
                    <a:lnTo>
                      <a:pt x="134653" y="339022"/>
                    </a:lnTo>
                    <a:lnTo>
                      <a:pt x="134653" y="334441"/>
                    </a:lnTo>
                    <a:lnTo>
                      <a:pt x="137840" y="328067"/>
                    </a:lnTo>
                    <a:lnTo>
                      <a:pt x="144214" y="321693"/>
                    </a:lnTo>
                    <a:lnTo>
                      <a:pt x="145808" y="316912"/>
                    </a:lnTo>
                    <a:lnTo>
                      <a:pt x="145808" y="310538"/>
                    </a:lnTo>
                    <a:lnTo>
                      <a:pt x="142621" y="305957"/>
                    </a:lnTo>
                    <a:lnTo>
                      <a:pt x="139434" y="297989"/>
                    </a:lnTo>
                    <a:lnTo>
                      <a:pt x="139434" y="280460"/>
                    </a:lnTo>
                    <a:lnTo>
                      <a:pt x="134653" y="277273"/>
                    </a:lnTo>
                    <a:lnTo>
                      <a:pt x="131466" y="278867"/>
                    </a:lnTo>
                    <a:lnTo>
                      <a:pt x="128279" y="275680"/>
                    </a:lnTo>
                    <a:lnTo>
                      <a:pt x="129872" y="272692"/>
                    </a:lnTo>
                    <a:lnTo>
                      <a:pt x="131466" y="269505"/>
                    </a:lnTo>
                    <a:lnTo>
                      <a:pt x="134653" y="266318"/>
                    </a:lnTo>
                    <a:lnTo>
                      <a:pt x="152182" y="263131"/>
                    </a:lnTo>
                    <a:lnTo>
                      <a:pt x="161544" y="261537"/>
                    </a:lnTo>
                    <a:lnTo>
                      <a:pt x="164731" y="259944"/>
                    </a:lnTo>
                    <a:lnTo>
                      <a:pt x="169511" y="263131"/>
                    </a:lnTo>
                    <a:lnTo>
                      <a:pt x="180666" y="266318"/>
                    </a:lnTo>
                    <a:lnTo>
                      <a:pt x="183853" y="264724"/>
                    </a:lnTo>
                    <a:lnTo>
                      <a:pt x="185447" y="263131"/>
                    </a:lnTo>
                    <a:lnTo>
                      <a:pt x="188434" y="259944"/>
                    </a:lnTo>
                    <a:lnTo>
                      <a:pt x="186841" y="256757"/>
                    </a:lnTo>
                    <a:lnTo>
                      <a:pt x="180666" y="248789"/>
                    </a:lnTo>
                    <a:lnTo>
                      <a:pt x="182260" y="244008"/>
                    </a:lnTo>
                    <a:lnTo>
                      <a:pt x="185447" y="234646"/>
                    </a:lnTo>
                    <a:lnTo>
                      <a:pt x="188434" y="225085"/>
                    </a:lnTo>
                    <a:lnTo>
                      <a:pt x="193215" y="209349"/>
                    </a:lnTo>
                    <a:lnTo>
                      <a:pt x="197996" y="201382"/>
                    </a:lnTo>
                    <a:lnTo>
                      <a:pt x="207557" y="206162"/>
                    </a:lnTo>
                    <a:lnTo>
                      <a:pt x="213931" y="207756"/>
                    </a:lnTo>
                    <a:lnTo>
                      <a:pt x="220106" y="209349"/>
                    </a:lnTo>
                    <a:lnTo>
                      <a:pt x="232854" y="210744"/>
                    </a:lnTo>
                    <a:lnTo>
                      <a:pt x="239228" y="209349"/>
                    </a:lnTo>
                    <a:lnTo>
                      <a:pt x="244009" y="207756"/>
                    </a:lnTo>
                    <a:lnTo>
                      <a:pt x="246996" y="202975"/>
                    </a:lnTo>
                    <a:lnTo>
                      <a:pt x="248590" y="196601"/>
                    </a:lnTo>
                    <a:lnTo>
                      <a:pt x="246996" y="187040"/>
                    </a:lnTo>
                    <a:lnTo>
                      <a:pt x="245602" y="177678"/>
                    </a:lnTo>
                    <a:lnTo>
                      <a:pt x="250184" y="169710"/>
                    </a:lnTo>
                    <a:lnTo>
                      <a:pt x="253371" y="164930"/>
                    </a:lnTo>
                    <a:lnTo>
                      <a:pt x="264525" y="163336"/>
                    </a:lnTo>
                    <a:lnTo>
                      <a:pt x="267712" y="163336"/>
                    </a:lnTo>
                    <a:lnTo>
                      <a:pt x="270899" y="159950"/>
                    </a:lnTo>
                    <a:lnTo>
                      <a:pt x="270899" y="153576"/>
                    </a:lnTo>
                    <a:lnTo>
                      <a:pt x="270899" y="148795"/>
                    </a:lnTo>
                    <a:lnTo>
                      <a:pt x="274086" y="145608"/>
                    </a:lnTo>
                    <a:lnTo>
                      <a:pt x="278668" y="144015"/>
                    </a:lnTo>
                    <a:lnTo>
                      <a:pt x="283448" y="142421"/>
                    </a:lnTo>
                    <a:lnTo>
                      <a:pt x="285042" y="142421"/>
                    </a:lnTo>
                    <a:lnTo>
                      <a:pt x="289822" y="142421"/>
                    </a:lnTo>
                    <a:lnTo>
                      <a:pt x="293009" y="142421"/>
                    </a:lnTo>
                    <a:lnTo>
                      <a:pt x="293009" y="144015"/>
                    </a:lnTo>
                    <a:lnTo>
                      <a:pt x="294603" y="148795"/>
                    </a:lnTo>
                    <a:lnTo>
                      <a:pt x="297790" y="156763"/>
                    </a:lnTo>
                    <a:lnTo>
                      <a:pt x="300977" y="163336"/>
                    </a:lnTo>
                    <a:lnTo>
                      <a:pt x="311933" y="174491"/>
                    </a:lnTo>
                    <a:lnTo>
                      <a:pt x="319900" y="180666"/>
                    </a:lnTo>
                    <a:lnTo>
                      <a:pt x="326274" y="180666"/>
                    </a:lnTo>
                    <a:lnTo>
                      <a:pt x="332648" y="182259"/>
                    </a:lnTo>
                    <a:lnTo>
                      <a:pt x="339023" y="185446"/>
                    </a:lnTo>
                    <a:lnTo>
                      <a:pt x="342010" y="187040"/>
                    </a:lnTo>
                    <a:lnTo>
                      <a:pt x="346791" y="195008"/>
                    </a:lnTo>
                    <a:lnTo>
                      <a:pt x="356153" y="215524"/>
                    </a:lnTo>
                    <a:lnTo>
                      <a:pt x="360933" y="225085"/>
                    </a:lnTo>
                    <a:lnTo>
                      <a:pt x="359340" y="229866"/>
                    </a:lnTo>
                    <a:lnTo>
                      <a:pt x="356153" y="241021"/>
                    </a:lnTo>
                    <a:lnTo>
                      <a:pt x="354559" y="245602"/>
                    </a:lnTo>
                    <a:lnTo>
                      <a:pt x="351572" y="250383"/>
                    </a:lnTo>
                    <a:lnTo>
                      <a:pt x="351572" y="251976"/>
                    </a:lnTo>
                    <a:lnTo>
                      <a:pt x="351572" y="258350"/>
                    </a:lnTo>
                    <a:lnTo>
                      <a:pt x="354559" y="261537"/>
                    </a:lnTo>
                    <a:lnTo>
                      <a:pt x="360933" y="264724"/>
                    </a:lnTo>
                    <a:lnTo>
                      <a:pt x="370295" y="267911"/>
                    </a:lnTo>
                    <a:lnTo>
                      <a:pt x="384637" y="267911"/>
                    </a:lnTo>
                    <a:lnTo>
                      <a:pt x="394198" y="267911"/>
                    </a:lnTo>
                    <a:lnTo>
                      <a:pt x="400373" y="269505"/>
                    </a:lnTo>
                    <a:lnTo>
                      <a:pt x="409934" y="272692"/>
                    </a:lnTo>
                    <a:lnTo>
                      <a:pt x="414715" y="275680"/>
                    </a:lnTo>
                    <a:lnTo>
                      <a:pt x="430451" y="286834"/>
                    </a:lnTo>
                    <a:lnTo>
                      <a:pt x="438419" y="290022"/>
                    </a:lnTo>
                    <a:lnTo>
                      <a:pt x="444793" y="291615"/>
                    </a:lnTo>
                    <a:lnTo>
                      <a:pt x="446386" y="299583"/>
                    </a:lnTo>
                    <a:lnTo>
                      <a:pt x="460529" y="326473"/>
                    </a:lnTo>
                    <a:lnTo>
                      <a:pt x="465309" y="332847"/>
                    </a:lnTo>
                    <a:lnTo>
                      <a:pt x="470090" y="334441"/>
                    </a:lnTo>
                    <a:lnTo>
                      <a:pt x="487619" y="336035"/>
                    </a:lnTo>
                    <a:lnTo>
                      <a:pt x="498574" y="337628"/>
                    </a:lnTo>
                    <a:lnTo>
                      <a:pt x="506542" y="339022"/>
                    </a:lnTo>
                    <a:lnTo>
                      <a:pt x="517696" y="339022"/>
                    </a:lnTo>
                    <a:lnTo>
                      <a:pt x="544587" y="339022"/>
                    </a:lnTo>
                    <a:lnTo>
                      <a:pt x="552555" y="339022"/>
                    </a:lnTo>
                    <a:lnTo>
                      <a:pt x="563510" y="339022"/>
                    </a:lnTo>
                    <a:lnTo>
                      <a:pt x="579445" y="340616"/>
                    </a:lnTo>
                    <a:lnTo>
                      <a:pt x="584027" y="343803"/>
                    </a:lnTo>
                    <a:lnTo>
                      <a:pt x="591994" y="350177"/>
                    </a:lnTo>
                    <a:lnTo>
                      <a:pt x="601556" y="354958"/>
                    </a:lnTo>
                    <a:lnTo>
                      <a:pt x="615698" y="359738"/>
                    </a:lnTo>
                    <a:lnTo>
                      <a:pt x="625259" y="361332"/>
                    </a:lnTo>
                    <a:lnTo>
                      <a:pt x="631633" y="361332"/>
                    </a:lnTo>
                    <a:lnTo>
                      <a:pt x="636414" y="361332"/>
                    </a:lnTo>
                    <a:lnTo>
                      <a:pt x="639601" y="366112"/>
                    </a:lnTo>
                    <a:lnTo>
                      <a:pt x="642788" y="367706"/>
                    </a:lnTo>
                    <a:lnTo>
                      <a:pt x="647369" y="367706"/>
                    </a:lnTo>
                    <a:lnTo>
                      <a:pt x="653744" y="364519"/>
                    </a:lnTo>
                    <a:lnTo>
                      <a:pt x="668085" y="358145"/>
                    </a:lnTo>
                    <a:lnTo>
                      <a:pt x="669679" y="356551"/>
                    </a:lnTo>
                    <a:lnTo>
                      <a:pt x="677646" y="353364"/>
                    </a:lnTo>
                    <a:lnTo>
                      <a:pt x="683821" y="348584"/>
                    </a:lnTo>
                    <a:lnTo>
                      <a:pt x="696569" y="343803"/>
                    </a:lnTo>
                    <a:lnTo>
                      <a:pt x="707724" y="343803"/>
                    </a:lnTo>
                    <a:lnTo>
                      <a:pt x="721867" y="343803"/>
                    </a:lnTo>
                    <a:lnTo>
                      <a:pt x="731428" y="345396"/>
                    </a:lnTo>
                    <a:lnTo>
                      <a:pt x="737802" y="343803"/>
                    </a:lnTo>
                    <a:lnTo>
                      <a:pt x="755131" y="334441"/>
                    </a:lnTo>
                    <a:lnTo>
                      <a:pt x="758319" y="332847"/>
                    </a:lnTo>
                    <a:lnTo>
                      <a:pt x="769473" y="318506"/>
                    </a:lnTo>
                    <a:lnTo>
                      <a:pt x="774055" y="313725"/>
                    </a:lnTo>
                    <a:lnTo>
                      <a:pt x="786803" y="310538"/>
                    </a:lnTo>
                    <a:lnTo>
                      <a:pt x="789990" y="307351"/>
                    </a:lnTo>
                    <a:lnTo>
                      <a:pt x="791583" y="304363"/>
                    </a:lnTo>
                    <a:lnTo>
                      <a:pt x="788396" y="301176"/>
                    </a:lnTo>
                    <a:lnTo>
                      <a:pt x="783616" y="294802"/>
                    </a:lnTo>
                    <a:lnTo>
                      <a:pt x="780429" y="288428"/>
                    </a:lnTo>
                    <a:lnTo>
                      <a:pt x="778835" y="283647"/>
                    </a:lnTo>
                    <a:lnTo>
                      <a:pt x="782022" y="277273"/>
                    </a:lnTo>
                    <a:lnTo>
                      <a:pt x="786803" y="271098"/>
                    </a:lnTo>
                    <a:lnTo>
                      <a:pt x="791583" y="267911"/>
                    </a:lnTo>
                    <a:lnTo>
                      <a:pt x="793177" y="266318"/>
                    </a:lnTo>
                    <a:lnTo>
                      <a:pt x="801144" y="267911"/>
                    </a:lnTo>
                    <a:lnTo>
                      <a:pt x="807319" y="272692"/>
                    </a:lnTo>
                    <a:lnTo>
                      <a:pt x="812100" y="275680"/>
                    </a:lnTo>
                    <a:lnTo>
                      <a:pt x="821661" y="275680"/>
                    </a:lnTo>
                    <a:lnTo>
                      <a:pt x="829629" y="274285"/>
                    </a:lnTo>
                    <a:lnTo>
                      <a:pt x="836003" y="269505"/>
                    </a:lnTo>
                    <a:lnTo>
                      <a:pt x="846958" y="256757"/>
                    </a:lnTo>
                    <a:lnTo>
                      <a:pt x="848552" y="256757"/>
                    </a:lnTo>
                    <a:lnTo>
                      <a:pt x="853332" y="256757"/>
                    </a:lnTo>
                    <a:lnTo>
                      <a:pt x="858113" y="258350"/>
                    </a:lnTo>
                    <a:lnTo>
                      <a:pt x="867674" y="256757"/>
                    </a:lnTo>
                    <a:lnTo>
                      <a:pt x="872256" y="251976"/>
                    </a:lnTo>
                    <a:lnTo>
                      <a:pt x="877036" y="250383"/>
                    </a:lnTo>
                    <a:lnTo>
                      <a:pt x="878630" y="247195"/>
                    </a:lnTo>
                    <a:lnTo>
                      <a:pt x="881817" y="236240"/>
                    </a:lnTo>
                    <a:lnTo>
                      <a:pt x="885004" y="231459"/>
                    </a:lnTo>
                    <a:lnTo>
                      <a:pt x="888191" y="229866"/>
                    </a:lnTo>
                    <a:lnTo>
                      <a:pt x="892971" y="228272"/>
                    </a:lnTo>
                    <a:lnTo>
                      <a:pt x="897752" y="229866"/>
                    </a:lnTo>
                    <a:lnTo>
                      <a:pt x="900740" y="228272"/>
                    </a:lnTo>
                    <a:lnTo>
                      <a:pt x="908707" y="223492"/>
                    </a:lnTo>
                    <a:lnTo>
                      <a:pt x="913488" y="221898"/>
                    </a:lnTo>
                    <a:lnTo>
                      <a:pt x="923049" y="218711"/>
                    </a:lnTo>
                    <a:lnTo>
                      <a:pt x="931017" y="218711"/>
                    </a:lnTo>
                    <a:lnTo>
                      <a:pt x="934005" y="220305"/>
                    </a:lnTo>
                    <a:lnTo>
                      <a:pt x="945159" y="220305"/>
                    </a:lnTo>
                    <a:lnTo>
                      <a:pt x="948346" y="221898"/>
                    </a:lnTo>
                    <a:lnTo>
                      <a:pt x="953127" y="218711"/>
                    </a:lnTo>
                    <a:lnTo>
                      <a:pt x="953127" y="215524"/>
                    </a:lnTo>
                    <a:lnTo>
                      <a:pt x="953127" y="212337"/>
                    </a:lnTo>
                    <a:lnTo>
                      <a:pt x="948346" y="204569"/>
                    </a:lnTo>
                    <a:lnTo>
                      <a:pt x="938785" y="191821"/>
                    </a:lnTo>
                    <a:lnTo>
                      <a:pt x="932411" y="185446"/>
                    </a:lnTo>
                    <a:lnTo>
                      <a:pt x="926236" y="182259"/>
                    </a:lnTo>
                    <a:lnTo>
                      <a:pt x="918269" y="179072"/>
                    </a:lnTo>
                    <a:lnTo>
                      <a:pt x="915081" y="179072"/>
                    </a:lnTo>
                    <a:lnTo>
                      <a:pt x="902333" y="190227"/>
                    </a:lnTo>
                    <a:lnTo>
                      <a:pt x="900740" y="188633"/>
                    </a:lnTo>
                    <a:lnTo>
                      <a:pt x="896158" y="182259"/>
                    </a:lnTo>
                    <a:lnTo>
                      <a:pt x="892971" y="182259"/>
                    </a:lnTo>
                    <a:lnTo>
                      <a:pt x="888191" y="182259"/>
                    </a:lnTo>
                    <a:lnTo>
                      <a:pt x="881817" y="182259"/>
                    </a:lnTo>
                    <a:lnTo>
                      <a:pt x="872256" y="188633"/>
                    </a:lnTo>
                    <a:lnTo>
                      <a:pt x="869068" y="188633"/>
                    </a:lnTo>
                    <a:lnTo>
                      <a:pt x="866081" y="177678"/>
                    </a:lnTo>
                    <a:lnTo>
                      <a:pt x="869068" y="168117"/>
                    </a:lnTo>
                    <a:lnTo>
                      <a:pt x="881817" y="140828"/>
                    </a:lnTo>
                    <a:lnTo>
                      <a:pt x="888191" y="123498"/>
                    </a:lnTo>
                    <a:lnTo>
                      <a:pt x="891378" y="118718"/>
                    </a:lnTo>
                    <a:lnTo>
                      <a:pt x="891378" y="120311"/>
                    </a:lnTo>
                    <a:lnTo>
                      <a:pt x="896158" y="121905"/>
                    </a:lnTo>
                    <a:lnTo>
                      <a:pt x="905520" y="129872"/>
                    </a:lnTo>
                    <a:lnTo>
                      <a:pt x="908707" y="129872"/>
                    </a:lnTo>
                    <a:lnTo>
                      <a:pt x="911894" y="128279"/>
                    </a:lnTo>
                    <a:lnTo>
                      <a:pt x="935598" y="118718"/>
                    </a:lnTo>
                    <a:lnTo>
                      <a:pt x="943566" y="112344"/>
                    </a:lnTo>
                    <a:lnTo>
                      <a:pt x="943566" y="109157"/>
                    </a:lnTo>
                    <a:lnTo>
                      <a:pt x="943566" y="104575"/>
                    </a:lnTo>
                    <a:lnTo>
                      <a:pt x="940379" y="99795"/>
                    </a:lnTo>
                    <a:lnTo>
                      <a:pt x="940379" y="98201"/>
                    </a:lnTo>
                    <a:lnTo>
                      <a:pt x="940379" y="95014"/>
                    </a:lnTo>
                    <a:lnTo>
                      <a:pt x="945159" y="87046"/>
                    </a:lnTo>
                    <a:lnTo>
                      <a:pt x="948346" y="80672"/>
                    </a:lnTo>
                    <a:lnTo>
                      <a:pt x="954720" y="68123"/>
                    </a:lnTo>
                    <a:lnTo>
                      <a:pt x="959501" y="60156"/>
                    </a:lnTo>
                    <a:lnTo>
                      <a:pt x="973643" y="50595"/>
                    </a:lnTo>
                    <a:lnTo>
                      <a:pt x="973643" y="39639"/>
                    </a:lnTo>
                    <a:lnTo>
                      <a:pt x="973643" y="34858"/>
                    </a:lnTo>
                    <a:lnTo>
                      <a:pt x="968863" y="30078"/>
                    </a:lnTo>
                    <a:lnTo>
                      <a:pt x="964082" y="30078"/>
                    </a:lnTo>
                    <a:lnTo>
                      <a:pt x="956314" y="31671"/>
                    </a:lnTo>
                    <a:lnTo>
                      <a:pt x="957907" y="26891"/>
                    </a:lnTo>
                    <a:lnTo>
                      <a:pt x="961094" y="23704"/>
                    </a:lnTo>
                    <a:lnTo>
                      <a:pt x="972050" y="10956"/>
                    </a:lnTo>
                    <a:lnTo>
                      <a:pt x="976831" y="7968"/>
                    </a:lnTo>
                    <a:lnTo>
                      <a:pt x="981611" y="6374"/>
                    </a:lnTo>
                    <a:lnTo>
                      <a:pt x="998941" y="4781"/>
                    </a:lnTo>
                    <a:lnTo>
                      <a:pt x="1006908" y="159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sp>
          <p:nvSpPr>
            <p:cNvPr id="699" name="Freeform 13">
              <a:extLst>
                <a:ext uri="{FF2B5EF4-FFF2-40B4-BE49-F238E27FC236}">
                  <a16:creationId xmlns:a16="http://schemas.microsoft.com/office/drawing/2014/main" id="{F9A8CDA2-7564-302F-5190-BF5AE5949C11}"/>
                </a:ext>
              </a:extLst>
            </p:cNvPr>
            <p:cNvSpPr>
              <a:spLocks/>
            </p:cNvSpPr>
            <p:nvPr/>
          </p:nvSpPr>
          <p:spPr bwMode="auto">
            <a:xfrm>
              <a:off x="6695658" y="4419599"/>
              <a:ext cx="608013" cy="653257"/>
            </a:xfrm>
            <a:custGeom>
              <a:avLst/>
              <a:gdLst/>
              <a:ahLst/>
              <a:cxnLst/>
              <a:rect l="l" t="t" r="r" b="b"/>
              <a:pathLst>
                <a:path w="608013" h="653257">
                  <a:moveTo>
                    <a:pt x="141263" y="0"/>
                  </a:moveTo>
                  <a:cubicBezTo>
                    <a:pt x="141263" y="5"/>
                    <a:pt x="141263" y="170"/>
                    <a:pt x="141263" y="6045"/>
                  </a:cubicBezTo>
                  <a:cubicBezTo>
                    <a:pt x="141265" y="6041"/>
                    <a:pt x="141345" y="5881"/>
                    <a:pt x="144181" y="209"/>
                  </a:cubicBezTo>
                  <a:cubicBezTo>
                    <a:pt x="144806" y="209"/>
                    <a:pt x="145223" y="2085"/>
                    <a:pt x="147308" y="6045"/>
                  </a:cubicBezTo>
                  <a:cubicBezTo>
                    <a:pt x="147310" y="6041"/>
                    <a:pt x="147384" y="5899"/>
                    <a:pt x="150017" y="834"/>
                  </a:cubicBezTo>
                  <a:cubicBezTo>
                    <a:pt x="153352" y="-626"/>
                    <a:pt x="157938" y="7504"/>
                    <a:pt x="159397" y="12090"/>
                  </a:cubicBezTo>
                  <a:cubicBezTo>
                    <a:pt x="159400" y="12086"/>
                    <a:pt x="159479" y="11943"/>
                    <a:pt x="162315" y="6879"/>
                  </a:cubicBezTo>
                  <a:cubicBezTo>
                    <a:pt x="164608" y="6045"/>
                    <a:pt x="166067" y="15633"/>
                    <a:pt x="171487" y="17926"/>
                  </a:cubicBezTo>
                  <a:cubicBezTo>
                    <a:pt x="159189" y="20636"/>
                    <a:pt x="174822" y="36269"/>
                    <a:pt x="177532" y="23971"/>
                  </a:cubicBezTo>
                  <a:cubicBezTo>
                    <a:pt x="181208" y="36223"/>
                    <a:pt x="188154" y="37966"/>
                    <a:pt x="195647" y="35035"/>
                  </a:cubicBezTo>
                  <a:lnTo>
                    <a:pt x="196850" y="34132"/>
                  </a:lnTo>
                  <a:lnTo>
                    <a:pt x="198438" y="34132"/>
                  </a:lnTo>
                  <a:lnTo>
                    <a:pt x="203200" y="30957"/>
                  </a:lnTo>
                  <a:lnTo>
                    <a:pt x="203200" y="33056"/>
                  </a:lnTo>
                  <a:cubicBezTo>
                    <a:pt x="211807" y="29245"/>
                    <a:pt x="220364" y="23409"/>
                    <a:pt x="225890" y="23971"/>
                  </a:cubicBezTo>
                  <a:cubicBezTo>
                    <a:pt x="225474" y="23971"/>
                    <a:pt x="250904" y="37728"/>
                    <a:pt x="250278" y="36060"/>
                  </a:cubicBezTo>
                  <a:cubicBezTo>
                    <a:pt x="254864" y="48775"/>
                    <a:pt x="241315" y="55862"/>
                    <a:pt x="234228" y="59197"/>
                  </a:cubicBezTo>
                  <a:cubicBezTo>
                    <a:pt x="233811" y="60031"/>
                    <a:pt x="233811" y="60031"/>
                    <a:pt x="238188" y="60031"/>
                  </a:cubicBezTo>
                  <a:cubicBezTo>
                    <a:pt x="235479" y="61281"/>
                    <a:pt x="233603" y="62741"/>
                    <a:pt x="231935" y="64200"/>
                  </a:cubicBezTo>
                  <a:cubicBezTo>
                    <a:pt x="231933" y="64205"/>
                    <a:pt x="231817" y="64445"/>
                    <a:pt x="226307" y="75872"/>
                  </a:cubicBezTo>
                  <a:cubicBezTo>
                    <a:pt x="226307" y="76914"/>
                    <a:pt x="226307" y="77957"/>
                    <a:pt x="226307" y="78999"/>
                  </a:cubicBezTo>
                  <a:cubicBezTo>
                    <a:pt x="226309" y="79003"/>
                    <a:pt x="226380" y="79160"/>
                    <a:pt x="228987" y="84932"/>
                  </a:cubicBezTo>
                  <a:lnTo>
                    <a:pt x="230188" y="84932"/>
                  </a:lnTo>
                  <a:lnTo>
                    <a:pt x="230188" y="87591"/>
                  </a:lnTo>
                  <a:lnTo>
                    <a:pt x="230421" y="88107"/>
                  </a:lnTo>
                  <a:lnTo>
                    <a:pt x="236538" y="88107"/>
                  </a:lnTo>
                  <a:lnTo>
                    <a:pt x="234950" y="92870"/>
                  </a:lnTo>
                  <a:lnTo>
                    <a:pt x="235961" y="94555"/>
                  </a:lnTo>
                  <a:cubicBezTo>
                    <a:pt x="236522" y="95389"/>
                    <a:pt x="237341" y="95783"/>
                    <a:pt x="238188" y="96091"/>
                  </a:cubicBezTo>
                  <a:lnTo>
                    <a:pt x="237212" y="96640"/>
                  </a:lnTo>
                  <a:lnTo>
                    <a:pt x="239713" y="100807"/>
                  </a:lnTo>
                  <a:lnTo>
                    <a:pt x="233363" y="105570"/>
                  </a:lnTo>
                  <a:lnTo>
                    <a:pt x="230188" y="107157"/>
                  </a:lnTo>
                  <a:lnTo>
                    <a:pt x="227013" y="108745"/>
                  </a:lnTo>
                  <a:lnTo>
                    <a:pt x="223838" y="105570"/>
                  </a:lnTo>
                  <a:lnTo>
                    <a:pt x="222250" y="102395"/>
                  </a:lnTo>
                  <a:lnTo>
                    <a:pt x="215900" y="103982"/>
                  </a:lnTo>
                  <a:lnTo>
                    <a:pt x="217488" y="111920"/>
                  </a:lnTo>
                  <a:lnTo>
                    <a:pt x="222250" y="118270"/>
                  </a:lnTo>
                  <a:lnTo>
                    <a:pt x="222250" y="123032"/>
                  </a:lnTo>
                  <a:lnTo>
                    <a:pt x="223838" y="126207"/>
                  </a:lnTo>
                  <a:lnTo>
                    <a:pt x="222250" y="129382"/>
                  </a:lnTo>
                  <a:lnTo>
                    <a:pt x="222250" y="134145"/>
                  </a:lnTo>
                  <a:lnTo>
                    <a:pt x="225425" y="134145"/>
                  </a:lnTo>
                  <a:lnTo>
                    <a:pt x="230188" y="130970"/>
                  </a:lnTo>
                  <a:lnTo>
                    <a:pt x="233363" y="134145"/>
                  </a:lnTo>
                  <a:lnTo>
                    <a:pt x="239713" y="143670"/>
                  </a:lnTo>
                  <a:lnTo>
                    <a:pt x="244475" y="142082"/>
                  </a:lnTo>
                  <a:lnTo>
                    <a:pt x="254000" y="148432"/>
                  </a:lnTo>
                  <a:lnTo>
                    <a:pt x="252413" y="153195"/>
                  </a:lnTo>
                  <a:lnTo>
                    <a:pt x="260350" y="154782"/>
                  </a:lnTo>
                  <a:lnTo>
                    <a:pt x="268288" y="161132"/>
                  </a:lnTo>
                  <a:lnTo>
                    <a:pt x="258763" y="170657"/>
                  </a:lnTo>
                  <a:lnTo>
                    <a:pt x="255588" y="172245"/>
                  </a:lnTo>
                  <a:lnTo>
                    <a:pt x="255588" y="175420"/>
                  </a:lnTo>
                  <a:lnTo>
                    <a:pt x="254000" y="178595"/>
                  </a:lnTo>
                  <a:lnTo>
                    <a:pt x="255588" y="183357"/>
                  </a:lnTo>
                  <a:lnTo>
                    <a:pt x="252413" y="186532"/>
                  </a:lnTo>
                  <a:lnTo>
                    <a:pt x="249238" y="191295"/>
                  </a:lnTo>
                  <a:lnTo>
                    <a:pt x="250825" y="194470"/>
                  </a:lnTo>
                  <a:lnTo>
                    <a:pt x="255588" y="197645"/>
                  </a:lnTo>
                  <a:lnTo>
                    <a:pt x="260350" y="197645"/>
                  </a:lnTo>
                  <a:lnTo>
                    <a:pt x="266700" y="202407"/>
                  </a:lnTo>
                  <a:lnTo>
                    <a:pt x="273050" y="203995"/>
                  </a:lnTo>
                  <a:lnTo>
                    <a:pt x="276225" y="210345"/>
                  </a:lnTo>
                  <a:lnTo>
                    <a:pt x="287338" y="216695"/>
                  </a:lnTo>
                  <a:lnTo>
                    <a:pt x="288925" y="215107"/>
                  </a:lnTo>
                  <a:lnTo>
                    <a:pt x="300038" y="221457"/>
                  </a:lnTo>
                  <a:lnTo>
                    <a:pt x="304800" y="219870"/>
                  </a:lnTo>
                  <a:lnTo>
                    <a:pt x="306388" y="224632"/>
                  </a:lnTo>
                  <a:lnTo>
                    <a:pt x="314326" y="226220"/>
                  </a:lnTo>
                  <a:lnTo>
                    <a:pt x="317501" y="229395"/>
                  </a:lnTo>
                  <a:lnTo>
                    <a:pt x="317501" y="227807"/>
                  </a:lnTo>
                  <a:lnTo>
                    <a:pt x="319088" y="226220"/>
                  </a:lnTo>
                  <a:lnTo>
                    <a:pt x="323851" y="226220"/>
                  </a:lnTo>
                  <a:lnTo>
                    <a:pt x="328613" y="229395"/>
                  </a:lnTo>
                  <a:lnTo>
                    <a:pt x="333376" y="224632"/>
                  </a:lnTo>
                  <a:lnTo>
                    <a:pt x="338138" y="227807"/>
                  </a:lnTo>
                  <a:lnTo>
                    <a:pt x="344488" y="229395"/>
                  </a:lnTo>
                  <a:lnTo>
                    <a:pt x="346076" y="230982"/>
                  </a:lnTo>
                  <a:lnTo>
                    <a:pt x="344488" y="235745"/>
                  </a:lnTo>
                  <a:lnTo>
                    <a:pt x="350838" y="237332"/>
                  </a:lnTo>
                  <a:lnTo>
                    <a:pt x="354013" y="240507"/>
                  </a:lnTo>
                  <a:lnTo>
                    <a:pt x="358776" y="243682"/>
                  </a:lnTo>
                  <a:lnTo>
                    <a:pt x="365126" y="240507"/>
                  </a:lnTo>
                  <a:lnTo>
                    <a:pt x="368301" y="240507"/>
                  </a:lnTo>
                  <a:lnTo>
                    <a:pt x="368301" y="243682"/>
                  </a:lnTo>
                  <a:lnTo>
                    <a:pt x="369888" y="246857"/>
                  </a:lnTo>
                  <a:lnTo>
                    <a:pt x="373063" y="243682"/>
                  </a:lnTo>
                  <a:lnTo>
                    <a:pt x="381001" y="245270"/>
                  </a:lnTo>
                  <a:lnTo>
                    <a:pt x="388938" y="250032"/>
                  </a:lnTo>
                  <a:lnTo>
                    <a:pt x="393701" y="246857"/>
                  </a:lnTo>
                  <a:lnTo>
                    <a:pt x="396876" y="250032"/>
                  </a:lnTo>
                  <a:lnTo>
                    <a:pt x="400051" y="251620"/>
                  </a:lnTo>
                  <a:lnTo>
                    <a:pt x="403226" y="250032"/>
                  </a:lnTo>
                  <a:lnTo>
                    <a:pt x="406401" y="251620"/>
                  </a:lnTo>
                  <a:lnTo>
                    <a:pt x="412751" y="250032"/>
                  </a:lnTo>
                  <a:lnTo>
                    <a:pt x="415926" y="250032"/>
                  </a:lnTo>
                  <a:lnTo>
                    <a:pt x="419101" y="243682"/>
                  </a:lnTo>
                  <a:lnTo>
                    <a:pt x="414338" y="234157"/>
                  </a:lnTo>
                  <a:lnTo>
                    <a:pt x="415926" y="224632"/>
                  </a:lnTo>
                  <a:lnTo>
                    <a:pt x="417513" y="216695"/>
                  </a:lnTo>
                  <a:lnTo>
                    <a:pt x="420688" y="215107"/>
                  </a:lnTo>
                  <a:lnTo>
                    <a:pt x="425451" y="215107"/>
                  </a:lnTo>
                  <a:lnTo>
                    <a:pt x="427038" y="215107"/>
                  </a:lnTo>
                  <a:lnTo>
                    <a:pt x="428626" y="216695"/>
                  </a:lnTo>
                  <a:lnTo>
                    <a:pt x="428626" y="226220"/>
                  </a:lnTo>
                  <a:lnTo>
                    <a:pt x="430213" y="234157"/>
                  </a:lnTo>
                  <a:lnTo>
                    <a:pt x="431801" y="238920"/>
                  </a:lnTo>
                  <a:lnTo>
                    <a:pt x="438151" y="240507"/>
                  </a:lnTo>
                  <a:lnTo>
                    <a:pt x="442913" y="242095"/>
                  </a:lnTo>
                  <a:lnTo>
                    <a:pt x="450851" y="245270"/>
                  </a:lnTo>
                  <a:lnTo>
                    <a:pt x="452438" y="245270"/>
                  </a:lnTo>
                  <a:lnTo>
                    <a:pt x="457201" y="243682"/>
                  </a:lnTo>
                  <a:lnTo>
                    <a:pt x="461963" y="240507"/>
                  </a:lnTo>
                  <a:lnTo>
                    <a:pt x="465138" y="240507"/>
                  </a:lnTo>
                  <a:lnTo>
                    <a:pt x="468313" y="242095"/>
                  </a:lnTo>
                  <a:lnTo>
                    <a:pt x="479426" y="243682"/>
                  </a:lnTo>
                  <a:lnTo>
                    <a:pt x="488951" y="242095"/>
                  </a:lnTo>
                  <a:lnTo>
                    <a:pt x="495301" y="242095"/>
                  </a:lnTo>
                  <a:lnTo>
                    <a:pt x="496888" y="235745"/>
                  </a:lnTo>
                  <a:lnTo>
                    <a:pt x="496888" y="232570"/>
                  </a:lnTo>
                  <a:lnTo>
                    <a:pt x="493713" y="230982"/>
                  </a:lnTo>
                  <a:lnTo>
                    <a:pt x="492126" y="229395"/>
                  </a:lnTo>
                  <a:lnTo>
                    <a:pt x="488951" y="226220"/>
                  </a:lnTo>
                  <a:lnTo>
                    <a:pt x="487363" y="224632"/>
                  </a:lnTo>
                  <a:lnTo>
                    <a:pt x="488951" y="221457"/>
                  </a:lnTo>
                  <a:lnTo>
                    <a:pt x="490538" y="221457"/>
                  </a:lnTo>
                  <a:lnTo>
                    <a:pt x="498476" y="221457"/>
                  </a:lnTo>
                  <a:lnTo>
                    <a:pt x="504826" y="218282"/>
                  </a:lnTo>
                  <a:lnTo>
                    <a:pt x="508001" y="215107"/>
                  </a:lnTo>
                  <a:lnTo>
                    <a:pt x="519113" y="203995"/>
                  </a:lnTo>
                  <a:lnTo>
                    <a:pt x="523876" y="200820"/>
                  </a:lnTo>
                  <a:lnTo>
                    <a:pt x="531813" y="197645"/>
                  </a:lnTo>
                  <a:lnTo>
                    <a:pt x="541338" y="189707"/>
                  </a:lnTo>
                  <a:lnTo>
                    <a:pt x="546101" y="186532"/>
                  </a:lnTo>
                  <a:lnTo>
                    <a:pt x="550863" y="186532"/>
                  </a:lnTo>
                  <a:lnTo>
                    <a:pt x="552451" y="188120"/>
                  </a:lnTo>
                  <a:lnTo>
                    <a:pt x="561976" y="191295"/>
                  </a:lnTo>
                  <a:lnTo>
                    <a:pt x="565151" y="191295"/>
                  </a:lnTo>
                  <a:lnTo>
                    <a:pt x="577851" y="181770"/>
                  </a:lnTo>
                  <a:lnTo>
                    <a:pt x="582613" y="186532"/>
                  </a:lnTo>
                  <a:lnTo>
                    <a:pt x="588963" y="192882"/>
                  </a:lnTo>
                  <a:lnTo>
                    <a:pt x="588963" y="197645"/>
                  </a:lnTo>
                  <a:lnTo>
                    <a:pt x="585788" y="202407"/>
                  </a:lnTo>
                  <a:lnTo>
                    <a:pt x="584201" y="205582"/>
                  </a:lnTo>
                  <a:lnTo>
                    <a:pt x="585788" y="205582"/>
                  </a:lnTo>
                  <a:lnTo>
                    <a:pt x="588963" y="205582"/>
                  </a:lnTo>
                  <a:lnTo>
                    <a:pt x="595313" y="207170"/>
                  </a:lnTo>
                  <a:lnTo>
                    <a:pt x="601663" y="208757"/>
                  </a:lnTo>
                  <a:lnTo>
                    <a:pt x="608013" y="210345"/>
                  </a:lnTo>
                  <a:lnTo>
                    <a:pt x="608013" y="215107"/>
                  </a:lnTo>
                  <a:lnTo>
                    <a:pt x="606426" y="216695"/>
                  </a:lnTo>
                  <a:lnTo>
                    <a:pt x="601663" y="224632"/>
                  </a:lnTo>
                  <a:lnTo>
                    <a:pt x="600076" y="226220"/>
                  </a:lnTo>
                  <a:lnTo>
                    <a:pt x="601663" y="234157"/>
                  </a:lnTo>
                  <a:lnTo>
                    <a:pt x="598488" y="234157"/>
                  </a:lnTo>
                  <a:lnTo>
                    <a:pt x="590551" y="232570"/>
                  </a:lnTo>
                  <a:lnTo>
                    <a:pt x="585788" y="230982"/>
                  </a:lnTo>
                  <a:lnTo>
                    <a:pt x="582613" y="232570"/>
                  </a:lnTo>
                  <a:lnTo>
                    <a:pt x="576263" y="238920"/>
                  </a:lnTo>
                  <a:lnTo>
                    <a:pt x="563563" y="248445"/>
                  </a:lnTo>
                  <a:lnTo>
                    <a:pt x="560388" y="251620"/>
                  </a:lnTo>
                  <a:lnTo>
                    <a:pt x="561976" y="259557"/>
                  </a:lnTo>
                  <a:lnTo>
                    <a:pt x="560388" y="262732"/>
                  </a:lnTo>
                  <a:lnTo>
                    <a:pt x="550863" y="275432"/>
                  </a:lnTo>
                  <a:lnTo>
                    <a:pt x="550863" y="277020"/>
                  </a:lnTo>
                  <a:lnTo>
                    <a:pt x="552451" y="281782"/>
                  </a:lnTo>
                  <a:lnTo>
                    <a:pt x="552451" y="284957"/>
                  </a:lnTo>
                  <a:lnTo>
                    <a:pt x="541338" y="307182"/>
                  </a:lnTo>
                  <a:lnTo>
                    <a:pt x="539751" y="308770"/>
                  </a:lnTo>
                  <a:lnTo>
                    <a:pt x="538163" y="308770"/>
                  </a:lnTo>
                  <a:lnTo>
                    <a:pt x="534988" y="307182"/>
                  </a:lnTo>
                  <a:lnTo>
                    <a:pt x="527051" y="304007"/>
                  </a:lnTo>
                  <a:lnTo>
                    <a:pt x="525463" y="307182"/>
                  </a:lnTo>
                  <a:lnTo>
                    <a:pt x="527051" y="324645"/>
                  </a:lnTo>
                  <a:lnTo>
                    <a:pt x="525463" y="327820"/>
                  </a:lnTo>
                  <a:lnTo>
                    <a:pt x="520701" y="329407"/>
                  </a:lnTo>
                  <a:lnTo>
                    <a:pt x="519113" y="330995"/>
                  </a:lnTo>
                  <a:lnTo>
                    <a:pt x="520701" y="340520"/>
                  </a:lnTo>
                  <a:lnTo>
                    <a:pt x="520701" y="346870"/>
                  </a:lnTo>
                  <a:lnTo>
                    <a:pt x="517526" y="350045"/>
                  </a:lnTo>
                  <a:lnTo>
                    <a:pt x="515938" y="351632"/>
                  </a:lnTo>
                  <a:lnTo>
                    <a:pt x="512763" y="350045"/>
                  </a:lnTo>
                  <a:lnTo>
                    <a:pt x="508001" y="348457"/>
                  </a:lnTo>
                  <a:lnTo>
                    <a:pt x="506413" y="343695"/>
                  </a:lnTo>
                  <a:lnTo>
                    <a:pt x="501651" y="319882"/>
                  </a:lnTo>
                  <a:lnTo>
                    <a:pt x="500063" y="313532"/>
                  </a:lnTo>
                  <a:lnTo>
                    <a:pt x="496888" y="313532"/>
                  </a:lnTo>
                  <a:lnTo>
                    <a:pt x="493713" y="315120"/>
                  </a:lnTo>
                  <a:lnTo>
                    <a:pt x="490538" y="326232"/>
                  </a:lnTo>
                  <a:lnTo>
                    <a:pt x="488951" y="330995"/>
                  </a:lnTo>
                  <a:lnTo>
                    <a:pt x="484188" y="326232"/>
                  </a:lnTo>
                  <a:lnTo>
                    <a:pt x="481013" y="323057"/>
                  </a:lnTo>
                  <a:lnTo>
                    <a:pt x="479426" y="319882"/>
                  </a:lnTo>
                  <a:lnTo>
                    <a:pt x="479426" y="316707"/>
                  </a:lnTo>
                  <a:lnTo>
                    <a:pt x="479426" y="310357"/>
                  </a:lnTo>
                  <a:lnTo>
                    <a:pt x="479426" y="307182"/>
                  </a:lnTo>
                  <a:lnTo>
                    <a:pt x="485776" y="304007"/>
                  </a:lnTo>
                  <a:lnTo>
                    <a:pt x="490538" y="302420"/>
                  </a:lnTo>
                  <a:lnTo>
                    <a:pt x="500063" y="296070"/>
                  </a:lnTo>
                  <a:lnTo>
                    <a:pt x="501651" y="291307"/>
                  </a:lnTo>
                  <a:lnTo>
                    <a:pt x="501651" y="283370"/>
                  </a:lnTo>
                  <a:lnTo>
                    <a:pt x="501651" y="281782"/>
                  </a:lnTo>
                  <a:lnTo>
                    <a:pt x="500063" y="281782"/>
                  </a:lnTo>
                  <a:lnTo>
                    <a:pt x="476251" y="278607"/>
                  </a:lnTo>
                  <a:lnTo>
                    <a:pt x="471488" y="278607"/>
                  </a:lnTo>
                  <a:lnTo>
                    <a:pt x="463551" y="280195"/>
                  </a:lnTo>
                  <a:lnTo>
                    <a:pt x="457201" y="278607"/>
                  </a:lnTo>
                  <a:lnTo>
                    <a:pt x="452438" y="278607"/>
                  </a:lnTo>
                  <a:lnTo>
                    <a:pt x="450851" y="277020"/>
                  </a:lnTo>
                  <a:lnTo>
                    <a:pt x="450851" y="269082"/>
                  </a:lnTo>
                  <a:lnTo>
                    <a:pt x="450851" y="264320"/>
                  </a:lnTo>
                  <a:lnTo>
                    <a:pt x="449263" y="261145"/>
                  </a:lnTo>
                  <a:lnTo>
                    <a:pt x="446088" y="261145"/>
                  </a:lnTo>
                  <a:lnTo>
                    <a:pt x="441326" y="261145"/>
                  </a:lnTo>
                  <a:lnTo>
                    <a:pt x="436563" y="257970"/>
                  </a:lnTo>
                  <a:lnTo>
                    <a:pt x="434976" y="256382"/>
                  </a:lnTo>
                  <a:lnTo>
                    <a:pt x="422276" y="253207"/>
                  </a:lnTo>
                  <a:lnTo>
                    <a:pt x="420688" y="254795"/>
                  </a:lnTo>
                  <a:lnTo>
                    <a:pt x="415926" y="259557"/>
                  </a:lnTo>
                  <a:lnTo>
                    <a:pt x="414338" y="262732"/>
                  </a:lnTo>
                  <a:lnTo>
                    <a:pt x="414338" y="264320"/>
                  </a:lnTo>
                  <a:lnTo>
                    <a:pt x="419101" y="267495"/>
                  </a:lnTo>
                  <a:lnTo>
                    <a:pt x="430213" y="277020"/>
                  </a:lnTo>
                  <a:lnTo>
                    <a:pt x="431801" y="278607"/>
                  </a:lnTo>
                  <a:lnTo>
                    <a:pt x="428626" y="280195"/>
                  </a:lnTo>
                  <a:lnTo>
                    <a:pt x="423863" y="281782"/>
                  </a:lnTo>
                  <a:lnTo>
                    <a:pt x="419101" y="284957"/>
                  </a:lnTo>
                  <a:lnTo>
                    <a:pt x="414338" y="291307"/>
                  </a:lnTo>
                  <a:lnTo>
                    <a:pt x="417513" y="294482"/>
                  </a:lnTo>
                  <a:lnTo>
                    <a:pt x="427038" y="299245"/>
                  </a:lnTo>
                  <a:lnTo>
                    <a:pt x="430213" y="300832"/>
                  </a:lnTo>
                  <a:lnTo>
                    <a:pt x="428626" y="304007"/>
                  </a:lnTo>
                  <a:lnTo>
                    <a:pt x="423863" y="311945"/>
                  </a:lnTo>
                  <a:lnTo>
                    <a:pt x="425451" y="315120"/>
                  </a:lnTo>
                  <a:lnTo>
                    <a:pt x="427038" y="318295"/>
                  </a:lnTo>
                  <a:lnTo>
                    <a:pt x="430213" y="334170"/>
                  </a:lnTo>
                  <a:lnTo>
                    <a:pt x="434976" y="351632"/>
                  </a:lnTo>
                  <a:lnTo>
                    <a:pt x="436563" y="356395"/>
                  </a:lnTo>
                  <a:lnTo>
                    <a:pt x="434976" y="359570"/>
                  </a:lnTo>
                  <a:lnTo>
                    <a:pt x="434976" y="361157"/>
                  </a:lnTo>
                  <a:lnTo>
                    <a:pt x="431801" y="362745"/>
                  </a:lnTo>
                  <a:lnTo>
                    <a:pt x="428626" y="361157"/>
                  </a:lnTo>
                  <a:lnTo>
                    <a:pt x="427038" y="354807"/>
                  </a:lnTo>
                  <a:lnTo>
                    <a:pt x="425451" y="353220"/>
                  </a:lnTo>
                  <a:lnTo>
                    <a:pt x="422276" y="357982"/>
                  </a:lnTo>
                  <a:lnTo>
                    <a:pt x="422276" y="361157"/>
                  </a:lnTo>
                  <a:lnTo>
                    <a:pt x="420688" y="361157"/>
                  </a:lnTo>
                  <a:lnTo>
                    <a:pt x="419101" y="359570"/>
                  </a:lnTo>
                  <a:lnTo>
                    <a:pt x="415926" y="354807"/>
                  </a:lnTo>
                  <a:lnTo>
                    <a:pt x="414338" y="353220"/>
                  </a:lnTo>
                  <a:lnTo>
                    <a:pt x="411163" y="357982"/>
                  </a:lnTo>
                  <a:lnTo>
                    <a:pt x="406401" y="361157"/>
                  </a:lnTo>
                  <a:lnTo>
                    <a:pt x="396876" y="364332"/>
                  </a:lnTo>
                  <a:lnTo>
                    <a:pt x="392113" y="367507"/>
                  </a:lnTo>
                  <a:lnTo>
                    <a:pt x="388938" y="369095"/>
                  </a:lnTo>
                  <a:lnTo>
                    <a:pt x="388938" y="370682"/>
                  </a:lnTo>
                  <a:lnTo>
                    <a:pt x="388938" y="377032"/>
                  </a:lnTo>
                  <a:lnTo>
                    <a:pt x="392113" y="380207"/>
                  </a:lnTo>
                  <a:lnTo>
                    <a:pt x="388938" y="384970"/>
                  </a:lnTo>
                  <a:lnTo>
                    <a:pt x="385763" y="388145"/>
                  </a:lnTo>
                  <a:lnTo>
                    <a:pt x="385763" y="391320"/>
                  </a:lnTo>
                  <a:lnTo>
                    <a:pt x="379413" y="396082"/>
                  </a:lnTo>
                  <a:lnTo>
                    <a:pt x="374651" y="400845"/>
                  </a:lnTo>
                  <a:lnTo>
                    <a:pt x="369888" y="402432"/>
                  </a:lnTo>
                  <a:lnTo>
                    <a:pt x="366713" y="402432"/>
                  </a:lnTo>
                  <a:lnTo>
                    <a:pt x="358776" y="404020"/>
                  </a:lnTo>
                  <a:lnTo>
                    <a:pt x="354013" y="407195"/>
                  </a:lnTo>
                  <a:lnTo>
                    <a:pt x="349251" y="413545"/>
                  </a:lnTo>
                  <a:lnTo>
                    <a:pt x="344488" y="419895"/>
                  </a:lnTo>
                  <a:lnTo>
                    <a:pt x="336551" y="429420"/>
                  </a:lnTo>
                  <a:lnTo>
                    <a:pt x="330201" y="435770"/>
                  </a:lnTo>
                  <a:lnTo>
                    <a:pt x="323851" y="437357"/>
                  </a:lnTo>
                  <a:lnTo>
                    <a:pt x="317501" y="445295"/>
                  </a:lnTo>
                  <a:lnTo>
                    <a:pt x="311150" y="450057"/>
                  </a:lnTo>
                  <a:lnTo>
                    <a:pt x="304800" y="454820"/>
                  </a:lnTo>
                  <a:lnTo>
                    <a:pt x="301625" y="456407"/>
                  </a:lnTo>
                  <a:lnTo>
                    <a:pt x="296863" y="459582"/>
                  </a:lnTo>
                  <a:lnTo>
                    <a:pt x="295275" y="464345"/>
                  </a:lnTo>
                  <a:lnTo>
                    <a:pt x="293688" y="469107"/>
                  </a:lnTo>
                  <a:lnTo>
                    <a:pt x="290513" y="473870"/>
                  </a:lnTo>
                  <a:lnTo>
                    <a:pt x="284163" y="475457"/>
                  </a:lnTo>
                  <a:lnTo>
                    <a:pt x="280988" y="477045"/>
                  </a:lnTo>
                  <a:lnTo>
                    <a:pt x="276225" y="475457"/>
                  </a:lnTo>
                  <a:lnTo>
                    <a:pt x="274638" y="478632"/>
                  </a:lnTo>
                  <a:lnTo>
                    <a:pt x="269875" y="486570"/>
                  </a:lnTo>
                  <a:lnTo>
                    <a:pt x="268288" y="488157"/>
                  </a:lnTo>
                  <a:lnTo>
                    <a:pt x="263525" y="486570"/>
                  </a:lnTo>
                  <a:lnTo>
                    <a:pt x="257175" y="488157"/>
                  </a:lnTo>
                  <a:lnTo>
                    <a:pt x="254000" y="491332"/>
                  </a:lnTo>
                  <a:lnTo>
                    <a:pt x="250825" y="496095"/>
                  </a:lnTo>
                  <a:lnTo>
                    <a:pt x="249238" y="500857"/>
                  </a:lnTo>
                  <a:lnTo>
                    <a:pt x="249238" y="505620"/>
                  </a:lnTo>
                  <a:lnTo>
                    <a:pt x="250825" y="519907"/>
                  </a:lnTo>
                  <a:lnTo>
                    <a:pt x="250825" y="527845"/>
                  </a:lnTo>
                  <a:lnTo>
                    <a:pt x="249238" y="532607"/>
                  </a:lnTo>
                  <a:lnTo>
                    <a:pt x="250825" y="535782"/>
                  </a:lnTo>
                  <a:lnTo>
                    <a:pt x="254000" y="540545"/>
                  </a:lnTo>
                  <a:lnTo>
                    <a:pt x="254000" y="545307"/>
                  </a:lnTo>
                  <a:lnTo>
                    <a:pt x="252413" y="550070"/>
                  </a:lnTo>
                  <a:lnTo>
                    <a:pt x="246063" y="565945"/>
                  </a:lnTo>
                  <a:lnTo>
                    <a:pt x="242888" y="573882"/>
                  </a:lnTo>
                  <a:lnTo>
                    <a:pt x="241300" y="580232"/>
                  </a:lnTo>
                  <a:lnTo>
                    <a:pt x="242888" y="586582"/>
                  </a:lnTo>
                  <a:lnTo>
                    <a:pt x="244475" y="602457"/>
                  </a:lnTo>
                  <a:lnTo>
                    <a:pt x="244475" y="605632"/>
                  </a:lnTo>
                  <a:lnTo>
                    <a:pt x="238125" y="605632"/>
                  </a:lnTo>
                  <a:lnTo>
                    <a:pt x="233363" y="605632"/>
                  </a:lnTo>
                  <a:lnTo>
                    <a:pt x="231775" y="607220"/>
                  </a:lnTo>
                  <a:lnTo>
                    <a:pt x="228600" y="616745"/>
                  </a:lnTo>
                  <a:lnTo>
                    <a:pt x="225425" y="621507"/>
                  </a:lnTo>
                  <a:lnTo>
                    <a:pt x="225425" y="623095"/>
                  </a:lnTo>
                  <a:lnTo>
                    <a:pt x="230188" y="626270"/>
                  </a:lnTo>
                  <a:lnTo>
                    <a:pt x="222250" y="629445"/>
                  </a:lnTo>
                  <a:lnTo>
                    <a:pt x="220663" y="629445"/>
                  </a:lnTo>
                  <a:lnTo>
                    <a:pt x="212725" y="632620"/>
                  </a:lnTo>
                  <a:lnTo>
                    <a:pt x="211138" y="635795"/>
                  </a:lnTo>
                  <a:lnTo>
                    <a:pt x="209550" y="642145"/>
                  </a:lnTo>
                  <a:lnTo>
                    <a:pt x="207963" y="645320"/>
                  </a:lnTo>
                  <a:lnTo>
                    <a:pt x="204788" y="648495"/>
                  </a:lnTo>
                  <a:lnTo>
                    <a:pt x="198438" y="650082"/>
                  </a:lnTo>
                  <a:lnTo>
                    <a:pt x="195263" y="653257"/>
                  </a:lnTo>
                  <a:lnTo>
                    <a:pt x="193675" y="653257"/>
                  </a:lnTo>
                  <a:lnTo>
                    <a:pt x="192088" y="651670"/>
                  </a:lnTo>
                  <a:lnTo>
                    <a:pt x="179388" y="638970"/>
                  </a:lnTo>
                  <a:lnTo>
                    <a:pt x="179388" y="634207"/>
                  </a:lnTo>
                  <a:lnTo>
                    <a:pt x="176213" y="629445"/>
                  </a:lnTo>
                  <a:lnTo>
                    <a:pt x="173038" y="616745"/>
                  </a:lnTo>
                  <a:lnTo>
                    <a:pt x="166688" y="599282"/>
                  </a:lnTo>
                  <a:lnTo>
                    <a:pt x="157163" y="581820"/>
                  </a:lnTo>
                  <a:lnTo>
                    <a:pt x="149225" y="565945"/>
                  </a:lnTo>
                  <a:lnTo>
                    <a:pt x="142875" y="550070"/>
                  </a:lnTo>
                  <a:lnTo>
                    <a:pt x="138113" y="532607"/>
                  </a:lnTo>
                  <a:lnTo>
                    <a:pt x="131763" y="516732"/>
                  </a:lnTo>
                  <a:lnTo>
                    <a:pt x="123825" y="502445"/>
                  </a:lnTo>
                  <a:lnTo>
                    <a:pt x="120650" y="496095"/>
                  </a:lnTo>
                  <a:lnTo>
                    <a:pt x="114300" y="481807"/>
                  </a:lnTo>
                  <a:lnTo>
                    <a:pt x="111125" y="470695"/>
                  </a:lnTo>
                  <a:lnTo>
                    <a:pt x="103187" y="438945"/>
                  </a:lnTo>
                  <a:lnTo>
                    <a:pt x="100012" y="411957"/>
                  </a:lnTo>
                  <a:lnTo>
                    <a:pt x="98425" y="397670"/>
                  </a:lnTo>
                  <a:lnTo>
                    <a:pt x="98425" y="394495"/>
                  </a:lnTo>
                  <a:lnTo>
                    <a:pt x="100012" y="388145"/>
                  </a:lnTo>
                  <a:lnTo>
                    <a:pt x="104775" y="380207"/>
                  </a:lnTo>
                  <a:lnTo>
                    <a:pt x="104775" y="377032"/>
                  </a:lnTo>
                  <a:lnTo>
                    <a:pt x="101600" y="373857"/>
                  </a:lnTo>
                  <a:lnTo>
                    <a:pt x="98425" y="370682"/>
                  </a:lnTo>
                  <a:lnTo>
                    <a:pt x="96837" y="364332"/>
                  </a:lnTo>
                  <a:lnTo>
                    <a:pt x="95250" y="354807"/>
                  </a:lnTo>
                  <a:lnTo>
                    <a:pt x="96837" y="348457"/>
                  </a:lnTo>
                  <a:lnTo>
                    <a:pt x="88900" y="348457"/>
                  </a:lnTo>
                  <a:lnTo>
                    <a:pt x="87312" y="350045"/>
                  </a:lnTo>
                  <a:lnTo>
                    <a:pt x="84137" y="354807"/>
                  </a:lnTo>
                  <a:lnTo>
                    <a:pt x="84137" y="357982"/>
                  </a:lnTo>
                  <a:lnTo>
                    <a:pt x="87312" y="359570"/>
                  </a:lnTo>
                  <a:lnTo>
                    <a:pt x="87312" y="361157"/>
                  </a:lnTo>
                  <a:lnTo>
                    <a:pt x="87312" y="365920"/>
                  </a:lnTo>
                  <a:lnTo>
                    <a:pt x="84137" y="370682"/>
                  </a:lnTo>
                  <a:lnTo>
                    <a:pt x="79375" y="373857"/>
                  </a:lnTo>
                  <a:lnTo>
                    <a:pt x="73025" y="377032"/>
                  </a:lnTo>
                  <a:lnTo>
                    <a:pt x="68262" y="378620"/>
                  </a:lnTo>
                  <a:lnTo>
                    <a:pt x="61912" y="381795"/>
                  </a:lnTo>
                  <a:lnTo>
                    <a:pt x="58737" y="381795"/>
                  </a:lnTo>
                  <a:lnTo>
                    <a:pt x="50800" y="378620"/>
                  </a:lnTo>
                  <a:lnTo>
                    <a:pt x="44450" y="375445"/>
                  </a:lnTo>
                  <a:lnTo>
                    <a:pt x="34925" y="364332"/>
                  </a:lnTo>
                  <a:lnTo>
                    <a:pt x="22225" y="351632"/>
                  </a:lnTo>
                  <a:lnTo>
                    <a:pt x="17462" y="345282"/>
                  </a:lnTo>
                  <a:lnTo>
                    <a:pt x="20637" y="345282"/>
                  </a:lnTo>
                  <a:lnTo>
                    <a:pt x="30162" y="345282"/>
                  </a:lnTo>
                  <a:lnTo>
                    <a:pt x="34925" y="345282"/>
                  </a:lnTo>
                  <a:lnTo>
                    <a:pt x="39687" y="343695"/>
                  </a:lnTo>
                  <a:lnTo>
                    <a:pt x="44450" y="340520"/>
                  </a:lnTo>
                  <a:lnTo>
                    <a:pt x="49212" y="334170"/>
                  </a:lnTo>
                  <a:lnTo>
                    <a:pt x="49212" y="332582"/>
                  </a:lnTo>
                  <a:lnTo>
                    <a:pt x="46037" y="332582"/>
                  </a:lnTo>
                  <a:lnTo>
                    <a:pt x="41275" y="334170"/>
                  </a:lnTo>
                  <a:lnTo>
                    <a:pt x="33337" y="334170"/>
                  </a:lnTo>
                  <a:lnTo>
                    <a:pt x="26987" y="332582"/>
                  </a:lnTo>
                  <a:lnTo>
                    <a:pt x="22225" y="330995"/>
                  </a:lnTo>
                  <a:lnTo>
                    <a:pt x="17462" y="329407"/>
                  </a:lnTo>
                  <a:lnTo>
                    <a:pt x="15875" y="327820"/>
                  </a:lnTo>
                  <a:lnTo>
                    <a:pt x="6350" y="321470"/>
                  </a:lnTo>
                  <a:lnTo>
                    <a:pt x="0" y="313532"/>
                  </a:lnTo>
                  <a:lnTo>
                    <a:pt x="0" y="311945"/>
                  </a:lnTo>
                  <a:lnTo>
                    <a:pt x="3175" y="311945"/>
                  </a:lnTo>
                  <a:lnTo>
                    <a:pt x="6350" y="307182"/>
                  </a:lnTo>
                  <a:lnTo>
                    <a:pt x="14287" y="307182"/>
                  </a:lnTo>
                  <a:lnTo>
                    <a:pt x="14287" y="299245"/>
                  </a:lnTo>
                  <a:lnTo>
                    <a:pt x="15875" y="300832"/>
                  </a:lnTo>
                  <a:lnTo>
                    <a:pt x="23812" y="300832"/>
                  </a:lnTo>
                  <a:lnTo>
                    <a:pt x="31750" y="300832"/>
                  </a:lnTo>
                  <a:lnTo>
                    <a:pt x="34925" y="302420"/>
                  </a:lnTo>
                  <a:lnTo>
                    <a:pt x="41275" y="302420"/>
                  </a:lnTo>
                  <a:lnTo>
                    <a:pt x="42862" y="299245"/>
                  </a:lnTo>
                  <a:lnTo>
                    <a:pt x="50800" y="297657"/>
                  </a:lnTo>
                  <a:lnTo>
                    <a:pt x="52387" y="297657"/>
                  </a:lnTo>
                  <a:lnTo>
                    <a:pt x="53975" y="300832"/>
                  </a:lnTo>
                  <a:lnTo>
                    <a:pt x="58737" y="300832"/>
                  </a:lnTo>
                  <a:lnTo>
                    <a:pt x="60325" y="297657"/>
                  </a:lnTo>
                  <a:lnTo>
                    <a:pt x="63500" y="297657"/>
                  </a:lnTo>
                  <a:lnTo>
                    <a:pt x="60325" y="292895"/>
                  </a:lnTo>
                  <a:lnTo>
                    <a:pt x="63500" y="291307"/>
                  </a:lnTo>
                  <a:lnTo>
                    <a:pt x="57150" y="277020"/>
                  </a:lnTo>
                  <a:lnTo>
                    <a:pt x="53975" y="272257"/>
                  </a:lnTo>
                  <a:lnTo>
                    <a:pt x="53975" y="267495"/>
                  </a:lnTo>
                  <a:lnTo>
                    <a:pt x="49212" y="269082"/>
                  </a:lnTo>
                  <a:lnTo>
                    <a:pt x="46037" y="267495"/>
                  </a:lnTo>
                  <a:lnTo>
                    <a:pt x="41275" y="262732"/>
                  </a:lnTo>
                  <a:lnTo>
                    <a:pt x="42862" y="254795"/>
                  </a:lnTo>
                  <a:lnTo>
                    <a:pt x="44450" y="248445"/>
                  </a:lnTo>
                  <a:lnTo>
                    <a:pt x="39687" y="248445"/>
                  </a:lnTo>
                  <a:lnTo>
                    <a:pt x="34925" y="246857"/>
                  </a:lnTo>
                  <a:lnTo>
                    <a:pt x="30162" y="245270"/>
                  </a:lnTo>
                  <a:lnTo>
                    <a:pt x="30162" y="242095"/>
                  </a:lnTo>
                  <a:lnTo>
                    <a:pt x="30162" y="238920"/>
                  </a:lnTo>
                  <a:lnTo>
                    <a:pt x="31750" y="232570"/>
                  </a:lnTo>
                  <a:lnTo>
                    <a:pt x="41275" y="223045"/>
                  </a:lnTo>
                  <a:lnTo>
                    <a:pt x="42862" y="219870"/>
                  </a:lnTo>
                  <a:lnTo>
                    <a:pt x="47625" y="213520"/>
                  </a:lnTo>
                  <a:lnTo>
                    <a:pt x="50800" y="213520"/>
                  </a:lnTo>
                  <a:lnTo>
                    <a:pt x="52387" y="215107"/>
                  </a:lnTo>
                  <a:lnTo>
                    <a:pt x="53975" y="219870"/>
                  </a:lnTo>
                  <a:lnTo>
                    <a:pt x="58737" y="221457"/>
                  </a:lnTo>
                  <a:lnTo>
                    <a:pt x="66675" y="216695"/>
                  </a:lnTo>
                  <a:lnTo>
                    <a:pt x="73025" y="218282"/>
                  </a:lnTo>
                  <a:lnTo>
                    <a:pt x="79375" y="215107"/>
                  </a:lnTo>
                  <a:lnTo>
                    <a:pt x="80962" y="210345"/>
                  </a:lnTo>
                  <a:lnTo>
                    <a:pt x="85725" y="203995"/>
                  </a:lnTo>
                  <a:lnTo>
                    <a:pt x="88900" y="199232"/>
                  </a:lnTo>
                  <a:lnTo>
                    <a:pt x="88900" y="196057"/>
                  </a:lnTo>
                  <a:lnTo>
                    <a:pt x="101600" y="189707"/>
                  </a:lnTo>
                  <a:lnTo>
                    <a:pt x="106362" y="184945"/>
                  </a:lnTo>
                  <a:lnTo>
                    <a:pt x="111125" y="172245"/>
                  </a:lnTo>
                  <a:lnTo>
                    <a:pt x="112713" y="165895"/>
                  </a:lnTo>
                  <a:lnTo>
                    <a:pt x="119063" y="164307"/>
                  </a:lnTo>
                  <a:lnTo>
                    <a:pt x="122238" y="162720"/>
                  </a:lnTo>
                  <a:lnTo>
                    <a:pt x="120650" y="157957"/>
                  </a:lnTo>
                  <a:lnTo>
                    <a:pt x="134938" y="140495"/>
                  </a:lnTo>
                  <a:lnTo>
                    <a:pt x="136525" y="130970"/>
                  </a:lnTo>
                  <a:lnTo>
                    <a:pt x="134938" y="126207"/>
                  </a:lnTo>
                  <a:lnTo>
                    <a:pt x="134938" y="123032"/>
                  </a:lnTo>
                  <a:lnTo>
                    <a:pt x="139700" y="119857"/>
                  </a:lnTo>
                  <a:lnTo>
                    <a:pt x="144463" y="118270"/>
                  </a:lnTo>
                  <a:lnTo>
                    <a:pt x="149225" y="115095"/>
                  </a:lnTo>
                  <a:lnTo>
                    <a:pt x="150813" y="111920"/>
                  </a:lnTo>
                  <a:lnTo>
                    <a:pt x="150813" y="110332"/>
                  </a:lnTo>
                  <a:lnTo>
                    <a:pt x="146050" y="105570"/>
                  </a:lnTo>
                  <a:lnTo>
                    <a:pt x="139700" y="107157"/>
                  </a:lnTo>
                  <a:lnTo>
                    <a:pt x="136525" y="103982"/>
                  </a:lnTo>
                  <a:lnTo>
                    <a:pt x="136525" y="99220"/>
                  </a:lnTo>
                  <a:lnTo>
                    <a:pt x="130175" y="99220"/>
                  </a:lnTo>
                  <a:lnTo>
                    <a:pt x="130175" y="92870"/>
                  </a:lnTo>
                  <a:lnTo>
                    <a:pt x="125413" y="89695"/>
                  </a:lnTo>
                  <a:lnTo>
                    <a:pt x="123825" y="86520"/>
                  </a:lnTo>
                  <a:lnTo>
                    <a:pt x="125413" y="86520"/>
                  </a:lnTo>
                  <a:lnTo>
                    <a:pt x="125777" y="85061"/>
                  </a:lnTo>
                  <a:cubicBezTo>
                    <a:pt x="123490" y="84316"/>
                    <a:pt x="123128" y="82752"/>
                    <a:pt x="123128" y="81083"/>
                  </a:cubicBezTo>
                  <a:lnTo>
                    <a:pt x="122573" y="78694"/>
                  </a:lnTo>
                  <a:lnTo>
                    <a:pt x="122238" y="78582"/>
                  </a:lnTo>
                  <a:lnTo>
                    <a:pt x="122467" y="78238"/>
                  </a:lnTo>
                  <a:cubicBezTo>
                    <a:pt x="121963" y="69848"/>
                    <a:pt x="117084" y="63480"/>
                    <a:pt x="117084" y="57113"/>
                  </a:cubicBezTo>
                  <a:cubicBezTo>
                    <a:pt x="117084" y="56099"/>
                    <a:pt x="119094" y="54536"/>
                    <a:pt x="121799" y="52692"/>
                  </a:cubicBezTo>
                  <a:lnTo>
                    <a:pt x="122238" y="51595"/>
                  </a:lnTo>
                  <a:lnTo>
                    <a:pt x="125074" y="50460"/>
                  </a:lnTo>
                  <a:cubicBezTo>
                    <a:pt x="126523" y="49530"/>
                    <a:pt x="128000" y="48534"/>
                    <a:pt x="129382" y="47524"/>
                  </a:cubicBezTo>
                  <a:cubicBezTo>
                    <a:pt x="129382" y="47316"/>
                    <a:pt x="129382" y="47316"/>
                    <a:pt x="122712" y="40646"/>
                  </a:cubicBezTo>
                  <a:cubicBezTo>
                    <a:pt x="120419" y="39812"/>
                    <a:pt x="118334" y="38353"/>
                    <a:pt x="116250" y="36894"/>
                  </a:cubicBezTo>
                  <a:cubicBezTo>
                    <a:pt x="116244" y="36893"/>
                    <a:pt x="116056" y="36870"/>
                    <a:pt x="109371" y="36060"/>
                  </a:cubicBezTo>
                  <a:cubicBezTo>
                    <a:pt x="109373" y="36058"/>
                    <a:pt x="109397" y="36031"/>
                    <a:pt x="109710" y="35669"/>
                  </a:cubicBezTo>
                  <a:lnTo>
                    <a:pt x="112081" y="32934"/>
                  </a:lnTo>
                  <a:cubicBezTo>
                    <a:pt x="102909" y="22095"/>
                    <a:pt x="103743" y="6670"/>
                    <a:pt x="129173" y="12090"/>
                  </a:cubicBezTo>
                  <a:cubicBezTo>
                    <a:pt x="129168" y="12085"/>
                    <a:pt x="129002" y="11919"/>
                    <a:pt x="123128" y="6045"/>
                  </a:cubicBezTo>
                  <a:cubicBezTo>
                    <a:pt x="130424" y="7713"/>
                    <a:pt x="136677" y="5837"/>
                    <a:pt x="141263" y="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sp>
        <p:nvSpPr>
          <p:cNvPr id="702" name="Retângulo: Cantos Diagonais Arredondados 330">
            <a:extLst>
              <a:ext uri="{FF2B5EF4-FFF2-40B4-BE49-F238E27FC236}">
                <a16:creationId xmlns:a16="http://schemas.microsoft.com/office/drawing/2014/main" id="{92F1243B-2C15-E7B6-533A-51A203886545}"/>
              </a:ext>
            </a:extLst>
          </p:cNvPr>
          <p:cNvSpPr/>
          <p:nvPr/>
        </p:nvSpPr>
        <p:spPr>
          <a:xfrm rot="16200000">
            <a:off x="6659354" y="778018"/>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grpSp>
        <p:nvGrpSpPr>
          <p:cNvPr id="705" name="Group 105">
            <a:extLst>
              <a:ext uri="{FF2B5EF4-FFF2-40B4-BE49-F238E27FC236}">
                <a16:creationId xmlns:a16="http://schemas.microsoft.com/office/drawing/2014/main" id="{E59C49EA-C208-08A6-7AE3-CFA792944442}"/>
              </a:ext>
            </a:extLst>
          </p:cNvPr>
          <p:cNvGrpSpPr/>
          <p:nvPr/>
        </p:nvGrpSpPr>
        <p:grpSpPr>
          <a:xfrm>
            <a:off x="4557418" y="1206854"/>
            <a:ext cx="633412" cy="520701"/>
            <a:chOff x="8920163" y="5145088"/>
            <a:chExt cx="633412" cy="520701"/>
          </a:xfrm>
          <a:solidFill>
            <a:srgbClr val="00B2A9"/>
          </a:solidFill>
        </p:grpSpPr>
        <p:sp>
          <p:nvSpPr>
            <p:cNvPr id="706" name="Freeform 76">
              <a:extLst>
                <a:ext uri="{FF2B5EF4-FFF2-40B4-BE49-F238E27FC236}">
                  <a16:creationId xmlns:a16="http://schemas.microsoft.com/office/drawing/2014/main" id="{2BC513DB-C908-4F5F-B814-21E48027871B}"/>
                </a:ext>
              </a:extLst>
            </p:cNvPr>
            <p:cNvSpPr>
              <a:spLocks/>
            </p:cNvSpPr>
            <p:nvPr/>
          </p:nvSpPr>
          <p:spPr bwMode="auto">
            <a:xfrm>
              <a:off x="8994775" y="5145088"/>
              <a:ext cx="128587" cy="130175"/>
            </a:xfrm>
            <a:custGeom>
              <a:avLst/>
              <a:gdLst>
                <a:gd name="T0" fmla="*/ 611 w 611"/>
                <a:gd name="T1" fmla="*/ 307 h 615"/>
                <a:gd name="T2" fmla="*/ 611 w 611"/>
                <a:gd name="T3" fmla="*/ 371 h 615"/>
                <a:gd name="T4" fmla="*/ 603 w 611"/>
                <a:gd name="T5" fmla="*/ 387 h 615"/>
                <a:gd name="T6" fmla="*/ 582 w 611"/>
                <a:gd name="T7" fmla="*/ 414 h 615"/>
                <a:gd name="T8" fmla="*/ 579 w 611"/>
                <a:gd name="T9" fmla="*/ 440 h 615"/>
                <a:gd name="T10" fmla="*/ 573 w 611"/>
                <a:gd name="T11" fmla="*/ 453 h 615"/>
                <a:gd name="T12" fmla="*/ 548 w 611"/>
                <a:gd name="T13" fmla="*/ 491 h 615"/>
                <a:gd name="T14" fmla="*/ 525 w 611"/>
                <a:gd name="T15" fmla="*/ 523 h 615"/>
                <a:gd name="T16" fmla="*/ 485 w 611"/>
                <a:gd name="T17" fmla="*/ 562 h 615"/>
                <a:gd name="T18" fmla="*/ 455 w 611"/>
                <a:gd name="T19" fmla="*/ 583 h 615"/>
                <a:gd name="T20" fmla="*/ 407 w 611"/>
                <a:gd name="T21" fmla="*/ 584 h 615"/>
                <a:gd name="T22" fmla="*/ 387 w 611"/>
                <a:gd name="T23" fmla="*/ 600 h 615"/>
                <a:gd name="T24" fmla="*/ 370 w 611"/>
                <a:gd name="T25" fmla="*/ 615 h 615"/>
                <a:gd name="T26" fmla="*/ 244 w 611"/>
                <a:gd name="T27" fmla="*/ 615 h 615"/>
                <a:gd name="T28" fmla="*/ 227 w 611"/>
                <a:gd name="T29" fmla="*/ 601 h 615"/>
                <a:gd name="T30" fmla="*/ 206 w 611"/>
                <a:gd name="T31" fmla="*/ 584 h 615"/>
                <a:gd name="T32" fmla="*/ 182 w 611"/>
                <a:gd name="T33" fmla="*/ 584 h 615"/>
                <a:gd name="T34" fmla="*/ 158 w 611"/>
                <a:gd name="T35" fmla="*/ 565 h 615"/>
                <a:gd name="T36" fmla="*/ 144 w 611"/>
                <a:gd name="T37" fmla="*/ 552 h 615"/>
                <a:gd name="T38" fmla="*/ 114 w 611"/>
                <a:gd name="T39" fmla="*/ 548 h 615"/>
                <a:gd name="T40" fmla="*/ 99 w 611"/>
                <a:gd name="T41" fmla="*/ 534 h 615"/>
                <a:gd name="T42" fmla="*/ 84 w 611"/>
                <a:gd name="T43" fmla="*/ 516 h 615"/>
                <a:gd name="T44" fmla="*/ 66 w 611"/>
                <a:gd name="T45" fmla="*/ 497 h 615"/>
                <a:gd name="T46" fmla="*/ 63 w 611"/>
                <a:gd name="T47" fmla="*/ 472 h 615"/>
                <a:gd name="T48" fmla="*/ 49 w 611"/>
                <a:gd name="T49" fmla="*/ 456 h 615"/>
                <a:gd name="T50" fmla="*/ 32 w 611"/>
                <a:gd name="T51" fmla="*/ 435 h 615"/>
                <a:gd name="T52" fmla="*/ 31 w 611"/>
                <a:gd name="T53" fmla="*/ 409 h 615"/>
                <a:gd name="T54" fmla="*/ 14 w 611"/>
                <a:gd name="T55" fmla="*/ 388 h 615"/>
                <a:gd name="T56" fmla="*/ 0 w 611"/>
                <a:gd name="T57" fmla="*/ 372 h 615"/>
                <a:gd name="T58" fmla="*/ 0 w 611"/>
                <a:gd name="T59" fmla="*/ 244 h 615"/>
                <a:gd name="T60" fmla="*/ 16 w 611"/>
                <a:gd name="T61" fmla="*/ 228 h 615"/>
                <a:gd name="T62" fmla="*/ 31 w 611"/>
                <a:gd name="T63" fmla="*/ 210 h 615"/>
                <a:gd name="T64" fmla="*/ 32 w 611"/>
                <a:gd name="T65" fmla="*/ 184 h 615"/>
                <a:gd name="T66" fmla="*/ 52 w 611"/>
                <a:gd name="T67" fmla="*/ 159 h 615"/>
                <a:gd name="T68" fmla="*/ 63 w 611"/>
                <a:gd name="T69" fmla="*/ 147 h 615"/>
                <a:gd name="T70" fmla="*/ 67 w 611"/>
                <a:gd name="T71" fmla="*/ 118 h 615"/>
                <a:gd name="T72" fmla="*/ 86 w 611"/>
                <a:gd name="T73" fmla="*/ 96 h 615"/>
                <a:gd name="T74" fmla="*/ 99 w 611"/>
                <a:gd name="T75" fmla="*/ 82 h 615"/>
                <a:gd name="T76" fmla="*/ 119 w 611"/>
                <a:gd name="T77" fmla="*/ 64 h 615"/>
                <a:gd name="T78" fmla="*/ 147 w 611"/>
                <a:gd name="T79" fmla="*/ 60 h 615"/>
                <a:gd name="T80" fmla="*/ 155 w 611"/>
                <a:gd name="T81" fmla="*/ 56 h 615"/>
                <a:gd name="T82" fmla="*/ 204 w 611"/>
                <a:gd name="T83" fmla="*/ 30 h 615"/>
                <a:gd name="T84" fmla="*/ 228 w 611"/>
                <a:gd name="T85" fmla="*/ 10 h 615"/>
                <a:gd name="T86" fmla="*/ 243 w 611"/>
                <a:gd name="T87" fmla="*/ 0 h 615"/>
                <a:gd name="T88" fmla="*/ 371 w 611"/>
                <a:gd name="T89" fmla="*/ 0 h 615"/>
                <a:gd name="T90" fmla="*/ 386 w 611"/>
                <a:gd name="T91" fmla="*/ 10 h 615"/>
                <a:gd name="T92" fmla="*/ 410 w 611"/>
                <a:gd name="T93" fmla="*/ 29 h 615"/>
                <a:gd name="T94" fmla="*/ 438 w 611"/>
                <a:gd name="T95" fmla="*/ 32 h 615"/>
                <a:gd name="T96" fmla="*/ 449 w 611"/>
                <a:gd name="T97" fmla="*/ 39 h 615"/>
                <a:gd name="T98" fmla="*/ 489 w 611"/>
                <a:gd name="T99" fmla="*/ 63 h 615"/>
                <a:gd name="T100" fmla="*/ 515 w 611"/>
                <a:gd name="T101" fmla="*/ 86 h 615"/>
                <a:gd name="T102" fmla="*/ 529 w 611"/>
                <a:gd name="T103" fmla="*/ 97 h 615"/>
                <a:gd name="T104" fmla="*/ 547 w 611"/>
                <a:gd name="T105" fmla="*/ 115 h 615"/>
                <a:gd name="T106" fmla="*/ 550 w 611"/>
                <a:gd name="T107" fmla="*/ 141 h 615"/>
                <a:gd name="T108" fmla="*/ 567 w 611"/>
                <a:gd name="T109" fmla="*/ 160 h 615"/>
                <a:gd name="T110" fmla="*/ 579 w 611"/>
                <a:gd name="T111" fmla="*/ 175 h 615"/>
                <a:gd name="T112" fmla="*/ 583 w 611"/>
                <a:gd name="T113" fmla="*/ 209 h 615"/>
                <a:gd name="T114" fmla="*/ 596 w 611"/>
                <a:gd name="T115" fmla="*/ 224 h 615"/>
                <a:gd name="T116" fmla="*/ 611 w 611"/>
                <a:gd name="T117" fmla="*/ 245 h 615"/>
                <a:gd name="T118" fmla="*/ 611 w 611"/>
                <a:gd name="T119" fmla="*/ 307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1" h="615">
                  <a:moveTo>
                    <a:pt x="611" y="307"/>
                  </a:moveTo>
                  <a:cubicBezTo>
                    <a:pt x="611" y="328"/>
                    <a:pt x="611" y="349"/>
                    <a:pt x="611" y="371"/>
                  </a:cubicBezTo>
                  <a:cubicBezTo>
                    <a:pt x="611" y="377"/>
                    <a:pt x="611" y="386"/>
                    <a:pt x="603" y="387"/>
                  </a:cubicBezTo>
                  <a:cubicBezTo>
                    <a:pt x="584" y="388"/>
                    <a:pt x="583" y="400"/>
                    <a:pt x="582" y="414"/>
                  </a:cubicBezTo>
                  <a:cubicBezTo>
                    <a:pt x="582" y="423"/>
                    <a:pt x="580" y="431"/>
                    <a:pt x="579" y="440"/>
                  </a:cubicBezTo>
                  <a:cubicBezTo>
                    <a:pt x="579" y="445"/>
                    <a:pt x="579" y="453"/>
                    <a:pt x="573" y="453"/>
                  </a:cubicBezTo>
                  <a:cubicBezTo>
                    <a:pt x="548" y="455"/>
                    <a:pt x="549" y="475"/>
                    <a:pt x="548" y="491"/>
                  </a:cubicBezTo>
                  <a:cubicBezTo>
                    <a:pt x="547" y="507"/>
                    <a:pt x="542" y="514"/>
                    <a:pt x="525" y="523"/>
                  </a:cubicBezTo>
                  <a:cubicBezTo>
                    <a:pt x="511" y="530"/>
                    <a:pt x="494" y="547"/>
                    <a:pt x="485" y="562"/>
                  </a:cubicBezTo>
                  <a:cubicBezTo>
                    <a:pt x="476" y="576"/>
                    <a:pt x="469" y="582"/>
                    <a:pt x="455" y="583"/>
                  </a:cubicBezTo>
                  <a:cubicBezTo>
                    <a:pt x="439" y="584"/>
                    <a:pt x="423" y="584"/>
                    <a:pt x="407" y="584"/>
                  </a:cubicBezTo>
                  <a:cubicBezTo>
                    <a:pt x="396" y="584"/>
                    <a:pt x="387" y="586"/>
                    <a:pt x="387" y="600"/>
                  </a:cubicBezTo>
                  <a:cubicBezTo>
                    <a:pt x="387" y="612"/>
                    <a:pt x="381" y="615"/>
                    <a:pt x="370" y="615"/>
                  </a:cubicBezTo>
                  <a:cubicBezTo>
                    <a:pt x="328" y="615"/>
                    <a:pt x="286" y="615"/>
                    <a:pt x="244" y="615"/>
                  </a:cubicBezTo>
                  <a:cubicBezTo>
                    <a:pt x="235" y="615"/>
                    <a:pt x="227" y="613"/>
                    <a:pt x="227" y="601"/>
                  </a:cubicBezTo>
                  <a:cubicBezTo>
                    <a:pt x="227" y="586"/>
                    <a:pt x="218" y="584"/>
                    <a:pt x="206" y="584"/>
                  </a:cubicBezTo>
                  <a:cubicBezTo>
                    <a:pt x="198" y="585"/>
                    <a:pt x="190" y="583"/>
                    <a:pt x="182" y="584"/>
                  </a:cubicBezTo>
                  <a:cubicBezTo>
                    <a:pt x="168" y="585"/>
                    <a:pt x="158" y="582"/>
                    <a:pt x="158" y="565"/>
                  </a:cubicBezTo>
                  <a:cubicBezTo>
                    <a:pt x="159" y="556"/>
                    <a:pt x="152" y="553"/>
                    <a:pt x="144" y="552"/>
                  </a:cubicBezTo>
                  <a:cubicBezTo>
                    <a:pt x="134" y="551"/>
                    <a:pt x="124" y="549"/>
                    <a:pt x="114" y="548"/>
                  </a:cubicBezTo>
                  <a:cubicBezTo>
                    <a:pt x="105" y="547"/>
                    <a:pt x="99" y="544"/>
                    <a:pt x="99" y="534"/>
                  </a:cubicBezTo>
                  <a:cubicBezTo>
                    <a:pt x="99" y="524"/>
                    <a:pt x="95" y="516"/>
                    <a:pt x="84" y="516"/>
                  </a:cubicBezTo>
                  <a:cubicBezTo>
                    <a:pt x="71" y="516"/>
                    <a:pt x="67" y="509"/>
                    <a:pt x="66" y="497"/>
                  </a:cubicBezTo>
                  <a:cubicBezTo>
                    <a:pt x="66" y="489"/>
                    <a:pt x="63" y="480"/>
                    <a:pt x="63" y="472"/>
                  </a:cubicBezTo>
                  <a:cubicBezTo>
                    <a:pt x="62" y="462"/>
                    <a:pt x="59" y="456"/>
                    <a:pt x="49" y="456"/>
                  </a:cubicBezTo>
                  <a:cubicBezTo>
                    <a:pt x="34" y="456"/>
                    <a:pt x="31" y="447"/>
                    <a:pt x="32" y="435"/>
                  </a:cubicBezTo>
                  <a:cubicBezTo>
                    <a:pt x="32" y="426"/>
                    <a:pt x="31" y="417"/>
                    <a:pt x="31" y="409"/>
                  </a:cubicBezTo>
                  <a:cubicBezTo>
                    <a:pt x="31" y="397"/>
                    <a:pt x="29" y="387"/>
                    <a:pt x="14" y="388"/>
                  </a:cubicBezTo>
                  <a:cubicBezTo>
                    <a:pt x="3" y="388"/>
                    <a:pt x="0" y="382"/>
                    <a:pt x="0" y="372"/>
                  </a:cubicBezTo>
                  <a:cubicBezTo>
                    <a:pt x="0" y="329"/>
                    <a:pt x="0" y="287"/>
                    <a:pt x="0" y="244"/>
                  </a:cubicBezTo>
                  <a:cubicBezTo>
                    <a:pt x="0" y="233"/>
                    <a:pt x="5" y="228"/>
                    <a:pt x="16" y="228"/>
                  </a:cubicBezTo>
                  <a:cubicBezTo>
                    <a:pt x="28" y="228"/>
                    <a:pt x="31" y="220"/>
                    <a:pt x="31" y="210"/>
                  </a:cubicBezTo>
                  <a:cubicBezTo>
                    <a:pt x="31" y="201"/>
                    <a:pt x="32" y="192"/>
                    <a:pt x="32" y="184"/>
                  </a:cubicBezTo>
                  <a:cubicBezTo>
                    <a:pt x="31" y="169"/>
                    <a:pt x="34" y="158"/>
                    <a:pt x="52" y="159"/>
                  </a:cubicBezTo>
                  <a:cubicBezTo>
                    <a:pt x="59" y="160"/>
                    <a:pt x="62" y="154"/>
                    <a:pt x="63" y="147"/>
                  </a:cubicBezTo>
                  <a:cubicBezTo>
                    <a:pt x="64" y="137"/>
                    <a:pt x="66" y="128"/>
                    <a:pt x="67" y="118"/>
                  </a:cubicBezTo>
                  <a:cubicBezTo>
                    <a:pt x="67" y="105"/>
                    <a:pt x="70" y="96"/>
                    <a:pt x="86" y="96"/>
                  </a:cubicBezTo>
                  <a:cubicBezTo>
                    <a:pt x="95" y="97"/>
                    <a:pt x="99" y="91"/>
                    <a:pt x="99" y="82"/>
                  </a:cubicBezTo>
                  <a:cubicBezTo>
                    <a:pt x="99" y="68"/>
                    <a:pt x="107" y="65"/>
                    <a:pt x="119" y="64"/>
                  </a:cubicBezTo>
                  <a:cubicBezTo>
                    <a:pt x="129" y="64"/>
                    <a:pt x="138" y="62"/>
                    <a:pt x="147" y="60"/>
                  </a:cubicBezTo>
                  <a:cubicBezTo>
                    <a:pt x="150" y="59"/>
                    <a:pt x="155" y="58"/>
                    <a:pt x="155" y="56"/>
                  </a:cubicBezTo>
                  <a:cubicBezTo>
                    <a:pt x="159" y="23"/>
                    <a:pt x="185" y="33"/>
                    <a:pt x="204" y="30"/>
                  </a:cubicBezTo>
                  <a:cubicBezTo>
                    <a:pt x="217" y="27"/>
                    <a:pt x="227" y="27"/>
                    <a:pt x="228" y="10"/>
                  </a:cubicBezTo>
                  <a:cubicBezTo>
                    <a:pt x="228" y="2"/>
                    <a:pt x="236" y="0"/>
                    <a:pt x="243" y="0"/>
                  </a:cubicBezTo>
                  <a:cubicBezTo>
                    <a:pt x="286" y="0"/>
                    <a:pt x="328" y="0"/>
                    <a:pt x="371" y="0"/>
                  </a:cubicBezTo>
                  <a:cubicBezTo>
                    <a:pt x="378" y="0"/>
                    <a:pt x="386" y="1"/>
                    <a:pt x="386" y="10"/>
                  </a:cubicBezTo>
                  <a:cubicBezTo>
                    <a:pt x="386" y="27"/>
                    <a:pt x="397" y="29"/>
                    <a:pt x="410" y="29"/>
                  </a:cubicBezTo>
                  <a:cubicBezTo>
                    <a:pt x="419" y="29"/>
                    <a:pt x="428" y="31"/>
                    <a:pt x="438" y="32"/>
                  </a:cubicBezTo>
                  <a:cubicBezTo>
                    <a:pt x="442" y="33"/>
                    <a:pt x="449" y="34"/>
                    <a:pt x="449" y="39"/>
                  </a:cubicBezTo>
                  <a:cubicBezTo>
                    <a:pt x="450" y="67"/>
                    <a:pt x="473" y="60"/>
                    <a:pt x="489" y="63"/>
                  </a:cubicBezTo>
                  <a:cubicBezTo>
                    <a:pt x="503" y="66"/>
                    <a:pt x="517" y="65"/>
                    <a:pt x="515" y="86"/>
                  </a:cubicBezTo>
                  <a:cubicBezTo>
                    <a:pt x="515" y="94"/>
                    <a:pt x="522" y="97"/>
                    <a:pt x="529" y="97"/>
                  </a:cubicBezTo>
                  <a:cubicBezTo>
                    <a:pt x="543" y="96"/>
                    <a:pt x="547" y="103"/>
                    <a:pt x="547" y="115"/>
                  </a:cubicBezTo>
                  <a:cubicBezTo>
                    <a:pt x="547" y="124"/>
                    <a:pt x="550" y="132"/>
                    <a:pt x="550" y="141"/>
                  </a:cubicBezTo>
                  <a:cubicBezTo>
                    <a:pt x="551" y="152"/>
                    <a:pt x="554" y="160"/>
                    <a:pt x="567" y="160"/>
                  </a:cubicBezTo>
                  <a:cubicBezTo>
                    <a:pt x="577" y="160"/>
                    <a:pt x="578" y="167"/>
                    <a:pt x="579" y="175"/>
                  </a:cubicBezTo>
                  <a:cubicBezTo>
                    <a:pt x="580" y="187"/>
                    <a:pt x="582" y="198"/>
                    <a:pt x="583" y="209"/>
                  </a:cubicBezTo>
                  <a:cubicBezTo>
                    <a:pt x="584" y="217"/>
                    <a:pt x="587" y="223"/>
                    <a:pt x="596" y="224"/>
                  </a:cubicBezTo>
                  <a:cubicBezTo>
                    <a:pt x="610" y="224"/>
                    <a:pt x="611" y="234"/>
                    <a:pt x="611" y="245"/>
                  </a:cubicBezTo>
                  <a:cubicBezTo>
                    <a:pt x="611" y="265"/>
                    <a:pt x="611" y="286"/>
                    <a:pt x="611" y="3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07" name="Freeform 77">
              <a:extLst>
                <a:ext uri="{FF2B5EF4-FFF2-40B4-BE49-F238E27FC236}">
                  <a16:creationId xmlns:a16="http://schemas.microsoft.com/office/drawing/2014/main" id="{0E5B82E6-C3EC-2DB4-5902-8F3C72D204BF}"/>
                </a:ext>
              </a:extLst>
            </p:cNvPr>
            <p:cNvSpPr>
              <a:spLocks/>
            </p:cNvSpPr>
            <p:nvPr/>
          </p:nvSpPr>
          <p:spPr bwMode="auto">
            <a:xfrm>
              <a:off x="9355138" y="5145088"/>
              <a:ext cx="130175" cy="130175"/>
            </a:xfrm>
            <a:custGeom>
              <a:avLst/>
              <a:gdLst>
                <a:gd name="T0" fmla="*/ 246 w 617"/>
                <a:gd name="T1" fmla="*/ 615 h 615"/>
                <a:gd name="T2" fmla="*/ 210 w 617"/>
                <a:gd name="T3" fmla="*/ 584 h 615"/>
                <a:gd name="T4" fmla="*/ 132 w 617"/>
                <a:gd name="T5" fmla="*/ 565 h 615"/>
                <a:gd name="T6" fmla="*/ 100 w 617"/>
                <a:gd name="T7" fmla="*/ 531 h 615"/>
                <a:gd name="T8" fmla="*/ 67 w 617"/>
                <a:gd name="T9" fmla="*/ 497 h 615"/>
                <a:gd name="T10" fmla="*/ 49 w 617"/>
                <a:gd name="T11" fmla="*/ 456 h 615"/>
                <a:gd name="T12" fmla="*/ 32 w 617"/>
                <a:gd name="T13" fmla="*/ 404 h 615"/>
                <a:gd name="T14" fmla="*/ 3 w 617"/>
                <a:gd name="T15" fmla="*/ 366 h 615"/>
                <a:gd name="T16" fmla="*/ 19 w 617"/>
                <a:gd name="T17" fmla="*/ 224 h 615"/>
                <a:gd name="T18" fmla="*/ 33 w 617"/>
                <a:gd name="T19" fmla="*/ 179 h 615"/>
                <a:gd name="T20" fmla="*/ 64 w 617"/>
                <a:gd name="T21" fmla="*/ 145 h 615"/>
                <a:gd name="T22" fmla="*/ 85 w 617"/>
                <a:gd name="T23" fmla="*/ 97 h 615"/>
                <a:gd name="T24" fmla="*/ 117 w 617"/>
                <a:gd name="T25" fmla="*/ 64 h 615"/>
                <a:gd name="T26" fmla="*/ 160 w 617"/>
                <a:gd name="T27" fmla="*/ 54 h 615"/>
                <a:gd name="T28" fmla="*/ 229 w 617"/>
                <a:gd name="T29" fmla="*/ 11 h 615"/>
                <a:gd name="T30" fmla="*/ 371 w 617"/>
                <a:gd name="T31" fmla="*/ 0 h 615"/>
                <a:gd name="T32" fmla="*/ 408 w 617"/>
                <a:gd name="T33" fmla="*/ 29 h 615"/>
                <a:gd name="T34" fmla="*/ 453 w 617"/>
                <a:gd name="T35" fmla="*/ 49 h 615"/>
                <a:gd name="T36" fmla="*/ 497 w 617"/>
                <a:gd name="T37" fmla="*/ 65 h 615"/>
                <a:gd name="T38" fmla="*/ 532 w 617"/>
                <a:gd name="T39" fmla="*/ 97 h 615"/>
                <a:gd name="T40" fmla="*/ 552 w 617"/>
                <a:gd name="T41" fmla="*/ 146 h 615"/>
                <a:gd name="T42" fmla="*/ 581 w 617"/>
                <a:gd name="T43" fmla="*/ 183 h 615"/>
                <a:gd name="T44" fmla="*/ 592 w 617"/>
                <a:gd name="T45" fmla="*/ 227 h 615"/>
                <a:gd name="T46" fmla="*/ 612 w 617"/>
                <a:gd name="T47" fmla="*/ 374 h 615"/>
                <a:gd name="T48" fmla="*/ 583 w 617"/>
                <a:gd name="T49" fmla="*/ 411 h 615"/>
                <a:gd name="T50" fmla="*/ 569 w 617"/>
                <a:gd name="T51" fmla="*/ 455 h 615"/>
                <a:gd name="T52" fmla="*/ 548 w 617"/>
                <a:gd name="T53" fmla="*/ 502 h 615"/>
                <a:gd name="T54" fmla="*/ 516 w 617"/>
                <a:gd name="T55" fmla="*/ 534 h 615"/>
                <a:gd name="T56" fmla="*/ 473 w 617"/>
                <a:gd name="T57" fmla="*/ 552 h 615"/>
                <a:gd name="T58" fmla="*/ 436 w 617"/>
                <a:gd name="T59" fmla="*/ 584 h 615"/>
                <a:gd name="T60" fmla="*/ 387 w 617"/>
                <a:gd name="T61" fmla="*/ 603 h 615"/>
                <a:gd name="T62" fmla="*/ 306 w 617"/>
                <a:gd name="T6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615">
                  <a:moveTo>
                    <a:pt x="306" y="615"/>
                  </a:moveTo>
                  <a:cubicBezTo>
                    <a:pt x="286" y="615"/>
                    <a:pt x="266" y="615"/>
                    <a:pt x="246" y="615"/>
                  </a:cubicBezTo>
                  <a:cubicBezTo>
                    <a:pt x="235" y="615"/>
                    <a:pt x="228" y="613"/>
                    <a:pt x="228" y="600"/>
                  </a:cubicBezTo>
                  <a:cubicBezTo>
                    <a:pt x="228" y="587"/>
                    <a:pt x="221" y="584"/>
                    <a:pt x="210" y="584"/>
                  </a:cubicBezTo>
                  <a:cubicBezTo>
                    <a:pt x="191" y="584"/>
                    <a:pt x="172" y="583"/>
                    <a:pt x="154" y="583"/>
                  </a:cubicBezTo>
                  <a:cubicBezTo>
                    <a:pt x="140" y="583"/>
                    <a:pt x="132" y="580"/>
                    <a:pt x="132" y="565"/>
                  </a:cubicBezTo>
                  <a:cubicBezTo>
                    <a:pt x="133" y="555"/>
                    <a:pt x="128" y="549"/>
                    <a:pt x="118" y="549"/>
                  </a:cubicBezTo>
                  <a:cubicBezTo>
                    <a:pt x="106" y="548"/>
                    <a:pt x="100" y="543"/>
                    <a:pt x="100" y="531"/>
                  </a:cubicBezTo>
                  <a:cubicBezTo>
                    <a:pt x="100" y="522"/>
                    <a:pt x="95" y="517"/>
                    <a:pt x="86" y="517"/>
                  </a:cubicBezTo>
                  <a:cubicBezTo>
                    <a:pt x="72" y="517"/>
                    <a:pt x="68" y="509"/>
                    <a:pt x="67" y="497"/>
                  </a:cubicBezTo>
                  <a:cubicBezTo>
                    <a:pt x="67" y="489"/>
                    <a:pt x="64" y="481"/>
                    <a:pt x="64" y="473"/>
                  </a:cubicBezTo>
                  <a:cubicBezTo>
                    <a:pt x="64" y="463"/>
                    <a:pt x="60" y="456"/>
                    <a:pt x="49" y="456"/>
                  </a:cubicBezTo>
                  <a:cubicBezTo>
                    <a:pt x="36" y="456"/>
                    <a:pt x="33" y="447"/>
                    <a:pt x="33" y="436"/>
                  </a:cubicBezTo>
                  <a:cubicBezTo>
                    <a:pt x="33" y="425"/>
                    <a:pt x="32" y="415"/>
                    <a:pt x="32" y="404"/>
                  </a:cubicBezTo>
                  <a:cubicBezTo>
                    <a:pt x="31" y="397"/>
                    <a:pt x="30" y="390"/>
                    <a:pt x="22" y="389"/>
                  </a:cubicBezTo>
                  <a:cubicBezTo>
                    <a:pt x="6" y="388"/>
                    <a:pt x="4" y="379"/>
                    <a:pt x="3" y="366"/>
                  </a:cubicBezTo>
                  <a:cubicBezTo>
                    <a:pt x="0" y="325"/>
                    <a:pt x="0" y="284"/>
                    <a:pt x="4" y="243"/>
                  </a:cubicBezTo>
                  <a:cubicBezTo>
                    <a:pt x="5" y="232"/>
                    <a:pt x="7" y="224"/>
                    <a:pt x="19" y="224"/>
                  </a:cubicBezTo>
                  <a:cubicBezTo>
                    <a:pt x="28" y="223"/>
                    <a:pt x="31" y="217"/>
                    <a:pt x="32" y="209"/>
                  </a:cubicBezTo>
                  <a:cubicBezTo>
                    <a:pt x="32" y="199"/>
                    <a:pt x="33" y="189"/>
                    <a:pt x="33" y="179"/>
                  </a:cubicBezTo>
                  <a:cubicBezTo>
                    <a:pt x="33" y="167"/>
                    <a:pt x="36" y="159"/>
                    <a:pt x="50" y="160"/>
                  </a:cubicBezTo>
                  <a:cubicBezTo>
                    <a:pt x="60" y="160"/>
                    <a:pt x="64" y="154"/>
                    <a:pt x="64" y="145"/>
                  </a:cubicBezTo>
                  <a:cubicBezTo>
                    <a:pt x="65" y="135"/>
                    <a:pt x="68" y="125"/>
                    <a:pt x="68" y="115"/>
                  </a:cubicBezTo>
                  <a:cubicBezTo>
                    <a:pt x="68" y="103"/>
                    <a:pt x="72" y="96"/>
                    <a:pt x="85" y="97"/>
                  </a:cubicBezTo>
                  <a:cubicBezTo>
                    <a:pt x="97" y="97"/>
                    <a:pt x="100" y="90"/>
                    <a:pt x="100" y="80"/>
                  </a:cubicBezTo>
                  <a:cubicBezTo>
                    <a:pt x="100" y="69"/>
                    <a:pt x="106" y="65"/>
                    <a:pt x="117" y="64"/>
                  </a:cubicBezTo>
                  <a:cubicBezTo>
                    <a:pt x="127" y="64"/>
                    <a:pt x="138" y="61"/>
                    <a:pt x="148" y="60"/>
                  </a:cubicBezTo>
                  <a:cubicBezTo>
                    <a:pt x="153" y="59"/>
                    <a:pt x="160" y="59"/>
                    <a:pt x="160" y="54"/>
                  </a:cubicBezTo>
                  <a:cubicBezTo>
                    <a:pt x="164" y="24"/>
                    <a:pt x="189" y="33"/>
                    <a:pt x="206" y="29"/>
                  </a:cubicBezTo>
                  <a:cubicBezTo>
                    <a:pt x="218" y="27"/>
                    <a:pt x="228" y="26"/>
                    <a:pt x="229" y="11"/>
                  </a:cubicBezTo>
                  <a:cubicBezTo>
                    <a:pt x="229" y="1"/>
                    <a:pt x="238" y="0"/>
                    <a:pt x="245" y="0"/>
                  </a:cubicBezTo>
                  <a:cubicBezTo>
                    <a:pt x="287" y="0"/>
                    <a:pt x="329" y="0"/>
                    <a:pt x="371" y="0"/>
                  </a:cubicBezTo>
                  <a:cubicBezTo>
                    <a:pt x="379" y="0"/>
                    <a:pt x="387" y="2"/>
                    <a:pt x="387" y="11"/>
                  </a:cubicBezTo>
                  <a:cubicBezTo>
                    <a:pt x="387" y="26"/>
                    <a:pt x="396" y="29"/>
                    <a:pt x="408" y="29"/>
                  </a:cubicBezTo>
                  <a:cubicBezTo>
                    <a:pt x="416" y="29"/>
                    <a:pt x="424" y="32"/>
                    <a:pt x="432" y="32"/>
                  </a:cubicBezTo>
                  <a:cubicBezTo>
                    <a:pt x="444" y="32"/>
                    <a:pt x="453" y="35"/>
                    <a:pt x="453" y="49"/>
                  </a:cubicBezTo>
                  <a:cubicBezTo>
                    <a:pt x="453" y="59"/>
                    <a:pt x="459" y="63"/>
                    <a:pt x="469" y="63"/>
                  </a:cubicBezTo>
                  <a:cubicBezTo>
                    <a:pt x="478" y="64"/>
                    <a:pt x="487" y="65"/>
                    <a:pt x="497" y="65"/>
                  </a:cubicBezTo>
                  <a:cubicBezTo>
                    <a:pt x="508" y="64"/>
                    <a:pt x="516" y="68"/>
                    <a:pt x="516" y="81"/>
                  </a:cubicBezTo>
                  <a:cubicBezTo>
                    <a:pt x="515" y="92"/>
                    <a:pt x="521" y="97"/>
                    <a:pt x="532" y="97"/>
                  </a:cubicBezTo>
                  <a:cubicBezTo>
                    <a:pt x="544" y="96"/>
                    <a:pt x="548" y="103"/>
                    <a:pt x="548" y="114"/>
                  </a:cubicBezTo>
                  <a:cubicBezTo>
                    <a:pt x="548" y="125"/>
                    <a:pt x="551" y="135"/>
                    <a:pt x="552" y="146"/>
                  </a:cubicBezTo>
                  <a:cubicBezTo>
                    <a:pt x="553" y="152"/>
                    <a:pt x="554" y="159"/>
                    <a:pt x="561" y="159"/>
                  </a:cubicBezTo>
                  <a:cubicBezTo>
                    <a:pt x="578" y="159"/>
                    <a:pt x="581" y="169"/>
                    <a:pt x="581" y="183"/>
                  </a:cubicBezTo>
                  <a:cubicBezTo>
                    <a:pt x="581" y="193"/>
                    <a:pt x="583" y="203"/>
                    <a:pt x="584" y="213"/>
                  </a:cubicBezTo>
                  <a:cubicBezTo>
                    <a:pt x="584" y="219"/>
                    <a:pt x="585" y="226"/>
                    <a:pt x="592" y="227"/>
                  </a:cubicBezTo>
                  <a:cubicBezTo>
                    <a:pt x="612" y="227"/>
                    <a:pt x="611" y="241"/>
                    <a:pt x="613" y="254"/>
                  </a:cubicBezTo>
                  <a:cubicBezTo>
                    <a:pt x="617" y="294"/>
                    <a:pt x="616" y="334"/>
                    <a:pt x="612" y="374"/>
                  </a:cubicBezTo>
                  <a:cubicBezTo>
                    <a:pt x="611" y="380"/>
                    <a:pt x="609" y="387"/>
                    <a:pt x="602" y="387"/>
                  </a:cubicBezTo>
                  <a:cubicBezTo>
                    <a:pt x="585" y="387"/>
                    <a:pt x="584" y="398"/>
                    <a:pt x="583" y="411"/>
                  </a:cubicBezTo>
                  <a:cubicBezTo>
                    <a:pt x="583" y="421"/>
                    <a:pt x="581" y="431"/>
                    <a:pt x="580" y="441"/>
                  </a:cubicBezTo>
                  <a:cubicBezTo>
                    <a:pt x="580" y="448"/>
                    <a:pt x="577" y="455"/>
                    <a:pt x="569" y="455"/>
                  </a:cubicBezTo>
                  <a:cubicBezTo>
                    <a:pt x="555" y="456"/>
                    <a:pt x="552" y="464"/>
                    <a:pt x="551" y="476"/>
                  </a:cubicBezTo>
                  <a:cubicBezTo>
                    <a:pt x="551" y="485"/>
                    <a:pt x="549" y="493"/>
                    <a:pt x="548" y="502"/>
                  </a:cubicBezTo>
                  <a:cubicBezTo>
                    <a:pt x="547" y="511"/>
                    <a:pt x="544" y="516"/>
                    <a:pt x="535" y="516"/>
                  </a:cubicBezTo>
                  <a:cubicBezTo>
                    <a:pt x="523" y="517"/>
                    <a:pt x="516" y="521"/>
                    <a:pt x="516" y="534"/>
                  </a:cubicBezTo>
                  <a:cubicBezTo>
                    <a:pt x="516" y="544"/>
                    <a:pt x="510" y="548"/>
                    <a:pt x="500" y="548"/>
                  </a:cubicBezTo>
                  <a:cubicBezTo>
                    <a:pt x="491" y="549"/>
                    <a:pt x="482" y="552"/>
                    <a:pt x="473" y="552"/>
                  </a:cubicBezTo>
                  <a:cubicBezTo>
                    <a:pt x="462" y="553"/>
                    <a:pt x="456" y="556"/>
                    <a:pt x="456" y="568"/>
                  </a:cubicBezTo>
                  <a:cubicBezTo>
                    <a:pt x="456" y="581"/>
                    <a:pt x="448" y="584"/>
                    <a:pt x="436" y="584"/>
                  </a:cubicBezTo>
                  <a:cubicBezTo>
                    <a:pt x="428" y="584"/>
                    <a:pt x="420" y="584"/>
                    <a:pt x="412" y="584"/>
                  </a:cubicBezTo>
                  <a:cubicBezTo>
                    <a:pt x="399" y="584"/>
                    <a:pt x="387" y="585"/>
                    <a:pt x="387" y="603"/>
                  </a:cubicBezTo>
                  <a:cubicBezTo>
                    <a:pt x="388" y="615"/>
                    <a:pt x="378" y="615"/>
                    <a:pt x="370" y="615"/>
                  </a:cubicBezTo>
                  <a:cubicBezTo>
                    <a:pt x="349" y="615"/>
                    <a:pt x="327" y="615"/>
                    <a:pt x="306" y="6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08" name="Freeform 78">
              <a:extLst>
                <a:ext uri="{FF2B5EF4-FFF2-40B4-BE49-F238E27FC236}">
                  <a16:creationId xmlns:a16="http://schemas.microsoft.com/office/drawing/2014/main" id="{60A979AD-0BEE-2BF6-5710-A72158FC2B28}"/>
                </a:ext>
              </a:extLst>
            </p:cNvPr>
            <p:cNvSpPr>
              <a:spLocks/>
            </p:cNvSpPr>
            <p:nvPr/>
          </p:nvSpPr>
          <p:spPr bwMode="auto">
            <a:xfrm>
              <a:off x="9178925" y="5145088"/>
              <a:ext cx="128587" cy="130175"/>
            </a:xfrm>
            <a:custGeom>
              <a:avLst/>
              <a:gdLst>
                <a:gd name="T0" fmla="*/ 368 w 613"/>
                <a:gd name="T1" fmla="*/ 0 h 615"/>
                <a:gd name="T2" fmla="*/ 403 w 613"/>
                <a:gd name="T3" fmla="*/ 29 h 615"/>
                <a:gd name="T4" fmla="*/ 451 w 613"/>
                <a:gd name="T5" fmla="*/ 45 h 615"/>
                <a:gd name="T6" fmla="*/ 497 w 613"/>
                <a:gd name="T7" fmla="*/ 64 h 615"/>
                <a:gd name="T8" fmla="*/ 530 w 613"/>
                <a:gd name="T9" fmla="*/ 97 h 615"/>
                <a:gd name="T10" fmla="*/ 551 w 613"/>
                <a:gd name="T11" fmla="*/ 148 h 615"/>
                <a:gd name="T12" fmla="*/ 580 w 613"/>
                <a:gd name="T13" fmla="*/ 183 h 615"/>
                <a:gd name="T14" fmla="*/ 593 w 613"/>
                <a:gd name="T15" fmla="*/ 224 h 615"/>
                <a:gd name="T16" fmla="*/ 611 w 613"/>
                <a:gd name="T17" fmla="*/ 368 h 615"/>
                <a:gd name="T18" fmla="*/ 583 w 613"/>
                <a:gd name="T19" fmla="*/ 404 h 615"/>
                <a:gd name="T20" fmla="*/ 578 w 613"/>
                <a:gd name="T21" fmla="*/ 473 h 615"/>
                <a:gd name="T22" fmla="*/ 515 w 613"/>
                <a:gd name="T23" fmla="*/ 532 h 615"/>
                <a:gd name="T24" fmla="*/ 472 w 613"/>
                <a:gd name="T25" fmla="*/ 552 h 615"/>
                <a:gd name="T26" fmla="*/ 435 w 613"/>
                <a:gd name="T27" fmla="*/ 584 h 615"/>
                <a:gd name="T28" fmla="*/ 387 w 613"/>
                <a:gd name="T29" fmla="*/ 602 h 615"/>
                <a:gd name="T30" fmla="*/ 243 w 613"/>
                <a:gd name="T31" fmla="*/ 615 h 615"/>
                <a:gd name="T32" fmla="*/ 206 w 613"/>
                <a:gd name="T33" fmla="*/ 584 h 615"/>
                <a:gd name="T34" fmla="*/ 158 w 613"/>
                <a:gd name="T35" fmla="*/ 564 h 615"/>
                <a:gd name="T36" fmla="*/ 121 w 613"/>
                <a:gd name="T37" fmla="*/ 549 h 615"/>
                <a:gd name="T38" fmla="*/ 104 w 613"/>
                <a:gd name="T39" fmla="*/ 545 h 615"/>
                <a:gd name="T40" fmla="*/ 63 w 613"/>
                <a:gd name="T41" fmla="*/ 472 h 615"/>
                <a:gd name="T42" fmla="*/ 32 w 613"/>
                <a:gd name="T43" fmla="*/ 435 h 615"/>
                <a:gd name="T44" fmla="*/ 17 w 613"/>
                <a:gd name="T45" fmla="*/ 388 h 615"/>
                <a:gd name="T46" fmla="*/ 3 w 613"/>
                <a:gd name="T47" fmla="*/ 246 h 615"/>
                <a:gd name="T48" fmla="*/ 31 w 613"/>
                <a:gd name="T49" fmla="*/ 209 h 615"/>
                <a:gd name="T50" fmla="*/ 51 w 613"/>
                <a:gd name="T51" fmla="*/ 160 h 615"/>
                <a:gd name="T52" fmla="*/ 67 w 613"/>
                <a:gd name="T53" fmla="*/ 121 h 615"/>
                <a:gd name="T54" fmla="*/ 99 w 613"/>
                <a:gd name="T55" fmla="*/ 82 h 615"/>
                <a:gd name="T56" fmla="*/ 144 w 613"/>
                <a:gd name="T57" fmla="*/ 63 h 615"/>
                <a:gd name="T58" fmla="*/ 181 w 613"/>
                <a:gd name="T59" fmla="*/ 32 h 615"/>
                <a:gd name="T60" fmla="*/ 227 w 613"/>
                <a:gd name="T61" fmla="*/ 13 h 615"/>
                <a:gd name="T62" fmla="*/ 308 w 613"/>
                <a:gd name="T63"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3" h="615">
                  <a:moveTo>
                    <a:pt x="308" y="0"/>
                  </a:moveTo>
                  <a:cubicBezTo>
                    <a:pt x="328" y="0"/>
                    <a:pt x="348" y="0"/>
                    <a:pt x="368" y="0"/>
                  </a:cubicBezTo>
                  <a:cubicBezTo>
                    <a:pt x="378" y="0"/>
                    <a:pt x="386" y="2"/>
                    <a:pt x="387" y="15"/>
                  </a:cubicBezTo>
                  <a:cubicBezTo>
                    <a:pt x="387" y="25"/>
                    <a:pt x="393" y="28"/>
                    <a:pt x="403" y="29"/>
                  </a:cubicBezTo>
                  <a:cubicBezTo>
                    <a:pt x="414" y="29"/>
                    <a:pt x="425" y="31"/>
                    <a:pt x="436" y="32"/>
                  </a:cubicBezTo>
                  <a:cubicBezTo>
                    <a:pt x="445" y="33"/>
                    <a:pt x="451" y="35"/>
                    <a:pt x="451" y="45"/>
                  </a:cubicBezTo>
                  <a:cubicBezTo>
                    <a:pt x="452" y="57"/>
                    <a:pt x="459" y="60"/>
                    <a:pt x="470" y="60"/>
                  </a:cubicBezTo>
                  <a:cubicBezTo>
                    <a:pt x="479" y="61"/>
                    <a:pt x="488" y="64"/>
                    <a:pt x="497" y="64"/>
                  </a:cubicBezTo>
                  <a:cubicBezTo>
                    <a:pt x="508" y="65"/>
                    <a:pt x="515" y="69"/>
                    <a:pt x="515" y="81"/>
                  </a:cubicBezTo>
                  <a:cubicBezTo>
                    <a:pt x="514" y="91"/>
                    <a:pt x="520" y="97"/>
                    <a:pt x="530" y="97"/>
                  </a:cubicBezTo>
                  <a:cubicBezTo>
                    <a:pt x="543" y="96"/>
                    <a:pt x="546" y="103"/>
                    <a:pt x="547" y="114"/>
                  </a:cubicBezTo>
                  <a:cubicBezTo>
                    <a:pt x="547" y="125"/>
                    <a:pt x="550" y="136"/>
                    <a:pt x="551" y="148"/>
                  </a:cubicBezTo>
                  <a:cubicBezTo>
                    <a:pt x="552" y="153"/>
                    <a:pt x="555" y="159"/>
                    <a:pt x="561" y="159"/>
                  </a:cubicBezTo>
                  <a:cubicBezTo>
                    <a:pt x="578" y="159"/>
                    <a:pt x="580" y="170"/>
                    <a:pt x="580" y="183"/>
                  </a:cubicBezTo>
                  <a:cubicBezTo>
                    <a:pt x="580" y="192"/>
                    <a:pt x="582" y="201"/>
                    <a:pt x="583" y="211"/>
                  </a:cubicBezTo>
                  <a:cubicBezTo>
                    <a:pt x="584" y="217"/>
                    <a:pt x="586" y="223"/>
                    <a:pt x="593" y="224"/>
                  </a:cubicBezTo>
                  <a:cubicBezTo>
                    <a:pt x="610" y="224"/>
                    <a:pt x="610" y="235"/>
                    <a:pt x="611" y="248"/>
                  </a:cubicBezTo>
                  <a:cubicBezTo>
                    <a:pt x="613" y="288"/>
                    <a:pt x="613" y="328"/>
                    <a:pt x="611" y="368"/>
                  </a:cubicBezTo>
                  <a:cubicBezTo>
                    <a:pt x="610" y="379"/>
                    <a:pt x="609" y="388"/>
                    <a:pt x="595" y="388"/>
                  </a:cubicBezTo>
                  <a:cubicBezTo>
                    <a:pt x="586" y="389"/>
                    <a:pt x="584" y="396"/>
                    <a:pt x="583" y="404"/>
                  </a:cubicBezTo>
                  <a:cubicBezTo>
                    <a:pt x="582" y="423"/>
                    <a:pt x="580" y="442"/>
                    <a:pt x="578" y="461"/>
                  </a:cubicBezTo>
                  <a:cubicBezTo>
                    <a:pt x="578" y="465"/>
                    <a:pt x="579" y="472"/>
                    <a:pt x="578" y="473"/>
                  </a:cubicBezTo>
                  <a:cubicBezTo>
                    <a:pt x="555" y="480"/>
                    <a:pt x="551" y="507"/>
                    <a:pt x="531" y="516"/>
                  </a:cubicBezTo>
                  <a:cubicBezTo>
                    <a:pt x="522" y="519"/>
                    <a:pt x="515" y="521"/>
                    <a:pt x="515" y="532"/>
                  </a:cubicBezTo>
                  <a:cubicBezTo>
                    <a:pt x="515" y="544"/>
                    <a:pt x="508" y="548"/>
                    <a:pt x="497" y="549"/>
                  </a:cubicBezTo>
                  <a:cubicBezTo>
                    <a:pt x="489" y="549"/>
                    <a:pt x="480" y="552"/>
                    <a:pt x="472" y="552"/>
                  </a:cubicBezTo>
                  <a:cubicBezTo>
                    <a:pt x="461" y="553"/>
                    <a:pt x="455" y="557"/>
                    <a:pt x="455" y="568"/>
                  </a:cubicBezTo>
                  <a:cubicBezTo>
                    <a:pt x="455" y="581"/>
                    <a:pt x="447" y="584"/>
                    <a:pt x="435" y="584"/>
                  </a:cubicBezTo>
                  <a:cubicBezTo>
                    <a:pt x="426" y="584"/>
                    <a:pt x="417" y="585"/>
                    <a:pt x="407" y="584"/>
                  </a:cubicBezTo>
                  <a:cubicBezTo>
                    <a:pt x="395" y="584"/>
                    <a:pt x="387" y="587"/>
                    <a:pt x="387" y="602"/>
                  </a:cubicBezTo>
                  <a:cubicBezTo>
                    <a:pt x="387" y="612"/>
                    <a:pt x="380" y="615"/>
                    <a:pt x="371" y="615"/>
                  </a:cubicBezTo>
                  <a:cubicBezTo>
                    <a:pt x="328" y="615"/>
                    <a:pt x="286" y="615"/>
                    <a:pt x="243" y="615"/>
                  </a:cubicBezTo>
                  <a:cubicBezTo>
                    <a:pt x="234" y="615"/>
                    <a:pt x="227" y="612"/>
                    <a:pt x="227" y="602"/>
                  </a:cubicBezTo>
                  <a:cubicBezTo>
                    <a:pt x="227" y="587"/>
                    <a:pt x="219" y="584"/>
                    <a:pt x="206" y="584"/>
                  </a:cubicBezTo>
                  <a:cubicBezTo>
                    <a:pt x="199" y="585"/>
                    <a:pt x="192" y="583"/>
                    <a:pt x="184" y="584"/>
                  </a:cubicBezTo>
                  <a:cubicBezTo>
                    <a:pt x="170" y="585"/>
                    <a:pt x="158" y="583"/>
                    <a:pt x="158" y="564"/>
                  </a:cubicBezTo>
                  <a:cubicBezTo>
                    <a:pt x="158" y="557"/>
                    <a:pt x="153" y="553"/>
                    <a:pt x="146" y="553"/>
                  </a:cubicBezTo>
                  <a:cubicBezTo>
                    <a:pt x="138" y="552"/>
                    <a:pt x="129" y="550"/>
                    <a:pt x="121" y="549"/>
                  </a:cubicBezTo>
                  <a:cubicBezTo>
                    <a:pt x="120" y="549"/>
                    <a:pt x="119" y="549"/>
                    <a:pt x="119" y="549"/>
                  </a:cubicBezTo>
                  <a:cubicBezTo>
                    <a:pt x="114" y="547"/>
                    <a:pt x="104" y="545"/>
                    <a:pt x="104" y="545"/>
                  </a:cubicBezTo>
                  <a:cubicBezTo>
                    <a:pt x="109" y="515"/>
                    <a:pt x="65" y="523"/>
                    <a:pt x="66" y="496"/>
                  </a:cubicBezTo>
                  <a:cubicBezTo>
                    <a:pt x="66" y="488"/>
                    <a:pt x="63" y="480"/>
                    <a:pt x="63" y="472"/>
                  </a:cubicBezTo>
                  <a:cubicBezTo>
                    <a:pt x="63" y="462"/>
                    <a:pt x="59" y="456"/>
                    <a:pt x="48" y="456"/>
                  </a:cubicBezTo>
                  <a:cubicBezTo>
                    <a:pt x="34" y="455"/>
                    <a:pt x="32" y="447"/>
                    <a:pt x="32" y="435"/>
                  </a:cubicBezTo>
                  <a:cubicBezTo>
                    <a:pt x="32" y="425"/>
                    <a:pt x="31" y="415"/>
                    <a:pt x="31" y="405"/>
                  </a:cubicBezTo>
                  <a:cubicBezTo>
                    <a:pt x="31" y="396"/>
                    <a:pt x="28" y="388"/>
                    <a:pt x="17" y="388"/>
                  </a:cubicBezTo>
                  <a:cubicBezTo>
                    <a:pt x="5" y="387"/>
                    <a:pt x="3" y="380"/>
                    <a:pt x="3" y="370"/>
                  </a:cubicBezTo>
                  <a:cubicBezTo>
                    <a:pt x="1" y="329"/>
                    <a:pt x="0" y="288"/>
                    <a:pt x="3" y="246"/>
                  </a:cubicBezTo>
                  <a:cubicBezTo>
                    <a:pt x="4" y="237"/>
                    <a:pt x="5" y="229"/>
                    <a:pt x="17" y="228"/>
                  </a:cubicBezTo>
                  <a:cubicBezTo>
                    <a:pt x="29" y="227"/>
                    <a:pt x="31" y="219"/>
                    <a:pt x="31" y="209"/>
                  </a:cubicBezTo>
                  <a:cubicBezTo>
                    <a:pt x="31" y="200"/>
                    <a:pt x="32" y="191"/>
                    <a:pt x="32" y="183"/>
                  </a:cubicBezTo>
                  <a:cubicBezTo>
                    <a:pt x="31" y="169"/>
                    <a:pt x="34" y="159"/>
                    <a:pt x="51" y="160"/>
                  </a:cubicBezTo>
                  <a:cubicBezTo>
                    <a:pt x="59" y="160"/>
                    <a:pt x="62" y="155"/>
                    <a:pt x="63" y="147"/>
                  </a:cubicBezTo>
                  <a:cubicBezTo>
                    <a:pt x="64" y="138"/>
                    <a:pt x="67" y="130"/>
                    <a:pt x="67" y="121"/>
                  </a:cubicBezTo>
                  <a:cubicBezTo>
                    <a:pt x="67" y="106"/>
                    <a:pt x="70" y="95"/>
                    <a:pt x="89" y="96"/>
                  </a:cubicBezTo>
                  <a:cubicBezTo>
                    <a:pt x="97" y="96"/>
                    <a:pt x="99" y="89"/>
                    <a:pt x="99" y="82"/>
                  </a:cubicBezTo>
                  <a:cubicBezTo>
                    <a:pt x="99" y="69"/>
                    <a:pt x="106" y="64"/>
                    <a:pt x="118" y="65"/>
                  </a:cubicBezTo>
                  <a:cubicBezTo>
                    <a:pt x="127" y="65"/>
                    <a:pt x="135" y="64"/>
                    <a:pt x="144" y="63"/>
                  </a:cubicBezTo>
                  <a:cubicBezTo>
                    <a:pt x="155" y="63"/>
                    <a:pt x="162" y="60"/>
                    <a:pt x="163" y="48"/>
                  </a:cubicBezTo>
                  <a:cubicBezTo>
                    <a:pt x="163" y="35"/>
                    <a:pt x="170" y="32"/>
                    <a:pt x="181" y="32"/>
                  </a:cubicBezTo>
                  <a:cubicBezTo>
                    <a:pt x="190" y="32"/>
                    <a:pt x="199" y="29"/>
                    <a:pt x="209" y="29"/>
                  </a:cubicBezTo>
                  <a:cubicBezTo>
                    <a:pt x="219" y="28"/>
                    <a:pt x="227" y="26"/>
                    <a:pt x="227" y="13"/>
                  </a:cubicBezTo>
                  <a:cubicBezTo>
                    <a:pt x="228" y="1"/>
                    <a:pt x="236" y="0"/>
                    <a:pt x="246" y="0"/>
                  </a:cubicBezTo>
                  <a:cubicBezTo>
                    <a:pt x="266" y="0"/>
                    <a:pt x="287" y="0"/>
                    <a:pt x="308" y="0"/>
                  </a:cubicBezTo>
                  <a:cubicBezTo>
                    <a:pt x="308" y="0"/>
                    <a:pt x="308" y="0"/>
                    <a:pt x="3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09" name="Freeform 79">
              <a:extLst>
                <a:ext uri="{FF2B5EF4-FFF2-40B4-BE49-F238E27FC236}">
                  <a16:creationId xmlns:a16="http://schemas.microsoft.com/office/drawing/2014/main" id="{2D38D295-9D70-F196-50BD-B2A04183199C}"/>
                </a:ext>
              </a:extLst>
            </p:cNvPr>
            <p:cNvSpPr>
              <a:spLocks/>
            </p:cNvSpPr>
            <p:nvPr/>
          </p:nvSpPr>
          <p:spPr bwMode="auto">
            <a:xfrm>
              <a:off x="9259888" y="5275263"/>
              <a:ext cx="128587" cy="123825"/>
            </a:xfrm>
            <a:custGeom>
              <a:avLst/>
              <a:gdLst>
                <a:gd name="T0" fmla="*/ 317 w 611"/>
                <a:gd name="T1" fmla="*/ 0 h 588"/>
                <a:gd name="T2" fmla="*/ 429 w 611"/>
                <a:gd name="T3" fmla="*/ 0 h 588"/>
                <a:gd name="T4" fmla="*/ 451 w 611"/>
                <a:gd name="T5" fmla="*/ 18 h 588"/>
                <a:gd name="T6" fmla="*/ 466 w 611"/>
                <a:gd name="T7" fmla="*/ 32 h 588"/>
                <a:gd name="T8" fmla="*/ 479 w 611"/>
                <a:gd name="T9" fmla="*/ 35 h 588"/>
                <a:gd name="T10" fmla="*/ 515 w 611"/>
                <a:gd name="T11" fmla="*/ 68 h 588"/>
                <a:gd name="T12" fmla="*/ 519 w 611"/>
                <a:gd name="T13" fmla="*/ 81 h 588"/>
                <a:gd name="T14" fmla="*/ 529 w 611"/>
                <a:gd name="T15" fmla="*/ 94 h 588"/>
                <a:gd name="T16" fmla="*/ 548 w 611"/>
                <a:gd name="T17" fmla="*/ 116 h 588"/>
                <a:gd name="T18" fmla="*/ 563 w 611"/>
                <a:gd name="T19" fmla="*/ 131 h 588"/>
                <a:gd name="T20" fmla="*/ 579 w 611"/>
                <a:gd name="T21" fmla="*/ 149 h 588"/>
                <a:gd name="T22" fmla="*/ 582 w 611"/>
                <a:gd name="T23" fmla="*/ 179 h 588"/>
                <a:gd name="T24" fmla="*/ 597 w 611"/>
                <a:gd name="T25" fmla="*/ 195 h 588"/>
                <a:gd name="T26" fmla="*/ 611 w 611"/>
                <a:gd name="T27" fmla="*/ 213 h 588"/>
                <a:gd name="T28" fmla="*/ 611 w 611"/>
                <a:gd name="T29" fmla="*/ 373 h 588"/>
                <a:gd name="T30" fmla="*/ 597 w 611"/>
                <a:gd name="T31" fmla="*/ 390 h 588"/>
                <a:gd name="T32" fmla="*/ 580 w 611"/>
                <a:gd name="T33" fmla="*/ 409 h 588"/>
                <a:gd name="T34" fmla="*/ 579 w 611"/>
                <a:gd name="T35" fmla="*/ 433 h 588"/>
                <a:gd name="T36" fmla="*/ 561 w 611"/>
                <a:gd name="T37" fmla="*/ 455 h 588"/>
                <a:gd name="T38" fmla="*/ 557 w 611"/>
                <a:gd name="T39" fmla="*/ 455 h 588"/>
                <a:gd name="T40" fmla="*/ 516 w 611"/>
                <a:gd name="T41" fmla="*/ 503 h 588"/>
                <a:gd name="T42" fmla="*/ 498 w 611"/>
                <a:gd name="T43" fmla="*/ 520 h 588"/>
                <a:gd name="T44" fmla="*/ 483 w 611"/>
                <a:gd name="T45" fmla="*/ 535 h 588"/>
                <a:gd name="T46" fmla="*/ 466 w 611"/>
                <a:gd name="T47" fmla="*/ 551 h 588"/>
                <a:gd name="T48" fmla="*/ 436 w 611"/>
                <a:gd name="T49" fmla="*/ 555 h 588"/>
                <a:gd name="T50" fmla="*/ 419 w 611"/>
                <a:gd name="T51" fmla="*/ 570 h 588"/>
                <a:gd name="T52" fmla="*/ 403 w 611"/>
                <a:gd name="T53" fmla="*/ 583 h 588"/>
                <a:gd name="T54" fmla="*/ 211 w 611"/>
                <a:gd name="T55" fmla="*/ 583 h 588"/>
                <a:gd name="T56" fmla="*/ 195 w 611"/>
                <a:gd name="T57" fmla="*/ 568 h 588"/>
                <a:gd name="T58" fmla="*/ 178 w 611"/>
                <a:gd name="T59" fmla="*/ 554 h 588"/>
                <a:gd name="T60" fmla="*/ 151 w 611"/>
                <a:gd name="T61" fmla="*/ 551 h 588"/>
                <a:gd name="T62" fmla="*/ 129 w 611"/>
                <a:gd name="T63" fmla="*/ 534 h 588"/>
                <a:gd name="T64" fmla="*/ 85 w 611"/>
                <a:gd name="T65" fmla="*/ 490 h 588"/>
                <a:gd name="T66" fmla="*/ 64 w 611"/>
                <a:gd name="T67" fmla="*/ 460 h 588"/>
                <a:gd name="T68" fmla="*/ 62 w 611"/>
                <a:gd name="T69" fmla="*/ 436 h 588"/>
                <a:gd name="T70" fmla="*/ 51 w 611"/>
                <a:gd name="T71" fmla="*/ 424 h 588"/>
                <a:gd name="T72" fmla="*/ 31 w 611"/>
                <a:gd name="T73" fmla="*/ 400 h 588"/>
                <a:gd name="T74" fmla="*/ 31 w 611"/>
                <a:gd name="T75" fmla="*/ 376 h 588"/>
                <a:gd name="T76" fmla="*/ 16 w 611"/>
                <a:gd name="T77" fmla="*/ 359 h 588"/>
                <a:gd name="T78" fmla="*/ 0 w 611"/>
                <a:gd name="T79" fmla="*/ 341 h 588"/>
                <a:gd name="T80" fmla="*/ 0 w 611"/>
                <a:gd name="T81" fmla="*/ 245 h 588"/>
                <a:gd name="T82" fmla="*/ 16 w 611"/>
                <a:gd name="T83" fmla="*/ 227 h 588"/>
                <a:gd name="T84" fmla="*/ 31 w 611"/>
                <a:gd name="T85" fmla="*/ 210 h 588"/>
                <a:gd name="T86" fmla="*/ 35 w 611"/>
                <a:gd name="T87" fmla="*/ 152 h 588"/>
                <a:gd name="T88" fmla="*/ 35 w 611"/>
                <a:gd name="T89" fmla="*/ 148 h 588"/>
                <a:gd name="T90" fmla="*/ 62 w 611"/>
                <a:gd name="T91" fmla="*/ 123 h 588"/>
                <a:gd name="T92" fmla="*/ 82 w 611"/>
                <a:gd name="T93" fmla="*/ 95 h 588"/>
                <a:gd name="T94" fmla="*/ 95 w 611"/>
                <a:gd name="T95" fmla="*/ 83 h 588"/>
                <a:gd name="T96" fmla="*/ 96 w 611"/>
                <a:gd name="T97" fmla="*/ 77 h 588"/>
                <a:gd name="T98" fmla="*/ 147 w 611"/>
                <a:gd name="T99" fmla="*/ 32 h 588"/>
                <a:gd name="T100" fmla="*/ 163 w 611"/>
                <a:gd name="T101" fmla="*/ 21 h 588"/>
                <a:gd name="T102" fmla="*/ 185 w 611"/>
                <a:gd name="T103" fmla="*/ 2 h 588"/>
                <a:gd name="T104" fmla="*/ 201 w 611"/>
                <a:gd name="T105" fmla="*/ 0 h 588"/>
                <a:gd name="T106" fmla="*/ 317 w 611"/>
                <a:gd name="T107"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588">
                  <a:moveTo>
                    <a:pt x="317" y="0"/>
                  </a:moveTo>
                  <a:cubicBezTo>
                    <a:pt x="354" y="0"/>
                    <a:pt x="391" y="0"/>
                    <a:pt x="429" y="0"/>
                  </a:cubicBezTo>
                  <a:cubicBezTo>
                    <a:pt x="441" y="0"/>
                    <a:pt x="452" y="1"/>
                    <a:pt x="451" y="18"/>
                  </a:cubicBezTo>
                  <a:cubicBezTo>
                    <a:pt x="450" y="28"/>
                    <a:pt x="457" y="31"/>
                    <a:pt x="466" y="32"/>
                  </a:cubicBezTo>
                  <a:cubicBezTo>
                    <a:pt x="471" y="32"/>
                    <a:pt x="479" y="34"/>
                    <a:pt x="479" y="35"/>
                  </a:cubicBezTo>
                  <a:cubicBezTo>
                    <a:pt x="480" y="58"/>
                    <a:pt x="496" y="64"/>
                    <a:pt x="515" y="68"/>
                  </a:cubicBezTo>
                  <a:cubicBezTo>
                    <a:pt x="517" y="69"/>
                    <a:pt x="518" y="76"/>
                    <a:pt x="519" y="81"/>
                  </a:cubicBezTo>
                  <a:cubicBezTo>
                    <a:pt x="520" y="87"/>
                    <a:pt x="521" y="94"/>
                    <a:pt x="529" y="94"/>
                  </a:cubicBezTo>
                  <a:cubicBezTo>
                    <a:pt x="543" y="95"/>
                    <a:pt x="548" y="102"/>
                    <a:pt x="548" y="116"/>
                  </a:cubicBezTo>
                  <a:cubicBezTo>
                    <a:pt x="548" y="126"/>
                    <a:pt x="554" y="131"/>
                    <a:pt x="563" y="131"/>
                  </a:cubicBezTo>
                  <a:cubicBezTo>
                    <a:pt x="575" y="131"/>
                    <a:pt x="579" y="138"/>
                    <a:pt x="579" y="149"/>
                  </a:cubicBezTo>
                  <a:cubicBezTo>
                    <a:pt x="579" y="159"/>
                    <a:pt x="582" y="169"/>
                    <a:pt x="582" y="179"/>
                  </a:cubicBezTo>
                  <a:cubicBezTo>
                    <a:pt x="583" y="189"/>
                    <a:pt x="586" y="195"/>
                    <a:pt x="597" y="195"/>
                  </a:cubicBezTo>
                  <a:cubicBezTo>
                    <a:pt x="609" y="195"/>
                    <a:pt x="611" y="203"/>
                    <a:pt x="611" y="213"/>
                  </a:cubicBezTo>
                  <a:cubicBezTo>
                    <a:pt x="611" y="266"/>
                    <a:pt x="611" y="320"/>
                    <a:pt x="611" y="373"/>
                  </a:cubicBezTo>
                  <a:cubicBezTo>
                    <a:pt x="611" y="383"/>
                    <a:pt x="608" y="390"/>
                    <a:pt x="597" y="390"/>
                  </a:cubicBezTo>
                  <a:cubicBezTo>
                    <a:pt x="583" y="390"/>
                    <a:pt x="579" y="397"/>
                    <a:pt x="580" y="409"/>
                  </a:cubicBezTo>
                  <a:cubicBezTo>
                    <a:pt x="580" y="417"/>
                    <a:pt x="579" y="425"/>
                    <a:pt x="579" y="433"/>
                  </a:cubicBezTo>
                  <a:cubicBezTo>
                    <a:pt x="579" y="446"/>
                    <a:pt x="577" y="456"/>
                    <a:pt x="561" y="455"/>
                  </a:cubicBezTo>
                  <a:cubicBezTo>
                    <a:pt x="559" y="455"/>
                    <a:pt x="557" y="455"/>
                    <a:pt x="557" y="455"/>
                  </a:cubicBezTo>
                  <a:cubicBezTo>
                    <a:pt x="552" y="479"/>
                    <a:pt x="524" y="484"/>
                    <a:pt x="516" y="503"/>
                  </a:cubicBezTo>
                  <a:cubicBezTo>
                    <a:pt x="512" y="514"/>
                    <a:pt x="509" y="519"/>
                    <a:pt x="498" y="520"/>
                  </a:cubicBezTo>
                  <a:cubicBezTo>
                    <a:pt x="488" y="520"/>
                    <a:pt x="483" y="525"/>
                    <a:pt x="483" y="535"/>
                  </a:cubicBezTo>
                  <a:cubicBezTo>
                    <a:pt x="483" y="547"/>
                    <a:pt x="477" y="551"/>
                    <a:pt x="466" y="551"/>
                  </a:cubicBezTo>
                  <a:cubicBezTo>
                    <a:pt x="456" y="552"/>
                    <a:pt x="446" y="554"/>
                    <a:pt x="436" y="555"/>
                  </a:cubicBezTo>
                  <a:cubicBezTo>
                    <a:pt x="426" y="555"/>
                    <a:pt x="419" y="559"/>
                    <a:pt x="419" y="570"/>
                  </a:cubicBezTo>
                  <a:cubicBezTo>
                    <a:pt x="419" y="580"/>
                    <a:pt x="412" y="583"/>
                    <a:pt x="403" y="583"/>
                  </a:cubicBezTo>
                  <a:cubicBezTo>
                    <a:pt x="339" y="588"/>
                    <a:pt x="275" y="588"/>
                    <a:pt x="211" y="583"/>
                  </a:cubicBezTo>
                  <a:cubicBezTo>
                    <a:pt x="201" y="582"/>
                    <a:pt x="195" y="579"/>
                    <a:pt x="195" y="568"/>
                  </a:cubicBezTo>
                  <a:cubicBezTo>
                    <a:pt x="194" y="558"/>
                    <a:pt x="188" y="555"/>
                    <a:pt x="178" y="554"/>
                  </a:cubicBezTo>
                  <a:cubicBezTo>
                    <a:pt x="169" y="554"/>
                    <a:pt x="160" y="551"/>
                    <a:pt x="151" y="551"/>
                  </a:cubicBezTo>
                  <a:cubicBezTo>
                    <a:pt x="138" y="551"/>
                    <a:pt x="136" y="543"/>
                    <a:pt x="129" y="534"/>
                  </a:cubicBezTo>
                  <a:cubicBezTo>
                    <a:pt x="118" y="517"/>
                    <a:pt x="101" y="499"/>
                    <a:pt x="85" y="490"/>
                  </a:cubicBezTo>
                  <a:cubicBezTo>
                    <a:pt x="69" y="481"/>
                    <a:pt x="63" y="476"/>
                    <a:pt x="64" y="460"/>
                  </a:cubicBezTo>
                  <a:cubicBezTo>
                    <a:pt x="64" y="452"/>
                    <a:pt x="63" y="444"/>
                    <a:pt x="62" y="436"/>
                  </a:cubicBezTo>
                  <a:cubicBezTo>
                    <a:pt x="62" y="429"/>
                    <a:pt x="58" y="424"/>
                    <a:pt x="51" y="424"/>
                  </a:cubicBezTo>
                  <a:cubicBezTo>
                    <a:pt x="33" y="425"/>
                    <a:pt x="31" y="414"/>
                    <a:pt x="31" y="400"/>
                  </a:cubicBezTo>
                  <a:cubicBezTo>
                    <a:pt x="32" y="392"/>
                    <a:pt x="31" y="384"/>
                    <a:pt x="31" y="376"/>
                  </a:cubicBezTo>
                  <a:cubicBezTo>
                    <a:pt x="31" y="365"/>
                    <a:pt x="27" y="359"/>
                    <a:pt x="16" y="359"/>
                  </a:cubicBezTo>
                  <a:cubicBezTo>
                    <a:pt x="3" y="359"/>
                    <a:pt x="0" y="352"/>
                    <a:pt x="0" y="341"/>
                  </a:cubicBezTo>
                  <a:cubicBezTo>
                    <a:pt x="0" y="309"/>
                    <a:pt x="0" y="277"/>
                    <a:pt x="0" y="245"/>
                  </a:cubicBezTo>
                  <a:cubicBezTo>
                    <a:pt x="0" y="234"/>
                    <a:pt x="3" y="227"/>
                    <a:pt x="16" y="227"/>
                  </a:cubicBezTo>
                  <a:cubicBezTo>
                    <a:pt x="27" y="227"/>
                    <a:pt x="30" y="220"/>
                    <a:pt x="31" y="210"/>
                  </a:cubicBezTo>
                  <a:cubicBezTo>
                    <a:pt x="31" y="191"/>
                    <a:pt x="33" y="171"/>
                    <a:pt x="35" y="152"/>
                  </a:cubicBezTo>
                  <a:cubicBezTo>
                    <a:pt x="35" y="151"/>
                    <a:pt x="35" y="150"/>
                    <a:pt x="35" y="148"/>
                  </a:cubicBezTo>
                  <a:cubicBezTo>
                    <a:pt x="32" y="126"/>
                    <a:pt x="58" y="137"/>
                    <a:pt x="62" y="123"/>
                  </a:cubicBezTo>
                  <a:cubicBezTo>
                    <a:pt x="66" y="112"/>
                    <a:pt x="61" y="95"/>
                    <a:pt x="82" y="95"/>
                  </a:cubicBezTo>
                  <a:cubicBezTo>
                    <a:pt x="89" y="95"/>
                    <a:pt x="94" y="91"/>
                    <a:pt x="95" y="83"/>
                  </a:cubicBezTo>
                  <a:cubicBezTo>
                    <a:pt x="95" y="81"/>
                    <a:pt x="95" y="78"/>
                    <a:pt x="96" y="77"/>
                  </a:cubicBezTo>
                  <a:cubicBezTo>
                    <a:pt x="116" y="66"/>
                    <a:pt x="125" y="41"/>
                    <a:pt x="147" y="32"/>
                  </a:cubicBezTo>
                  <a:cubicBezTo>
                    <a:pt x="153" y="30"/>
                    <a:pt x="162" y="31"/>
                    <a:pt x="163" y="21"/>
                  </a:cubicBezTo>
                  <a:cubicBezTo>
                    <a:pt x="163" y="6"/>
                    <a:pt x="172" y="2"/>
                    <a:pt x="185" y="2"/>
                  </a:cubicBezTo>
                  <a:cubicBezTo>
                    <a:pt x="190" y="2"/>
                    <a:pt x="196" y="0"/>
                    <a:pt x="201" y="0"/>
                  </a:cubicBezTo>
                  <a:cubicBezTo>
                    <a:pt x="240" y="0"/>
                    <a:pt x="278" y="0"/>
                    <a:pt x="3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0" name="Freeform 80">
              <a:extLst>
                <a:ext uri="{FF2B5EF4-FFF2-40B4-BE49-F238E27FC236}">
                  <a16:creationId xmlns:a16="http://schemas.microsoft.com/office/drawing/2014/main" id="{F28EAAAD-78DF-DC08-4305-A50A5968107A}"/>
                </a:ext>
              </a:extLst>
            </p:cNvPr>
            <p:cNvSpPr>
              <a:spLocks/>
            </p:cNvSpPr>
            <p:nvPr/>
          </p:nvSpPr>
          <p:spPr bwMode="auto">
            <a:xfrm>
              <a:off x="9355138" y="5399088"/>
              <a:ext cx="123825" cy="128588"/>
            </a:xfrm>
            <a:custGeom>
              <a:avLst/>
              <a:gdLst>
                <a:gd name="T0" fmla="*/ 1 w 587"/>
                <a:gd name="T1" fmla="*/ 309 h 615"/>
                <a:gd name="T2" fmla="*/ 6 w 587"/>
                <a:gd name="T3" fmla="*/ 184 h 615"/>
                <a:gd name="T4" fmla="*/ 23 w 587"/>
                <a:gd name="T5" fmla="*/ 164 h 615"/>
                <a:gd name="T6" fmla="*/ 37 w 587"/>
                <a:gd name="T7" fmla="*/ 147 h 615"/>
                <a:gd name="T8" fmla="*/ 53 w 587"/>
                <a:gd name="T9" fmla="*/ 129 h 615"/>
                <a:gd name="T10" fmla="*/ 70 w 587"/>
                <a:gd name="T11" fmla="*/ 111 h 615"/>
                <a:gd name="T12" fmla="*/ 85 w 587"/>
                <a:gd name="T13" fmla="*/ 97 h 615"/>
                <a:gd name="T14" fmla="*/ 88 w 587"/>
                <a:gd name="T15" fmla="*/ 96 h 615"/>
                <a:gd name="T16" fmla="*/ 133 w 587"/>
                <a:gd name="T17" fmla="*/ 49 h 615"/>
                <a:gd name="T18" fmla="*/ 153 w 587"/>
                <a:gd name="T19" fmla="*/ 33 h 615"/>
                <a:gd name="T20" fmla="*/ 211 w 587"/>
                <a:gd name="T21" fmla="*/ 32 h 615"/>
                <a:gd name="T22" fmla="*/ 230 w 587"/>
                <a:gd name="T23" fmla="*/ 17 h 615"/>
                <a:gd name="T24" fmla="*/ 250 w 587"/>
                <a:gd name="T25" fmla="*/ 0 h 615"/>
                <a:gd name="T26" fmla="*/ 338 w 587"/>
                <a:gd name="T27" fmla="*/ 0 h 615"/>
                <a:gd name="T28" fmla="*/ 358 w 587"/>
                <a:gd name="T29" fmla="*/ 18 h 615"/>
                <a:gd name="T30" fmla="*/ 373 w 587"/>
                <a:gd name="T31" fmla="*/ 32 h 615"/>
                <a:gd name="T32" fmla="*/ 405 w 587"/>
                <a:gd name="T33" fmla="*/ 32 h 615"/>
                <a:gd name="T34" fmla="*/ 431 w 587"/>
                <a:gd name="T35" fmla="*/ 52 h 615"/>
                <a:gd name="T36" fmla="*/ 444 w 587"/>
                <a:gd name="T37" fmla="*/ 63 h 615"/>
                <a:gd name="T38" fmla="*/ 468 w 587"/>
                <a:gd name="T39" fmla="*/ 65 h 615"/>
                <a:gd name="T40" fmla="*/ 486 w 587"/>
                <a:gd name="T41" fmla="*/ 80 h 615"/>
                <a:gd name="T42" fmla="*/ 501 w 587"/>
                <a:gd name="T43" fmla="*/ 97 h 615"/>
                <a:gd name="T44" fmla="*/ 518 w 587"/>
                <a:gd name="T45" fmla="*/ 114 h 615"/>
                <a:gd name="T46" fmla="*/ 534 w 587"/>
                <a:gd name="T47" fmla="*/ 132 h 615"/>
                <a:gd name="T48" fmla="*/ 550 w 587"/>
                <a:gd name="T49" fmla="*/ 150 h 615"/>
                <a:gd name="T50" fmla="*/ 554 w 587"/>
                <a:gd name="T51" fmla="*/ 179 h 615"/>
                <a:gd name="T52" fmla="*/ 567 w 587"/>
                <a:gd name="T53" fmla="*/ 196 h 615"/>
                <a:gd name="T54" fmla="*/ 582 w 587"/>
                <a:gd name="T55" fmla="*/ 215 h 615"/>
                <a:gd name="T56" fmla="*/ 582 w 587"/>
                <a:gd name="T57" fmla="*/ 404 h 615"/>
                <a:gd name="T58" fmla="*/ 574 w 587"/>
                <a:gd name="T59" fmla="*/ 422 h 615"/>
                <a:gd name="T60" fmla="*/ 553 w 587"/>
                <a:gd name="T61" fmla="*/ 450 h 615"/>
                <a:gd name="T62" fmla="*/ 549 w 587"/>
                <a:gd name="T63" fmla="*/ 477 h 615"/>
                <a:gd name="T64" fmla="*/ 512 w 587"/>
                <a:gd name="T65" fmla="*/ 517 h 615"/>
                <a:gd name="T66" fmla="*/ 488 w 587"/>
                <a:gd name="T67" fmla="*/ 544 h 615"/>
                <a:gd name="T68" fmla="*/ 472 w 587"/>
                <a:gd name="T69" fmla="*/ 552 h 615"/>
                <a:gd name="T70" fmla="*/ 454 w 587"/>
                <a:gd name="T71" fmla="*/ 568 h 615"/>
                <a:gd name="T72" fmla="*/ 436 w 587"/>
                <a:gd name="T73" fmla="*/ 584 h 615"/>
                <a:gd name="T74" fmla="*/ 410 w 587"/>
                <a:gd name="T75" fmla="*/ 584 h 615"/>
                <a:gd name="T76" fmla="*/ 389 w 587"/>
                <a:gd name="T77" fmla="*/ 602 h 615"/>
                <a:gd name="T78" fmla="*/ 374 w 587"/>
                <a:gd name="T79" fmla="*/ 615 h 615"/>
                <a:gd name="T80" fmla="*/ 214 w 587"/>
                <a:gd name="T81" fmla="*/ 615 h 615"/>
                <a:gd name="T82" fmla="*/ 198 w 587"/>
                <a:gd name="T83" fmla="*/ 602 h 615"/>
                <a:gd name="T84" fmla="*/ 177 w 587"/>
                <a:gd name="T85" fmla="*/ 585 h 615"/>
                <a:gd name="T86" fmla="*/ 151 w 587"/>
                <a:gd name="T87" fmla="*/ 584 h 615"/>
                <a:gd name="T88" fmla="*/ 130 w 587"/>
                <a:gd name="T89" fmla="*/ 566 h 615"/>
                <a:gd name="T90" fmla="*/ 115 w 587"/>
                <a:gd name="T91" fmla="*/ 552 h 615"/>
                <a:gd name="T92" fmla="*/ 98 w 587"/>
                <a:gd name="T93" fmla="*/ 535 h 615"/>
                <a:gd name="T94" fmla="*/ 83 w 587"/>
                <a:gd name="T95" fmla="*/ 521 h 615"/>
                <a:gd name="T96" fmla="*/ 61 w 587"/>
                <a:gd name="T97" fmla="*/ 491 h 615"/>
                <a:gd name="T98" fmla="*/ 34 w 587"/>
                <a:gd name="T99" fmla="*/ 470 h 615"/>
                <a:gd name="T100" fmla="*/ 24 w 587"/>
                <a:gd name="T101" fmla="*/ 455 h 615"/>
                <a:gd name="T102" fmla="*/ 5 w 587"/>
                <a:gd name="T103" fmla="*/ 431 h 615"/>
                <a:gd name="T104" fmla="*/ 1 w 587"/>
                <a:gd name="T105" fmla="*/ 30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7" h="615">
                  <a:moveTo>
                    <a:pt x="1" y="309"/>
                  </a:moveTo>
                  <a:cubicBezTo>
                    <a:pt x="4" y="268"/>
                    <a:pt x="0" y="226"/>
                    <a:pt x="6" y="184"/>
                  </a:cubicBezTo>
                  <a:cubicBezTo>
                    <a:pt x="7" y="173"/>
                    <a:pt x="9" y="164"/>
                    <a:pt x="23" y="164"/>
                  </a:cubicBezTo>
                  <a:cubicBezTo>
                    <a:pt x="34" y="164"/>
                    <a:pt x="37" y="157"/>
                    <a:pt x="37" y="147"/>
                  </a:cubicBezTo>
                  <a:cubicBezTo>
                    <a:pt x="37" y="136"/>
                    <a:pt x="41" y="128"/>
                    <a:pt x="53" y="129"/>
                  </a:cubicBezTo>
                  <a:cubicBezTo>
                    <a:pt x="66" y="129"/>
                    <a:pt x="70" y="122"/>
                    <a:pt x="70" y="111"/>
                  </a:cubicBezTo>
                  <a:cubicBezTo>
                    <a:pt x="70" y="101"/>
                    <a:pt x="75" y="97"/>
                    <a:pt x="85" y="97"/>
                  </a:cubicBezTo>
                  <a:cubicBezTo>
                    <a:pt x="86" y="97"/>
                    <a:pt x="88" y="97"/>
                    <a:pt x="88" y="96"/>
                  </a:cubicBezTo>
                  <a:cubicBezTo>
                    <a:pt x="100" y="77"/>
                    <a:pt x="122" y="67"/>
                    <a:pt x="133" y="49"/>
                  </a:cubicBezTo>
                  <a:cubicBezTo>
                    <a:pt x="139" y="39"/>
                    <a:pt x="142" y="33"/>
                    <a:pt x="153" y="33"/>
                  </a:cubicBezTo>
                  <a:cubicBezTo>
                    <a:pt x="173" y="33"/>
                    <a:pt x="192" y="32"/>
                    <a:pt x="211" y="32"/>
                  </a:cubicBezTo>
                  <a:cubicBezTo>
                    <a:pt x="222" y="32"/>
                    <a:pt x="230" y="30"/>
                    <a:pt x="230" y="17"/>
                  </a:cubicBezTo>
                  <a:cubicBezTo>
                    <a:pt x="230" y="3"/>
                    <a:pt x="238" y="0"/>
                    <a:pt x="250" y="0"/>
                  </a:cubicBezTo>
                  <a:cubicBezTo>
                    <a:pt x="279" y="1"/>
                    <a:pt x="308" y="1"/>
                    <a:pt x="338" y="0"/>
                  </a:cubicBezTo>
                  <a:cubicBezTo>
                    <a:pt x="350" y="0"/>
                    <a:pt x="358" y="3"/>
                    <a:pt x="358" y="18"/>
                  </a:cubicBezTo>
                  <a:cubicBezTo>
                    <a:pt x="358" y="28"/>
                    <a:pt x="364" y="32"/>
                    <a:pt x="373" y="32"/>
                  </a:cubicBezTo>
                  <a:cubicBezTo>
                    <a:pt x="384" y="32"/>
                    <a:pt x="395" y="33"/>
                    <a:pt x="405" y="32"/>
                  </a:cubicBezTo>
                  <a:cubicBezTo>
                    <a:pt x="419" y="32"/>
                    <a:pt x="431" y="33"/>
                    <a:pt x="431" y="52"/>
                  </a:cubicBezTo>
                  <a:cubicBezTo>
                    <a:pt x="430" y="60"/>
                    <a:pt x="437" y="63"/>
                    <a:pt x="444" y="63"/>
                  </a:cubicBezTo>
                  <a:cubicBezTo>
                    <a:pt x="452" y="64"/>
                    <a:pt x="460" y="65"/>
                    <a:pt x="468" y="65"/>
                  </a:cubicBezTo>
                  <a:cubicBezTo>
                    <a:pt x="479" y="64"/>
                    <a:pt x="486" y="68"/>
                    <a:pt x="486" y="80"/>
                  </a:cubicBezTo>
                  <a:cubicBezTo>
                    <a:pt x="486" y="90"/>
                    <a:pt x="490" y="97"/>
                    <a:pt x="501" y="97"/>
                  </a:cubicBezTo>
                  <a:cubicBezTo>
                    <a:pt x="513" y="96"/>
                    <a:pt x="518" y="102"/>
                    <a:pt x="518" y="114"/>
                  </a:cubicBezTo>
                  <a:cubicBezTo>
                    <a:pt x="517" y="125"/>
                    <a:pt x="523" y="131"/>
                    <a:pt x="534" y="132"/>
                  </a:cubicBezTo>
                  <a:cubicBezTo>
                    <a:pt x="546" y="132"/>
                    <a:pt x="550" y="139"/>
                    <a:pt x="550" y="150"/>
                  </a:cubicBezTo>
                  <a:cubicBezTo>
                    <a:pt x="551" y="160"/>
                    <a:pt x="553" y="169"/>
                    <a:pt x="554" y="179"/>
                  </a:cubicBezTo>
                  <a:cubicBezTo>
                    <a:pt x="554" y="188"/>
                    <a:pt x="557" y="195"/>
                    <a:pt x="567" y="196"/>
                  </a:cubicBezTo>
                  <a:cubicBezTo>
                    <a:pt x="580" y="196"/>
                    <a:pt x="581" y="204"/>
                    <a:pt x="582" y="215"/>
                  </a:cubicBezTo>
                  <a:cubicBezTo>
                    <a:pt x="587" y="278"/>
                    <a:pt x="587" y="341"/>
                    <a:pt x="582" y="404"/>
                  </a:cubicBezTo>
                  <a:cubicBezTo>
                    <a:pt x="582" y="412"/>
                    <a:pt x="583" y="422"/>
                    <a:pt x="574" y="422"/>
                  </a:cubicBezTo>
                  <a:cubicBezTo>
                    <a:pt x="554" y="424"/>
                    <a:pt x="554" y="436"/>
                    <a:pt x="553" y="450"/>
                  </a:cubicBezTo>
                  <a:cubicBezTo>
                    <a:pt x="553" y="459"/>
                    <a:pt x="554" y="473"/>
                    <a:pt x="549" y="477"/>
                  </a:cubicBezTo>
                  <a:cubicBezTo>
                    <a:pt x="534" y="489"/>
                    <a:pt x="525" y="506"/>
                    <a:pt x="512" y="517"/>
                  </a:cubicBezTo>
                  <a:cubicBezTo>
                    <a:pt x="503" y="526"/>
                    <a:pt x="489" y="527"/>
                    <a:pt x="488" y="544"/>
                  </a:cubicBezTo>
                  <a:cubicBezTo>
                    <a:pt x="488" y="552"/>
                    <a:pt x="479" y="552"/>
                    <a:pt x="472" y="552"/>
                  </a:cubicBezTo>
                  <a:cubicBezTo>
                    <a:pt x="461" y="552"/>
                    <a:pt x="454" y="556"/>
                    <a:pt x="454" y="568"/>
                  </a:cubicBezTo>
                  <a:cubicBezTo>
                    <a:pt x="455" y="580"/>
                    <a:pt x="448" y="584"/>
                    <a:pt x="436" y="584"/>
                  </a:cubicBezTo>
                  <a:cubicBezTo>
                    <a:pt x="428" y="584"/>
                    <a:pt x="419" y="585"/>
                    <a:pt x="410" y="584"/>
                  </a:cubicBezTo>
                  <a:cubicBezTo>
                    <a:pt x="398" y="584"/>
                    <a:pt x="389" y="587"/>
                    <a:pt x="389" y="602"/>
                  </a:cubicBezTo>
                  <a:cubicBezTo>
                    <a:pt x="390" y="612"/>
                    <a:pt x="383" y="615"/>
                    <a:pt x="374" y="615"/>
                  </a:cubicBezTo>
                  <a:cubicBezTo>
                    <a:pt x="321" y="615"/>
                    <a:pt x="267" y="615"/>
                    <a:pt x="214" y="615"/>
                  </a:cubicBezTo>
                  <a:cubicBezTo>
                    <a:pt x="205" y="615"/>
                    <a:pt x="198" y="612"/>
                    <a:pt x="198" y="602"/>
                  </a:cubicBezTo>
                  <a:cubicBezTo>
                    <a:pt x="198" y="587"/>
                    <a:pt x="189" y="584"/>
                    <a:pt x="177" y="585"/>
                  </a:cubicBezTo>
                  <a:cubicBezTo>
                    <a:pt x="168" y="585"/>
                    <a:pt x="159" y="584"/>
                    <a:pt x="151" y="584"/>
                  </a:cubicBezTo>
                  <a:cubicBezTo>
                    <a:pt x="138" y="585"/>
                    <a:pt x="130" y="581"/>
                    <a:pt x="130" y="566"/>
                  </a:cubicBezTo>
                  <a:cubicBezTo>
                    <a:pt x="130" y="556"/>
                    <a:pt x="124" y="552"/>
                    <a:pt x="115" y="552"/>
                  </a:cubicBezTo>
                  <a:cubicBezTo>
                    <a:pt x="103" y="553"/>
                    <a:pt x="98" y="547"/>
                    <a:pt x="98" y="535"/>
                  </a:cubicBezTo>
                  <a:cubicBezTo>
                    <a:pt x="98" y="525"/>
                    <a:pt x="93" y="520"/>
                    <a:pt x="83" y="521"/>
                  </a:cubicBezTo>
                  <a:cubicBezTo>
                    <a:pt x="60" y="522"/>
                    <a:pt x="71" y="498"/>
                    <a:pt x="61" y="491"/>
                  </a:cubicBezTo>
                  <a:cubicBezTo>
                    <a:pt x="51" y="485"/>
                    <a:pt x="32" y="491"/>
                    <a:pt x="34" y="470"/>
                  </a:cubicBezTo>
                  <a:cubicBezTo>
                    <a:pt x="35" y="462"/>
                    <a:pt x="32" y="456"/>
                    <a:pt x="24" y="455"/>
                  </a:cubicBezTo>
                  <a:cubicBezTo>
                    <a:pt x="9" y="453"/>
                    <a:pt x="6" y="444"/>
                    <a:pt x="5" y="431"/>
                  </a:cubicBezTo>
                  <a:cubicBezTo>
                    <a:pt x="1" y="391"/>
                    <a:pt x="3" y="350"/>
                    <a:pt x="1" y="3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1" name="Freeform 81">
              <a:extLst>
                <a:ext uri="{FF2B5EF4-FFF2-40B4-BE49-F238E27FC236}">
                  <a16:creationId xmlns:a16="http://schemas.microsoft.com/office/drawing/2014/main" id="{009A6ADE-73D4-647D-63D0-3CAC5445CD4B}"/>
                </a:ext>
              </a:extLst>
            </p:cNvPr>
            <p:cNvSpPr>
              <a:spLocks/>
            </p:cNvSpPr>
            <p:nvPr/>
          </p:nvSpPr>
          <p:spPr bwMode="auto">
            <a:xfrm>
              <a:off x="8994775" y="5399088"/>
              <a:ext cx="123825" cy="130175"/>
            </a:xfrm>
            <a:custGeom>
              <a:avLst/>
              <a:gdLst>
                <a:gd name="T0" fmla="*/ 292 w 588"/>
                <a:gd name="T1" fmla="*/ 615 h 616"/>
                <a:gd name="T2" fmla="*/ 214 w 588"/>
                <a:gd name="T3" fmla="*/ 615 h 616"/>
                <a:gd name="T4" fmla="*/ 196 w 588"/>
                <a:gd name="T5" fmla="*/ 600 h 616"/>
                <a:gd name="T6" fmla="*/ 182 w 588"/>
                <a:gd name="T7" fmla="*/ 587 h 616"/>
                <a:gd name="T8" fmla="*/ 152 w 588"/>
                <a:gd name="T9" fmla="*/ 584 h 616"/>
                <a:gd name="T10" fmla="*/ 128 w 588"/>
                <a:gd name="T11" fmla="*/ 564 h 616"/>
                <a:gd name="T12" fmla="*/ 113 w 588"/>
                <a:gd name="T13" fmla="*/ 552 h 616"/>
                <a:gd name="T14" fmla="*/ 96 w 588"/>
                <a:gd name="T15" fmla="*/ 535 h 616"/>
                <a:gd name="T16" fmla="*/ 81 w 588"/>
                <a:gd name="T17" fmla="*/ 521 h 616"/>
                <a:gd name="T18" fmla="*/ 77 w 588"/>
                <a:gd name="T19" fmla="*/ 520 h 616"/>
                <a:gd name="T20" fmla="*/ 57 w 588"/>
                <a:gd name="T21" fmla="*/ 490 h 616"/>
                <a:gd name="T22" fmla="*/ 32 w 588"/>
                <a:gd name="T23" fmla="*/ 470 h 616"/>
                <a:gd name="T24" fmla="*/ 16 w 588"/>
                <a:gd name="T25" fmla="*/ 452 h 616"/>
                <a:gd name="T26" fmla="*/ 1 w 588"/>
                <a:gd name="T27" fmla="*/ 434 h 616"/>
                <a:gd name="T28" fmla="*/ 0 w 588"/>
                <a:gd name="T29" fmla="*/ 210 h 616"/>
                <a:gd name="T30" fmla="*/ 16 w 588"/>
                <a:gd name="T31" fmla="*/ 192 h 616"/>
                <a:gd name="T32" fmla="*/ 32 w 588"/>
                <a:gd name="T33" fmla="*/ 174 h 616"/>
                <a:gd name="T34" fmla="*/ 33 w 588"/>
                <a:gd name="T35" fmla="*/ 146 h 616"/>
                <a:gd name="T36" fmla="*/ 48 w 588"/>
                <a:gd name="T37" fmla="*/ 129 h 616"/>
                <a:gd name="T38" fmla="*/ 65 w 588"/>
                <a:gd name="T39" fmla="*/ 112 h 616"/>
                <a:gd name="T40" fmla="*/ 65 w 588"/>
                <a:gd name="T41" fmla="*/ 108 h 616"/>
                <a:gd name="T42" fmla="*/ 95 w 588"/>
                <a:gd name="T43" fmla="*/ 89 h 616"/>
                <a:gd name="T44" fmla="*/ 116 w 588"/>
                <a:gd name="T45" fmla="*/ 64 h 616"/>
                <a:gd name="T46" fmla="*/ 132 w 588"/>
                <a:gd name="T47" fmla="*/ 49 h 616"/>
                <a:gd name="T48" fmla="*/ 152 w 588"/>
                <a:gd name="T49" fmla="*/ 33 h 616"/>
                <a:gd name="T50" fmla="*/ 210 w 588"/>
                <a:gd name="T51" fmla="*/ 32 h 616"/>
                <a:gd name="T52" fmla="*/ 228 w 588"/>
                <a:gd name="T53" fmla="*/ 17 h 616"/>
                <a:gd name="T54" fmla="*/ 246 w 588"/>
                <a:gd name="T55" fmla="*/ 1 h 616"/>
                <a:gd name="T56" fmla="*/ 338 w 588"/>
                <a:gd name="T57" fmla="*/ 0 h 616"/>
                <a:gd name="T58" fmla="*/ 356 w 588"/>
                <a:gd name="T59" fmla="*/ 16 h 616"/>
                <a:gd name="T60" fmla="*/ 374 w 588"/>
                <a:gd name="T61" fmla="*/ 32 h 616"/>
                <a:gd name="T62" fmla="*/ 398 w 588"/>
                <a:gd name="T63" fmla="*/ 32 h 616"/>
                <a:gd name="T64" fmla="*/ 421 w 588"/>
                <a:gd name="T65" fmla="*/ 51 h 616"/>
                <a:gd name="T66" fmla="*/ 436 w 588"/>
                <a:gd name="T67" fmla="*/ 63 h 616"/>
                <a:gd name="T68" fmla="*/ 462 w 588"/>
                <a:gd name="T69" fmla="*/ 64 h 616"/>
                <a:gd name="T70" fmla="*/ 484 w 588"/>
                <a:gd name="T71" fmla="*/ 84 h 616"/>
                <a:gd name="T72" fmla="*/ 497 w 588"/>
                <a:gd name="T73" fmla="*/ 96 h 616"/>
                <a:gd name="T74" fmla="*/ 505 w 588"/>
                <a:gd name="T75" fmla="*/ 97 h 616"/>
                <a:gd name="T76" fmla="*/ 526 w 588"/>
                <a:gd name="T77" fmla="*/ 128 h 616"/>
                <a:gd name="T78" fmla="*/ 548 w 588"/>
                <a:gd name="T79" fmla="*/ 152 h 616"/>
                <a:gd name="T80" fmla="*/ 549 w 588"/>
                <a:gd name="T81" fmla="*/ 178 h 616"/>
                <a:gd name="T82" fmla="*/ 563 w 588"/>
                <a:gd name="T83" fmla="*/ 195 h 616"/>
                <a:gd name="T84" fmla="*/ 580 w 588"/>
                <a:gd name="T85" fmla="*/ 213 h 616"/>
                <a:gd name="T86" fmla="*/ 580 w 588"/>
                <a:gd name="T87" fmla="*/ 405 h 616"/>
                <a:gd name="T88" fmla="*/ 575 w 588"/>
                <a:gd name="T89" fmla="*/ 421 h 616"/>
                <a:gd name="T90" fmla="*/ 549 w 588"/>
                <a:gd name="T91" fmla="*/ 468 h 616"/>
                <a:gd name="T92" fmla="*/ 532 w 588"/>
                <a:gd name="T93" fmla="*/ 490 h 616"/>
                <a:gd name="T94" fmla="*/ 486 w 588"/>
                <a:gd name="T95" fmla="*/ 527 h 616"/>
                <a:gd name="T96" fmla="*/ 460 w 588"/>
                <a:gd name="T97" fmla="*/ 554 h 616"/>
                <a:gd name="T98" fmla="*/ 452 w 588"/>
                <a:gd name="T99" fmla="*/ 566 h 616"/>
                <a:gd name="T100" fmla="*/ 430 w 588"/>
                <a:gd name="T101" fmla="*/ 584 h 616"/>
                <a:gd name="T102" fmla="*/ 408 w 588"/>
                <a:gd name="T103" fmla="*/ 584 h 616"/>
                <a:gd name="T104" fmla="*/ 388 w 588"/>
                <a:gd name="T105" fmla="*/ 602 h 616"/>
                <a:gd name="T106" fmla="*/ 370 w 588"/>
                <a:gd name="T107" fmla="*/ 615 h 616"/>
                <a:gd name="T108" fmla="*/ 292 w 588"/>
                <a:gd name="T109" fmla="*/ 615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8" h="616">
                  <a:moveTo>
                    <a:pt x="292" y="615"/>
                  </a:moveTo>
                  <a:cubicBezTo>
                    <a:pt x="266" y="615"/>
                    <a:pt x="240" y="615"/>
                    <a:pt x="214" y="615"/>
                  </a:cubicBezTo>
                  <a:cubicBezTo>
                    <a:pt x="203" y="616"/>
                    <a:pt x="196" y="612"/>
                    <a:pt x="196" y="600"/>
                  </a:cubicBezTo>
                  <a:cubicBezTo>
                    <a:pt x="196" y="591"/>
                    <a:pt x="191" y="587"/>
                    <a:pt x="182" y="587"/>
                  </a:cubicBezTo>
                  <a:cubicBezTo>
                    <a:pt x="172" y="587"/>
                    <a:pt x="162" y="584"/>
                    <a:pt x="152" y="584"/>
                  </a:cubicBezTo>
                  <a:cubicBezTo>
                    <a:pt x="138" y="584"/>
                    <a:pt x="127" y="583"/>
                    <a:pt x="128" y="564"/>
                  </a:cubicBezTo>
                  <a:cubicBezTo>
                    <a:pt x="128" y="555"/>
                    <a:pt x="121" y="552"/>
                    <a:pt x="113" y="552"/>
                  </a:cubicBezTo>
                  <a:cubicBezTo>
                    <a:pt x="101" y="553"/>
                    <a:pt x="95" y="547"/>
                    <a:pt x="96" y="535"/>
                  </a:cubicBezTo>
                  <a:cubicBezTo>
                    <a:pt x="96" y="526"/>
                    <a:pt x="91" y="521"/>
                    <a:pt x="81" y="521"/>
                  </a:cubicBezTo>
                  <a:cubicBezTo>
                    <a:pt x="80" y="521"/>
                    <a:pt x="78" y="520"/>
                    <a:pt x="77" y="520"/>
                  </a:cubicBezTo>
                  <a:cubicBezTo>
                    <a:pt x="56" y="519"/>
                    <a:pt x="70" y="495"/>
                    <a:pt x="57" y="490"/>
                  </a:cubicBezTo>
                  <a:cubicBezTo>
                    <a:pt x="46" y="486"/>
                    <a:pt x="30" y="490"/>
                    <a:pt x="32" y="470"/>
                  </a:cubicBezTo>
                  <a:cubicBezTo>
                    <a:pt x="34" y="458"/>
                    <a:pt x="28" y="452"/>
                    <a:pt x="16" y="452"/>
                  </a:cubicBezTo>
                  <a:cubicBezTo>
                    <a:pt x="4" y="452"/>
                    <a:pt x="1" y="445"/>
                    <a:pt x="1" y="434"/>
                  </a:cubicBezTo>
                  <a:cubicBezTo>
                    <a:pt x="1" y="359"/>
                    <a:pt x="1" y="285"/>
                    <a:pt x="0" y="210"/>
                  </a:cubicBezTo>
                  <a:cubicBezTo>
                    <a:pt x="0" y="199"/>
                    <a:pt x="4" y="192"/>
                    <a:pt x="16" y="192"/>
                  </a:cubicBezTo>
                  <a:cubicBezTo>
                    <a:pt x="29" y="192"/>
                    <a:pt x="32" y="185"/>
                    <a:pt x="32" y="174"/>
                  </a:cubicBezTo>
                  <a:cubicBezTo>
                    <a:pt x="32" y="165"/>
                    <a:pt x="33" y="155"/>
                    <a:pt x="33" y="146"/>
                  </a:cubicBezTo>
                  <a:cubicBezTo>
                    <a:pt x="33" y="136"/>
                    <a:pt x="37" y="129"/>
                    <a:pt x="48" y="129"/>
                  </a:cubicBezTo>
                  <a:cubicBezTo>
                    <a:pt x="60" y="129"/>
                    <a:pt x="65" y="123"/>
                    <a:pt x="65" y="112"/>
                  </a:cubicBezTo>
                  <a:cubicBezTo>
                    <a:pt x="65" y="110"/>
                    <a:pt x="65" y="109"/>
                    <a:pt x="65" y="108"/>
                  </a:cubicBezTo>
                  <a:cubicBezTo>
                    <a:pt x="67" y="88"/>
                    <a:pt x="91" y="104"/>
                    <a:pt x="95" y="89"/>
                  </a:cubicBezTo>
                  <a:cubicBezTo>
                    <a:pt x="98" y="77"/>
                    <a:pt x="96" y="62"/>
                    <a:pt x="116" y="64"/>
                  </a:cubicBezTo>
                  <a:cubicBezTo>
                    <a:pt x="126" y="66"/>
                    <a:pt x="132" y="60"/>
                    <a:pt x="132" y="49"/>
                  </a:cubicBezTo>
                  <a:cubicBezTo>
                    <a:pt x="132" y="36"/>
                    <a:pt x="140" y="33"/>
                    <a:pt x="152" y="33"/>
                  </a:cubicBezTo>
                  <a:cubicBezTo>
                    <a:pt x="171" y="33"/>
                    <a:pt x="190" y="32"/>
                    <a:pt x="210" y="32"/>
                  </a:cubicBezTo>
                  <a:cubicBezTo>
                    <a:pt x="220" y="32"/>
                    <a:pt x="228" y="29"/>
                    <a:pt x="228" y="17"/>
                  </a:cubicBezTo>
                  <a:cubicBezTo>
                    <a:pt x="228" y="5"/>
                    <a:pt x="234" y="0"/>
                    <a:pt x="246" y="1"/>
                  </a:cubicBezTo>
                  <a:cubicBezTo>
                    <a:pt x="276" y="1"/>
                    <a:pt x="307" y="1"/>
                    <a:pt x="338" y="0"/>
                  </a:cubicBezTo>
                  <a:cubicBezTo>
                    <a:pt x="349" y="0"/>
                    <a:pt x="356" y="4"/>
                    <a:pt x="356" y="16"/>
                  </a:cubicBezTo>
                  <a:cubicBezTo>
                    <a:pt x="355" y="29"/>
                    <a:pt x="363" y="32"/>
                    <a:pt x="374" y="32"/>
                  </a:cubicBezTo>
                  <a:cubicBezTo>
                    <a:pt x="382" y="32"/>
                    <a:pt x="390" y="33"/>
                    <a:pt x="398" y="32"/>
                  </a:cubicBezTo>
                  <a:cubicBezTo>
                    <a:pt x="411" y="31"/>
                    <a:pt x="421" y="34"/>
                    <a:pt x="421" y="51"/>
                  </a:cubicBezTo>
                  <a:cubicBezTo>
                    <a:pt x="421" y="60"/>
                    <a:pt x="427" y="63"/>
                    <a:pt x="436" y="63"/>
                  </a:cubicBezTo>
                  <a:cubicBezTo>
                    <a:pt x="444" y="64"/>
                    <a:pt x="453" y="65"/>
                    <a:pt x="462" y="64"/>
                  </a:cubicBezTo>
                  <a:cubicBezTo>
                    <a:pt x="476" y="64"/>
                    <a:pt x="485" y="67"/>
                    <a:pt x="484" y="84"/>
                  </a:cubicBezTo>
                  <a:cubicBezTo>
                    <a:pt x="484" y="92"/>
                    <a:pt x="489" y="96"/>
                    <a:pt x="497" y="96"/>
                  </a:cubicBezTo>
                  <a:cubicBezTo>
                    <a:pt x="499" y="96"/>
                    <a:pt x="502" y="97"/>
                    <a:pt x="505" y="97"/>
                  </a:cubicBezTo>
                  <a:cubicBezTo>
                    <a:pt x="524" y="99"/>
                    <a:pt x="508" y="126"/>
                    <a:pt x="526" y="128"/>
                  </a:cubicBezTo>
                  <a:cubicBezTo>
                    <a:pt x="542" y="129"/>
                    <a:pt x="550" y="135"/>
                    <a:pt x="548" y="152"/>
                  </a:cubicBezTo>
                  <a:cubicBezTo>
                    <a:pt x="547" y="161"/>
                    <a:pt x="549" y="170"/>
                    <a:pt x="549" y="178"/>
                  </a:cubicBezTo>
                  <a:cubicBezTo>
                    <a:pt x="549" y="188"/>
                    <a:pt x="552" y="195"/>
                    <a:pt x="563" y="195"/>
                  </a:cubicBezTo>
                  <a:cubicBezTo>
                    <a:pt x="575" y="196"/>
                    <a:pt x="579" y="202"/>
                    <a:pt x="580" y="213"/>
                  </a:cubicBezTo>
                  <a:cubicBezTo>
                    <a:pt x="582" y="277"/>
                    <a:pt x="588" y="341"/>
                    <a:pt x="580" y="405"/>
                  </a:cubicBezTo>
                  <a:cubicBezTo>
                    <a:pt x="579" y="411"/>
                    <a:pt x="581" y="420"/>
                    <a:pt x="575" y="421"/>
                  </a:cubicBezTo>
                  <a:cubicBezTo>
                    <a:pt x="544" y="424"/>
                    <a:pt x="552" y="450"/>
                    <a:pt x="549" y="468"/>
                  </a:cubicBezTo>
                  <a:cubicBezTo>
                    <a:pt x="547" y="480"/>
                    <a:pt x="541" y="483"/>
                    <a:pt x="532" y="490"/>
                  </a:cubicBezTo>
                  <a:cubicBezTo>
                    <a:pt x="516" y="502"/>
                    <a:pt x="510" y="525"/>
                    <a:pt x="486" y="527"/>
                  </a:cubicBezTo>
                  <a:cubicBezTo>
                    <a:pt x="486" y="545"/>
                    <a:pt x="478" y="554"/>
                    <a:pt x="460" y="554"/>
                  </a:cubicBezTo>
                  <a:cubicBezTo>
                    <a:pt x="454" y="554"/>
                    <a:pt x="452" y="561"/>
                    <a:pt x="452" y="566"/>
                  </a:cubicBezTo>
                  <a:cubicBezTo>
                    <a:pt x="453" y="582"/>
                    <a:pt x="443" y="585"/>
                    <a:pt x="430" y="584"/>
                  </a:cubicBezTo>
                  <a:cubicBezTo>
                    <a:pt x="423" y="584"/>
                    <a:pt x="416" y="585"/>
                    <a:pt x="408" y="584"/>
                  </a:cubicBezTo>
                  <a:cubicBezTo>
                    <a:pt x="396" y="584"/>
                    <a:pt x="387" y="587"/>
                    <a:pt x="388" y="602"/>
                  </a:cubicBezTo>
                  <a:cubicBezTo>
                    <a:pt x="388" y="613"/>
                    <a:pt x="380" y="615"/>
                    <a:pt x="370" y="615"/>
                  </a:cubicBezTo>
                  <a:cubicBezTo>
                    <a:pt x="344" y="615"/>
                    <a:pt x="318" y="615"/>
                    <a:pt x="292" y="6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2" name="Freeform 82">
              <a:extLst>
                <a:ext uri="{FF2B5EF4-FFF2-40B4-BE49-F238E27FC236}">
                  <a16:creationId xmlns:a16="http://schemas.microsoft.com/office/drawing/2014/main" id="{1F811D70-06B8-399B-D666-8581B7C37C13}"/>
                </a:ext>
              </a:extLst>
            </p:cNvPr>
            <p:cNvSpPr>
              <a:spLocks/>
            </p:cNvSpPr>
            <p:nvPr/>
          </p:nvSpPr>
          <p:spPr bwMode="auto">
            <a:xfrm>
              <a:off x="9083675" y="5273676"/>
              <a:ext cx="128587" cy="125413"/>
            </a:xfrm>
            <a:custGeom>
              <a:avLst/>
              <a:gdLst>
                <a:gd name="T0" fmla="*/ 611 w 611"/>
                <a:gd name="T1" fmla="*/ 298 h 593"/>
                <a:gd name="T2" fmla="*/ 611 w 611"/>
                <a:gd name="T3" fmla="*/ 376 h 593"/>
                <a:gd name="T4" fmla="*/ 596 w 611"/>
                <a:gd name="T5" fmla="*/ 395 h 593"/>
                <a:gd name="T6" fmla="*/ 582 w 611"/>
                <a:gd name="T7" fmla="*/ 411 h 593"/>
                <a:gd name="T8" fmla="*/ 579 w 611"/>
                <a:gd name="T9" fmla="*/ 443 h 593"/>
                <a:gd name="T10" fmla="*/ 578 w 611"/>
                <a:gd name="T11" fmla="*/ 449 h 593"/>
                <a:gd name="T12" fmla="*/ 530 w 611"/>
                <a:gd name="T13" fmla="*/ 491 h 593"/>
                <a:gd name="T14" fmla="*/ 516 w 611"/>
                <a:gd name="T15" fmla="*/ 507 h 593"/>
                <a:gd name="T16" fmla="*/ 515 w 611"/>
                <a:gd name="T17" fmla="*/ 509 h 593"/>
                <a:gd name="T18" fmla="*/ 512 w 611"/>
                <a:gd name="T19" fmla="*/ 519 h 593"/>
                <a:gd name="T20" fmla="*/ 462 w 611"/>
                <a:gd name="T21" fmla="*/ 556 h 593"/>
                <a:gd name="T22" fmla="*/ 432 w 611"/>
                <a:gd name="T23" fmla="*/ 559 h 593"/>
                <a:gd name="T24" fmla="*/ 420 w 611"/>
                <a:gd name="T25" fmla="*/ 569 h 593"/>
                <a:gd name="T26" fmla="*/ 398 w 611"/>
                <a:gd name="T27" fmla="*/ 588 h 593"/>
                <a:gd name="T28" fmla="*/ 212 w 611"/>
                <a:gd name="T29" fmla="*/ 587 h 593"/>
                <a:gd name="T30" fmla="*/ 196 w 611"/>
                <a:gd name="T31" fmla="*/ 578 h 593"/>
                <a:gd name="T32" fmla="*/ 169 w 611"/>
                <a:gd name="T33" fmla="*/ 558 h 593"/>
                <a:gd name="T34" fmla="*/ 145 w 611"/>
                <a:gd name="T35" fmla="*/ 555 h 593"/>
                <a:gd name="T36" fmla="*/ 131 w 611"/>
                <a:gd name="T37" fmla="*/ 541 h 593"/>
                <a:gd name="T38" fmla="*/ 113 w 611"/>
                <a:gd name="T39" fmla="*/ 523 h 593"/>
                <a:gd name="T40" fmla="*/ 96 w 611"/>
                <a:gd name="T41" fmla="*/ 507 h 593"/>
                <a:gd name="T42" fmla="*/ 82 w 611"/>
                <a:gd name="T43" fmla="*/ 491 h 593"/>
                <a:gd name="T44" fmla="*/ 67 w 611"/>
                <a:gd name="T45" fmla="*/ 474 h 593"/>
                <a:gd name="T46" fmla="*/ 63 w 611"/>
                <a:gd name="T47" fmla="*/ 448 h 593"/>
                <a:gd name="T48" fmla="*/ 44 w 611"/>
                <a:gd name="T49" fmla="*/ 427 h 593"/>
                <a:gd name="T50" fmla="*/ 32 w 611"/>
                <a:gd name="T51" fmla="*/ 410 h 593"/>
                <a:gd name="T52" fmla="*/ 31 w 611"/>
                <a:gd name="T53" fmla="*/ 350 h 593"/>
                <a:gd name="T54" fmla="*/ 14 w 611"/>
                <a:gd name="T55" fmla="*/ 331 h 593"/>
                <a:gd name="T56" fmla="*/ 0 w 611"/>
                <a:gd name="T57" fmla="*/ 313 h 593"/>
                <a:gd name="T58" fmla="*/ 0 w 611"/>
                <a:gd name="T59" fmla="*/ 281 h 593"/>
                <a:gd name="T60" fmla="*/ 15 w 611"/>
                <a:gd name="T61" fmla="*/ 263 h 593"/>
                <a:gd name="T62" fmla="*/ 31 w 611"/>
                <a:gd name="T63" fmla="*/ 244 h 593"/>
                <a:gd name="T64" fmla="*/ 35 w 611"/>
                <a:gd name="T65" fmla="*/ 155 h 593"/>
                <a:gd name="T66" fmla="*/ 35 w 611"/>
                <a:gd name="T67" fmla="*/ 149 h 593"/>
                <a:gd name="T68" fmla="*/ 62 w 611"/>
                <a:gd name="T69" fmla="*/ 128 h 593"/>
                <a:gd name="T70" fmla="*/ 82 w 611"/>
                <a:gd name="T71" fmla="*/ 102 h 593"/>
                <a:gd name="T72" fmla="*/ 95 w 611"/>
                <a:gd name="T73" fmla="*/ 88 h 593"/>
                <a:gd name="T74" fmla="*/ 115 w 611"/>
                <a:gd name="T75" fmla="*/ 67 h 593"/>
                <a:gd name="T76" fmla="*/ 130 w 611"/>
                <a:gd name="T77" fmla="*/ 53 h 593"/>
                <a:gd name="T78" fmla="*/ 148 w 611"/>
                <a:gd name="T79" fmla="*/ 36 h 593"/>
                <a:gd name="T80" fmla="*/ 163 w 611"/>
                <a:gd name="T81" fmla="*/ 24 h 593"/>
                <a:gd name="T82" fmla="*/ 183 w 611"/>
                <a:gd name="T83" fmla="*/ 7 h 593"/>
                <a:gd name="T84" fmla="*/ 384 w 611"/>
                <a:gd name="T85" fmla="*/ 3 h 593"/>
                <a:gd name="T86" fmla="*/ 424 w 611"/>
                <a:gd name="T87" fmla="*/ 4 h 593"/>
                <a:gd name="T88" fmla="*/ 451 w 611"/>
                <a:gd name="T89" fmla="*/ 25 h 593"/>
                <a:gd name="T90" fmla="*/ 467 w 611"/>
                <a:gd name="T91" fmla="*/ 35 h 593"/>
                <a:gd name="T92" fmla="*/ 488 w 611"/>
                <a:gd name="T93" fmla="*/ 52 h 593"/>
                <a:gd name="T94" fmla="*/ 533 w 611"/>
                <a:gd name="T95" fmla="*/ 99 h 593"/>
                <a:gd name="T96" fmla="*/ 542 w 611"/>
                <a:gd name="T97" fmla="*/ 101 h 593"/>
                <a:gd name="T98" fmla="*/ 580 w 611"/>
                <a:gd name="T99" fmla="*/ 159 h 593"/>
                <a:gd name="T100" fmla="*/ 583 w 611"/>
                <a:gd name="T101" fmla="*/ 185 h 593"/>
                <a:gd name="T102" fmla="*/ 596 w 611"/>
                <a:gd name="T103" fmla="*/ 199 h 593"/>
                <a:gd name="T104" fmla="*/ 611 w 611"/>
                <a:gd name="T105" fmla="*/ 218 h 593"/>
                <a:gd name="T106" fmla="*/ 611 w 611"/>
                <a:gd name="T107" fmla="*/ 298 h 593"/>
                <a:gd name="T108" fmla="*/ 611 w 611"/>
                <a:gd name="T109" fmla="*/ 29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1" h="593">
                  <a:moveTo>
                    <a:pt x="611" y="298"/>
                  </a:moveTo>
                  <a:cubicBezTo>
                    <a:pt x="611" y="324"/>
                    <a:pt x="610" y="350"/>
                    <a:pt x="611" y="376"/>
                  </a:cubicBezTo>
                  <a:cubicBezTo>
                    <a:pt x="611" y="386"/>
                    <a:pt x="608" y="394"/>
                    <a:pt x="596" y="395"/>
                  </a:cubicBezTo>
                  <a:cubicBezTo>
                    <a:pt x="585" y="395"/>
                    <a:pt x="583" y="402"/>
                    <a:pt x="582" y="411"/>
                  </a:cubicBezTo>
                  <a:cubicBezTo>
                    <a:pt x="582" y="422"/>
                    <a:pt x="580" y="432"/>
                    <a:pt x="579" y="443"/>
                  </a:cubicBezTo>
                  <a:cubicBezTo>
                    <a:pt x="579" y="445"/>
                    <a:pt x="579" y="449"/>
                    <a:pt x="578" y="449"/>
                  </a:cubicBezTo>
                  <a:cubicBezTo>
                    <a:pt x="555" y="454"/>
                    <a:pt x="551" y="483"/>
                    <a:pt x="530" y="491"/>
                  </a:cubicBezTo>
                  <a:cubicBezTo>
                    <a:pt x="522" y="494"/>
                    <a:pt x="516" y="497"/>
                    <a:pt x="516" y="507"/>
                  </a:cubicBezTo>
                  <a:cubicBezTo>
                    <a:pt x="516" y="507"/>
                    <a:pt x="516" y="508"/>
                    <a:pt x="515" y="509"/>
                  </a:cubicBezTo>
                  <a:cubicBezTo>
                    <a:pt x="514" y="513"/>
                    <a:pt x="512" y="519"/>
                    <a:pt x="512" y="519"/>
                  </a:cubicBezTo>
                  <a:cubicBezTo>
                    <a:pt x="482" y="513"/>
                    <a:pt x="490" y="558"/>
                    <a:pt x="462" y="556"/>
                  </a:cubicBezTo>
                  <a:cubicBezTo>
                    <a:pt x="452" y="555"/>
                    <a:pt x="442" y="558"/>
                    <a:pt x="432" y="559"/>
                  </a:cubicBezTo>
                  <a:cubicBezTo>
                    <a:pt x="426" y="560"/>
                    <a:pt x="420" y="562"/>
                    <a:pt x="420" y="569"/>
                  </a:cubicBezTo>
                  <a:cubicBezTo>
                    <a:pt x="420" y="585"/>
                    <a:pt x="410" y="587"/>
                    <a:pt x="398" y="588"/>
                  </a:cubicBezTo>
                  <a:cubicBezTo>
                    <a:pt x="336" y="592"/>
                    <a:pt x="274" y="593"/>
                    <a:pt x="212" y="587"/>
                  </a:cubicBezTo>
                  <a:cubicBezTo>
                    <a:pt x="205" y="586"/>
                    <a:pt x="197" y="587"/>
                    <a:pt x="196" y="578"/>
                  </a:cubicBezTo>
                  <a:cubicBezTo>
                    <a:pt x="196" y="559"/>
                    <a:pt x="183" y="558"/>
                    <a:pt x="169" y="558"/>
                  </a:cubicBezTo>
                  <a:cubicBezTo>
                    <a:pt x="161" y="557"/>
                    <a:pt x="153" y="555"/>
                    <a:pt x="145" y="555"/>
                  </a:cubicBezTo>
                  <a:cubicBezTo>
                    <a:pt x="137" y="554"/>
                    <a:pt x="131" y="550"/>
                    <a:pt x="131" y="541"/>
                  </a:cubicBezTo>
                  <a:cubicBezTo>
                    <a:pt x="131" y="529"/>
                    <a:pt x="125" y="523"/>
                    <a:pt x="113" y="523"/>
                  </a:cubicBezTo>
                  <a:cubicBezTo>
                    <a:pt x="101" y="524"/>
                    <a:pt x="95" y="518"/>
                    <a:pt x="96" y="507"/>
                  </a:cubicBezTo>
                  <a:cubicBezTo>
                    <a:pt x="96" y="497"/>
                    <a:pt x="92" y="491"/>
                    <a:pt x="82" y="491"/>
                  </a:cubicBezTo>
                  <a:cubicBezTo>
                    <a:pt x="71" y="491"/>
                    <a:pt x="67" y="484"/>
                    <a:pt x="67" y="474"/>
                  </a:cubicBezTo>
                  <a:cubicBezTo>
                    <a:pt x="66" y="465"/>
                    <a:pt x="63" y="457"/>
                    <a:pt x="63" y="448"/>
                  </a:cubicBezTo>
                  <a:cubicBezTo>
                    <a:pt x="63" y="435"/>
                    <a:pt x="60" y="427"/>
                    <a:pt x="44" y="427"/>
                  </a:cubicBezTo>
                  <a:cubicBezTo>
                    <a:pt x="33" y="427"/>
                    <a:pt x="32" y="419"/>
                    <a:pt x="32" y="410"/>
                  </a:cubicBezTo>
                  <a:cubicBezTo>
                    <a:pt x="31" y="390"/>
                    <a:pt x="31" y="370"/>
                    <a:pt x="31" y="350"/>
                  </a:cubicBezTo>
                  <a:cubicBezTo>
                    <a:pt x="31" y="339"/>
                    <a:pt x="28" y="331"/>
                    <a:pt x="14" y="331"/>
                  </a:cubicBezTo>
                  <a:cubicBezTo>
                    <a:pt x="3" y="330"/>
                    <a:pt x="0" y="323"/>
                    <a:pt x="0" y="313"/>
                  </a:cubicBezTo>
                  <a:cubicBezTo>
                    <a:pt x="0" y="302"/>
                    <a:pt x="0" y="292"/>
                    <a:pt x="0" y="281"/>
                  </a:cubicBezTo>
                  <a:cubicBezTo>
                    <a:pt x="0" y="270"/>
                    <a:pt x="3" y="263"/>
                    <a:pt x="15" y="263"/>
                  </a:cubicBezTo>
                  <a:cubicBezTo>
                    <a:pt x="28" y="263"/>
                    <a:pt x="30" y="255"/>
                    <a:pt x="31" y="244"/>
                  </a:cubicBezTo>
                  <a:cubicBezTo>
                    <a:pt x="31" y="214"/>
                    <a:pt x="29" y="184"/>
                    <a:pt x="35" y="155"/>
                  </a:cubicBezTo>
                  <a:cubicBezTo>
                    <a:pt x="35" y="153"/>
                    <a:pt x="35" y="151"/>
                    <a:pt x="35" y="149"/>
                  </a:cubicBezTo>
                  <a:cubicBezTo>
                    <a:pt x="35" y="130"/>
                    <a:pt x="59" y="141"/>
                    <a:pt x="62" y="128"/>
                  </a:cubicBezTo>
                  <a:cubicBezTo>
                    <a:pt x="65" y="116"/>
                    <a:pt x="62" y="101"/>
                    <a:pt x="82" y="102"/>
                  </a:cubicBezTo>
                  <a:cubicBezTo>
                    <a:pt x="91" y="103"/>
                    <a:pt x="96" y="97"/>
                    <a:pt x="95" y="88"/>
                  </a:cubicBezTo>
                  <a:cubicBezTo>
                    <a:pt x="95" y="74"/>
                    <a:pt x="100" y="67"/>
                    <a:pt x="115" y="67"/>
                  </a:cubicBezTo>
                  <a:cubicBezTo>
                    <a:pt x="125" y="68"/>
                    <a:pt x="131" y="62"/>
                    <a:pt x="130" y="53"/>
                  </a:cubicBezTo>
                  <a:cubicBezTo>
                    <a:pt x="129" y="39"/>
                    <a:pt x="136" y="35"/>
                    <a:pt x="148" y="36"/>
                  </a:cubicBezTo>
                  <a:cubicBezTo>
                    <a:pt x="156" y="36"/>
                    <a:pt x="163" y="33"/>
                    <a:pt x="163" y="24"/>
                  </a:cubicBezTo>
                  <a:cubicBezTo>
                    <a:pt x="163" y="11"/>
                    <a:pt x="171" y="8"/>
                    <a:pt x="183" y="7"/>
                  </a:cubicBezTo>
                  <a:cubicBezTo>
                    <a:pt x="250" y="0"/>
                    <a:pt x="317" y="4"/>
                    <a:pt x="384" y="3"/>
                  </a:cubicBezTo>
                  <a:cubicBezTo>
                    <a:pt x="397" y="3"/>
                    <a:pt x="411" y="4"/>
                    <a:pt x="424" y="4"/>
                  </a:cubicBezTo>
                  <a:cubicBezTo>
                    <a:pt x="439" y="3"/>
                    <a:pt x="452" y="4"/>
                    <a:pt x="451" y="25"/>
                  </a:cubicBezTo>
                  <a:cubicBezTo>
                    <a:pt x="451" y="34"/>
                    <a:pt x="460" y="36"/>
                    <a:pt x="467" y="35"/>
                  </a:cubicBezTo>
                  <a:cubicBezTo>
                    <a:pt x="479" y="35"/>
                    <a:pt x="482" y="43"/>
                    <a:pt x="488" y="52"/>
                  </a:cubicBezTo>
                  <a:cubicBezTo>
                    <a:pt x="500" y="69"/>
                    <a:pt x="519" y="82"/>
                    <a:pt x="533" y="99"/>
                  </a:cubicBezTo>
                  <a:cubicBezTo>
                    <a:pt x="535" y="100"/>
                    <a:pt x="542" y="100"/>
                    <a:pt x="542" y="101"/>
                  </a:cubicBezTo>
                  <a:cubicBezTo>
                    <a:pt x="543" y="127"/>
                    <a:pt x="579" y="132"/>
                    <a:pt x="580" y="159"/>
                  </a:cubicBezTo>
                  <a:cubicBezTo>
                    <a:pt x="580" y="167"/>
                    <a:pt x="582" y="176"/>
                    <a:pt x="583" y="185"/>
                  </a:cubicBezTo>
                  <a:cubicBezTo>
                    <a:pt x="583" y="193"/>
                    <a:pt x="587" y="199"/>
                    <a:pt x="596" y="199"/>
                  </a:cubicBezTo>
                  <a:cubicBezTo>
                    <a:pt x="609" y="199"/>
                    <a:pt x="611" y="207"/>
                    <a:pt x="611" y="218"/>
                  </a:cubicBezTo>
                  <a:cubicBezTo>
                    <a:pt x="611" y="245"/>
                    <a:pt x="611" y="271"/>
                    <a:pt x="611" y="298"/>
                  </a:cubicBezTo>
                  <a:cubicBezTo>
                    <a:pt x="611" y="298"/>
                    <a:pt x="611" y="298"/>
                    <a:pt x="611" y="2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3" name="Freeform 83">
              <a:extLst>
                <a:ext uri="{FF2B5EF4-FFF2-40B4-BE49-F238E27FC236}">
                  <a16:creationId xmlns:a16="http://schemas.microsoft.com/office/drawing/2014/main" id="{5FB15754-0B87-3328-0DC9-2FFAFF30644B}"/>
                </a:ext>
              </a:extLst>
            </p:cNvPr>
            <p:cNvSpPr>
              <a:spLocks/>
            </p:cNvSpPr>
            <p:nvPr/>
          </p:nvSpPr>
          <p:spPr bwMode="auto">
            <a:xfrm>
              <a:off x="9334500" y="5543551"/>
              <a:ext cx="150812" cy="122238"/>
            </a:xfrm>
            <a:custGeom>
              <a:avLst/>
              <a:gdLst>
                <a:gd name="T0" fmla="*/ 68 w 713"/>
                <a:gd name="T1" fmla="*/ 456 h 583"/>
                <a:gd name="T2" fmla="*/ 64 w 713"/>
                <a:gd name="T3" fmla="*/ 249 h 583"/>
                <a:gd name="T4" fmla="*/ 46 w 713"/>
                <a:gd name="T5" fmla="*/ 227 h 583"/>
                <a:gd name="T6" fmla="*/ 33 w 713"/>
                <a:gd name="T7" fmla="*/ 211 h 583"/>
                <a:gd name="T8" fmla="*/ 32 w 713"/>
                <a:gd name="T9" fmla="*/ 185 h 583"/>
                <a:gd name="T10" fmla="*/ 13 w 713"/>
                <a:gd name="T11" fmla="*/ 162 h 583"/>
                <a:gd name="T12" fmla="*/ 0 w 713"/>
                <a:gd name="T13" fmla="*/ 145 h 583"/>
                <a:gd name="T14" fmla="*/ 12 w 713"/>
                <a:gd name="T15" fmla="*/ 128 h 583"/>
                <a:gd name="T16" fmla="*/ 33 w 713"/>
                <a:gd name="T17" fmla="*/ 108 h 583"/>
                <a:gd name="T18" fmla="*/ 46 w 713"/>
                <a:gd name="T19" fmla="*/ 96 h 583"/>
                <a:gd name="T20" fmla="*/ 71 w 713"/>
                <a:gd name="T21" fmla="*/ 95 h 583"/>
                <a:gd name="T22" fmla="*/ 96 w 713"/>
                <a:gd name="T23" fmla="*/ 75 h 583"/>
                <a:gd name="T24" fmla="*/ 110 w 713"/>
                <a:gd name="T25" fmla="*/ 64 h 583"/>
                <a:gd name="T26" fmla="*/ 144 w 713"/>
                <a:gd name="T27" fmla="*/ 62 h 583"/>
                <a:gd name="T28" fmla="*/ 160 w 713"/>
                <a:gd name="T29" fmla="*/ 49 h 583"/>
                <a:gd name="T30" fmla="*/ 180 w 713"/>
                <a:gd name="T31" fmla="*/ 32 h 583"/>
                <a:gd name="T32" fmla="*/ 294 w 713"/>
                <a:gd name="T33" fmla="*/ 30 h 583"/>
                <a:gd name="T34" fmla="*/ 325 w 713"/>
                <a:gd name="T35" fmla="*/ 9 h 583"/>
                <a:gd name="T36" fmla="*/ 340 w 713"/>
                <a:gd name="T37" fmla="*/ 0 h 583"/>
                <a:gd name="T38" fmla="*/ 436 w 713"/>
                <a:gd name="T39" fmla="*/ 0 h 583"/>
                <a:gd name="T40" fmla="*/ 452 w 713"/>
                <a:gd name="T41" fmla="*/ 13 h 583"/>
                <a:gd name="T42" fmla="*/ 473 w 713"/>
                <a:gd name="T43" fmla="*/ 31 h 583"/>
                <a:gd name="T44" fmla="*/ 591 w 713"/>
                <a:gd name="T45" fmla="*/ 32 h 583"/>
                <a:gd name="T46" fmla="*/ 613 w 713"/>
                <a:gd name="T47" fmla="*/ 50 h 583"/>
                <a:gd name="T48" fmla="*/ 627 w 713"/>
                <a:gd name="T49" fmla="*/ 63 h 583"/>
                <a:gd name="T50" fmla="*/ 657 w 713"/>
                <a:gd name="T51" fmla="*/ 63 h 583"/>
                <a:gd name="T52" fmla="*/ 680 w 713"/>
                <a:gd name="T53" fmla="*/ 82 h 583"/>
                <a:gd name="T54" fmla="*/ 697 w 713"/>
                <a:gd name="T55" fmla="*/ 95 h 583"/>
                <a:gd name="T56" fmla="*/ 712 w 713"/>
                <a:gd name="T57" fmla="*/ 112 h 583"/>
                <a:gd name="T58" fmla="*/ 706 w 713"/>
                <a:gd name="T59" fmla="*/ 148 h 583"/>
                <a:gd name="T60" fmla="*/ 665 w 713"/>
                <a:gd name="T61" fmla="*/ 189 h 583"/>
                <a:gd name="T62" fmla="*/ 644 w 713"/>
                <a:gd name="T63" fmla="*/ 214 h 583"/>
                <a:gd name="T64" fmla="*/ 629 w 713"/>
                <a:gd name="T65" fmla="*/ 226 h 583"/>
                <a:gd name="T66" fmla="*/ 609 w 713"/>
                <a:gd name="T67" fmla="*/ 254 h 583"/>
                <a:gd name="T68" fmla="*/ 580 w 713"/>
                <a:gd name="T69" fmla="*/ 274 h 583"/>
                <a:gd name="T70" fmla="*/ 565 w 713"/>
                <a:gd name="T71" fmla="*/ 291 h 583"/>
                <a:gd name="T72" fmla="*/ 548 w 713"/>
                <a:gd name="T73" fmla="*/ 307 h 583"/>
                <a:gd name="T74" fmla="*/ 532 w 713"/>
                <a:gd name="T75" fmla="*/ 323 h 583"/>
                <a:gd name="T76" fmla="*/ 516 w 713"/>
                <a:gd name="T77" fmla="*/ 338 h 583"/>
                <a:gd name="T78" fmla="*/ 499 w 713"/>
                <a:gd name="T79" fmla="*/ 355 h 583"/>
                <a:gd name="T80" fmla="*/ 483 w 713"/>
                <a:gd name="T81" fmla="*/ 371 h 583"/>
                <a:gd name="T82" fmla="*/ 467 w 713"/>
                <a:gd name="T83" fmla="*/ 386 h 583"/>
                <a:gd name="T84" fmla="*/ 436 w 713"/>
                <a:gd name="T85" fmla="*/ 391 h 583"/>
                <a:gd name="T86" fmla="*/ 420 w 713"/>
                <a:gd name="T87" fmla="*/ 405 h 583"/>
                <a:gd name="T88" fmla="*/ 419 w 713"/>
                <a:gd name="T89" fmla="*/ 414 h 583"/>
                <a:gd name="T90" fmla="*/ 364 w 713"/>
                <a:gd name="T91" fmla="*/ 452 h 583"/>
                <a:gd name="T92" fmla="*/ 338 w 713"/>
                <a:gd name="T93" fmla="*/ 455 h 583"/>
                <a:gd name="T94" fmla="*/ 324 w 713"/>
                <a:gd name="T95" fmla="*/ 469 h 583"/>
                <a:gd name="T96" fmla="*/ 304 w 713"/>
                <a:gd name="T97" fmla="*/ 487 h 583"/>
                <a:gd name="T98" fmla="*/ 288 w 713"/>
                <a:gd name="T99" fmla="*/ 502 h 583"/>
                <a:gd name="T100" fmla="*/ 270 w 713"/>
                <a:gd name="T101" fmla="*/ 518 h 583"/>
                <a:gd name="T102" fmla="*/ 244 w 713"/>
                <a:gd name="T103" fmla="*/ 519 h 583"/>
                <a:gd name="T104" fmla="*/ 224 w 713"/>
                <a:gd name="T105" fmla="*/ 536 h 583"/>
                <a:gd name="T106" fmla="*/ 208 w 713"/>
                <a:gd name="T107" fmla="*/ 550 h 583"/>
                <a:gd name="T108" fmla="*/ 182 w 713"/>
                <a:gd name="T109" fmla="*/ 551 h 583"/>
                <a:gd name="T110" fmla="*/ 159 w 713"/>
                <a:gd name="T111" fmla="*/ 570 h 583"/>
                <a:gd name="T112" fmla="*/ 144 w 713"/>
                <a:gd name="T113" fmla="*/ 582 h 583"/>
                <a:gd name="T114" fmla="*/ 87 w 713"/>
                <a:gd name="T115" fmla="*/ 583 h 583"/>
                <a:gd name="T116" fmla="*/ 68 w 713"/>
                <a:gd name="T117" fmla="*/ 563 h 583"/>
                <a:gd name="T118" fmla="*/ 68 w 713"/>
                <a:gd name="T119" fmla="*/ 456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3" h="583">
                  <a:moveTo>
                    <a:pt x="68" y="456"/>
                  </a:moveTo>
                  <a:cubicBezTo>
                    <a:pt x="70" y="393"/>
                    <a:pt x="64" y="321"/>
                    <a:pt x="64" y="249"/>
                  </a:cubicBezTo>
                  <a:cubicBezTo>
                    <a:pt x="64" y="237"/>
                    <a:pt x="62" y="227"/>
                    <a:pt x="46" y="227"/>
                  </a:cubicBezTo>
                  <a:cubicBezTo>
                    <a:pt x="35" y="227"/>
                    <a:pt x="33" y="220"/>
                    <a:pt x="33" y="211"/>
                  </a:cubicBezTo>
                  <a:cubicBezTo>
                    <a:pt x="33" y="202"/>
                    <a:pt x="32" y="194"/>
                    <a:pt x="32" y="185"/>
                  </a:cubicBezTo>
                  <a:cubicBezTo>
                    <a:pt x="33" y="171"/>
                    <a:pt x="29" y="162"/>
                    <a:pt x="13" y="162"/>
                  </a:cubicBezTo>
                  <a:cubicBezTo>
                    <a:pt x="2" y="162"/>
                    <a:pt x="0" y="154"/>
                    <a:pt x="0" y="145"/>
                  </a:cubicBezTo>
                  <a:cubicBezTo>
                    <a:pt x="1" y="137"/>
                    <a:pt x="1" y="128"/>
                    <a:pt x="12" y="128"/>
                  </a:cubicBezTo>
                  <a:cubicBezTo>
                    <a:pt x="26" y="128"/>
                    <a:pt x="33" y="123"/>
                    <a:pt x="33" y="108"/>
                  </a:cubicBezTo>
                  <a:cubicBezTo>
                    <a:pt x="32" y="100"/>
                    <a:pt x="38" y="97"/>
                    <a:pt x="46" y="96"/>
                  </a:cubicBezTo>
                  <a:cubicBezTo>
                    <a:pt x="54" y="96"/>
                    <a:pt x="63" y="95"/>
                    <a:pt x="71" y="95"/>
                  </a:cubicBezTo>
                  <a:cubicBezTo>
                    <a:pt x="86" y="95"/>
                    <a:pt x="97" y="93"/>
                    <a:pt x="96" y="75"/>
                  </a:cubicBezTo>
                  <a:cubicBezTo>
                    <a:pt x="96" y="67"/>
                    <a:pt x="102" y="64"/>
                    <a:pt x="110" y="64"/>
                  </a:cubicBezTo>
                  <a:cubicBezTo>
                    <a:pt x="121" y="63"/>
                    <a:pt x="132" y="63"/>
                    <a:pt x="144" y="62"/>
                  </a:cubicBezTo>
                  <a:cubicBezTo>
                    <a:pt x="153" y="62"/>
                    <a:pt x="160" y="59"/>
                    <a:pt x="160" y="49"/>
                  </a:cubicBezTo>
                  <a:cubicBezTo>
                    <a:pt x="159" y="34"/>
                    <a:pt x="168" y="32"/>
                    <a:pt x="180" y="32"/>
                  </a:cubicBezTo>
                  <a:cubicBezTo>
                    <a:pt x="218" y="32"/>
                    <a:pt x="256" y="31"/>
                    <a:pt x="294" y="30"/>
                  </a:cubicBezTo>
                  <a:cubicBezTo>
                    <a:pt x="309" y="30"/>
                    <a:pt x="322" y="28"/>
                    <a:pt x="325" y="9"/>
                  </a:cubicBezTo>
                  <a:cubicBezTo>
                    <a:pt x="326" y="1"/>
                    <a:pt x="333" y="0"/>
                    <a:pt x="340" y="0"/>
                  </a:cubicBezTo>
                  <a:cubicBezTo>
                    <a:pt x="372" y="0"/>
                    <a:pt x="404" y="0"/>
                    <a:pt x="436" y="0"/>
                  </a:cubicBezTo>
                  <a:cubicBezTo>
                    <a:pt x="445" y="0"/>
                    <a:pt x="452" y="3"/>
                    <a:pt x="452" y="13"/>
                  </a:cubicBezTo>
                  <a:cubicBezTo>
                    <a:pt x="452" y="28"/>
                    <a:pt x="460" y="30"/>
                    <a:pt x="473" y="31"/>
                  </a:cubicBezTo>
                  <a:cubicBezTo>
                    <a:pt x="512" y="31"/>
                    <a:pt x="551" y="32"/>
                    <a:pt x="591" y="32"/>
                  </a:cubicBezTo>
                  <a:cubicBezTo>
                    <a:pt x="604" y="32"/>
                    <a:pt x="613" y="34"/>
                    <a:pt x="613" y="50"/>
                  </a:cubicBezTo>
                  <a:cubicBezTo>
                    <a:pt x="613" y="59"/>
                    <a:pt x="619" y="62"/>
                    <a:pt x="627" y="63"/>
                  </a:cubicBezTo>
                  <a:cubicBezTo>
                    <a:pt x="637" y="63"/>
                    <a:pt x="647" y="64"/>
                    <a:pt x="657" y="63"/>
                  </a:cubicBezTo>
                  <a:cubicBezTo>
                    <a:pt x="671" y="63"/>
                    <a:pt x="681" y="65"/>
                    <a:pt x="680" y="82"/>
                  </a:cubicBezTo>
                  <a:cubicBezTo>
                    <a:pt x="680" y="93"/>
                    <a:pt x="688" y="95"/>
                    <a:pt x="697" y="95"/>
                  </a:cubicBezTo>
                  <a:cubicBezTo>
                    <a:pt x="708" y="95"/>
                    <a:pt x="713" y="101"/>
                    <a:pt x="712" y="112"/>
                  </a:cubicBezTo>
                  <a:cubicBezTo>
                    <a:pt x="711" y="124"/>
                    <a:pt x="713" y="143"/>
                    <a:pt x="706" y="148"/>
                  </a:cubicBezTo>
                  <a:cubicBezTo>
                    <a:pt x="690" y="160"/>
                    <a:pt x="679" y="177"/>
                    <a:pt x="665" y="189"/>
                  </a:cubicBezTo>
                  <a:cubicBezTo>
                    <a:pt x="656" y="197"/>
                    <a:pt x="643" y="198"/>
                    <a:pt x="644" y="214"/>
                  </a:cubicBezTo>
                  <a:cubicBezTo>
                    <a:pt x="644" y="224"/>
                    <a:pt x="637" y="227"/>
                    <a:pt x="629" y="226"/>
                  </a:cubicBezTo>
                  <a:cubicBezTo>
                    <a:pt x="607" y="225"/>
                    <a:pt x="616" y="246"/>
                    <a:pt x="609" y="254"/>
                  </a:cubicBezTo>
                  <a:cubicBezTo>
                    <a:pt x="601" y="263"/>
                    <a:pt x="579" y="252"/>
                    <a:pt x="580" y="274"/>
                  </a:cubicBezTo>
                  <a:cubicBezTo>
                    <a:pt x="581" y="285"/>
                    <a:pt x="576" y="291"/>
                    <a:pt x="565" y="291"/>
                  </a:cubicBezTo>
                  <a:cubicBezTo>
                    <a:pt x="553" y="290"/>
                    <a:pt x="548" y="295"/>
                    <a:pt x="548" y="307"/>
                  </a:cubicBezTo>
                  <a:cubicBezTo>
                    <a:pt x="548" y="318"/>
                    <a:pt x="543" y="323"/>
                    <a:pt x="532" y="323"/>
                  </a:cubicBezTo>
                  <a:cubicBezTo>
                    <a:pt x="521" y="322"/>
                    <a:pt x="515" y="327"/>
                    <a:pt x="516" y="338"/>
                  </a:cubicBezTo>
                  <a:cubicBezTo>
                    <a:pt x="516" y="350"/>
                    <a:pt x="510" y="355"/>
                    <a:pt x="499" y="355"/>
                  </a:cubicBezTo>
                  <a:cubicBezTo>
                    <a:pt x="488" y="354"/>
                    <a:pt x="483" y="360"/>
                    <a:pt x="483" y="371"/>
                  </a:cubicBezTo>
                  <a:cubicBezTo>
                    <a:pt x="483" y="382"/>
                    <a:pt x="478" y="386"/>
                    <a:pt x="467" y="386"/>
                  </a:cubicBezTo>
                  <a:cubicBezTo>
                    <a:pt x="457" y="387"/>
                    <a:pt x="446" y="390"/>
                    <a:pt x="436" y="391"/>
                  </a:cubicBezTo>
                  <a:cubicBezTo>
                    <a:pt x="426" y="391"/>
                    <a:pt x="421" y="395"/>
                    <a:pt x="420" y="405"/>
                  </a:cubicBezTo>
                  <a:cubicBezTo>
                    <a:pt x="420" y="408"/>
                    <a:pt x="419" y="414"/>
                    <a:pt x="419" y="414"/>
                  </a:cubicBezTo>
                  <a:cubicBezTo>
                    <a:pt x="392" y="414"/>
                    <a:pt x="391" y="452"/>
                    <a:pt x="364" y="452"/>
                  </a:cubicBezTo>
                  <a:cubicBezTo>
                    <a:pt x="355" y="452"/>
                    <a:pt x="347" y="455"/>
                    <a:pt x="338" y="455"/>
                  </a:cubicBezTo>
                  <a:cubicBezTo>
                    <a:pt x="329" y="456"/>
                    <a:pt x="324" y="460"/>
                    <a:pt x="324" y="469"/>
                  </a:cubicBezTo>
                  <a:cubicBezTo>
                    <a:pt x="325" y="483"/>
                    <a:pt x="317" y="487"/>
                    <a:pt x="304" y="487"/>
                  </a:cubicBezTo>
                  <a:cubicBezTo>
                    <a:pt x="293" y="486"/>
                    <a:pt x="288" y="491"/>
                    <a:pt x="288" y="502"/>
                  </a:cubicBezTo>
                  <a:cubicBezTo>
                    <a:pt x="288" y="514"/>
                    <a:pt x="282" y="518"/>
                    <a:pt x="270" y="518"/>
                  </a:cubicBezTo>
                  <a:cubicBezTo>
                    <a:pt x="262" y="518"/>
                    <a:pt x="253" y="519"/>
                    <a:pt x="244" y="519"/>
                  </a:cubicBezTo>
                  <a:cubicBezTo>
                    <a:pt x="232" y="518"/>
                    <a:pt x="223" y="521"/>
                    <a:pt x="224" y="536"/>
                  </a:cubicBezTo>
                  <a:cubicBezTo>
                    <a:pt x="224" y="546"/>
                    <a:pt x="218" y="550"/>
                    <a:pt x="208" y="550"/>
                  </a:cubicBezTo>
                  <a:cubicBezTo>
                    <a:pt x="200" y="550"/>
                    <a:pt x="191" y="551"/>
                    <a:pt x="182" y="551"/>
                  </a:cubicBezTo>
                  <a:cubicBezTo>
                    <a:pt x="169" y="550"/>
                    <a:pt x="159" y="553"/>
                    <a:pt x="159" y="570"/>
                  </a:cubicBezTo>
                  <a:cubicBezTo>
                    <a:pt x="159" y="579"/>
                    <a:pt x="153" y="582"/>
                    <a:pt x="144" y="582"/>
                  </a:cubicBezTo>
                  <a:cubicBezTo>
                    <a:pt x="125" y="582"/>
                    <a:pt x="106" y="582"/>
                    <a:pt x="87" y="583"/>
                  </a:cubicBezTo>
                  <a:cubicBezTo>
                    <a:pt x="72" y="583"/>
                    <a:pt x="68" y="576"/>
                    <a:pt x="68" y="563"/>
                  </a:cubicBezTo>
                  <a:cubicBezTo>
                    <a:pt x="68" y="530"/>
                    <a:pt x="68" y="498"/>
                    <a:pt x="68" y="4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4" name="Freeform 84">
              <a:extLst>
                <a:ext uri="{FF2B5EF4-FFF2-40B4-BE49-F238E27FC236}">
                  <a16:creationId xmlns:a16="http://schemas.microsoft.com/office/drawing/2014/main" id="{A6FAEB78-398E-7D0C-C78C-819C16AF7C75}"/>
                </a:ext>
              </a:extLst>
            </p:cNvPr>
            <p:cNvSpPr>
              <a:spLocks/>
            </p:cNvSpPr>
            <p:nvPr/>
          </p:nvSpPr>
          <p:spPr bwMode="auto">
            <a:xfrm>
              <a:off x="8920163" y="5275263"/>
              <a:ext cx="107950" cy="123825"/>
            </a:xfrm>
            <a:custGeom>
              <a:avLst/>
              <a:gdLst>
                <a:gd name="T0" fmla="*/ 219 w 512"/>
                <a:gd name="T1" fmla="*/ 587 h 589"/>
                <a:gd name="T2" fmla="*/ 113 w 512"/>
                <a:gd name="T3" fmla="*/ 584 h 589"/>
                <a:gd name="T4" fmla="*/ 97 w 512"/>
                <a:gd name="T5" fmla="*/ 575 h 589"/>
                <a:gd name="T6" fmla="*/ 70 w 512"/>
                <a:gd name="T7" fmla="*/ 555 h 589"/>
                <a:gd name="T8" fmla="*/ 46 w 512"/>
                <a:gd name="T9" fmla="*/ 552 h 589"/>
                <a:gd name="T10" fmla="*/ 29 w 512"/>
                <a:gd name="T11" fmla="*/ 536 h 589"/>
                <a:gd name="T12" fmla="*/ 13 w 512"/>
                <a:gd name="T13" fmla="*/ 519 h 589"/>
                <a:gd name="T14" fmla="*/ 0 w 512"/>
                <a:gd name="T15" fmla="*/ 503 h 589"/>
                <a:gd name="T16" fmla="*/ 0 w 512"/>
                <a:gd name="T17" fmla="*/ 377 h 589"/>
                <a:gd name="T18" fmla="*/ 12 w 512"/>
                <a:gd name="T19" fmla="*/ 361 h 589"/>
                <a:gd name="T20" fmla="*/ 28 w 512"/>
                <a:gd name="T21" fmla="*/ 339 h 589"/>
                <a:gd name="T22" fmla="*/ 29 w 512"/>
                <a:gd name="T23" fmla="*/ 185 h 589"/>
                <a:gd name="T24" fmla="*/ 32 w 512"/>
                <a:gd name="T25" fmla="*/ 147 h 589"/>
                <a:gd name="T26" fmla="*/ 44 w 512"/>
                <a:gd name="T27" fmla="*/ 132 h 589"/>
                <a:gd name="T28" fmla="*/ 60 w 512"/>
                <a:gd name="T29" fmla="*/ 112 h 589"/>
                <a:gd name="T30" fmla="*/ 63 w 512"/>
                <a:gd name="T31" fmla="*/ 64 h 589"/>
                <a:gd name="T32" fmla="*/ 86 w 512"/>
                <a:gd name="T33" fmla="*/ 30 h 589"/>
                <a:gd name="T34" fmla="*/ 92 w 512"/>
                <a:gd name="T35" fmla="*/ 21 h 589"/>
                <a:gd name="T36" fmla="*/ 118 w 512"/>
                <a:gd name="T37" fmla="*/ 0 h 589"/>
                <a:gd name="T38" fmla="*/ 327 w 512"/>
                <a:gd name="T39" fmla="*/ 1 h 589"/>
                <a:gd name="T40" fmla="*/ 352 w 512"/>
                <a:gd name="T41" fmla="*/ 20 h 589"/>
                <a:gd name="T42" fmla="*/ 367 w 512"/>
                <a:gd name="T43" fmla="*/ 32 h 589"/>
                <a:gd name="T44" fmla="*/ 384 w 512"/>
                <a:gd name="T45" fmla="*/ 49 h 589"/>
                <a:gd name="T46" fmla="*/ 401 w 512"/>
                <a:gd name="T47" fmla="*/ 64 h 589"/>
                <a:gd name="T48" fmla="*/ 405 w 512"/>
                <a:gd name="T49" fmla="*/ 64 h 589"/>
                <a:gd name="T50" fmla="*/ 448 w 512"/>
                <a:gd name="T51" fmla="*/ 111 h 589"/>
                <a:gd name="T52" fmla="*/ 466 w 512"/>
                <a:gd name="T53" fmla="*/ 132 h 589"/>
                <a:gd name="T54" fmla="*/ 480 w 512"/>
                <a:gd name="T55" fmla="*/ 147 h 589"/>
                <a:gd name="T56" fmla="*/ 484 w 512"/>
                <a:gd name="T57" fmla="*/ 179 h 589"/>
                <a:gd name="T58" fmla="*/ 499 w 512"/>
                <a:gd name="T59" fmla="*/ 196 h 589"/>
                <a:gd name="T60" fmla="*/ 512 w 512"/>
                <a:gd name="T61" fmla="*/ 212 h 589"/>
                <a:gd name="T62" fmla="*/ 512 w 512"/>
                <a:gd name="T63" fmla="*/ 376 h 589"/>
                <a:gd name="T64" fmla="*/ 498 w 512"/>
                <a:gd name="T65" fmla="*/ 391 h 589"/>
                <a:gd name="T66" fmla="*/ 480 w 512"/>
                <a:gd name="T67" fmla="*/ 412 h 589"/>
                <a:gd name="T68" fmla="*/ 480 w 512"/>
                <a:gd name="T69" fmla="*/ 438 h 589"/>
                <a:gd name="T70" fmla="*/ 464 w 512"/>
                <a:gd name="T71" fmla="*/ 456 h 589"/>
                <a:gd name="T72" fmla="*/ 448 w 512"/>
                <a:gd name="T73" fmla="*/ 471 h 589"/>
                <a:gd name="T74" fmla="*/ 431 w 512"/>
                <a:gd name="T75" fmla="*/ 489 h 589"/>
                <a:gd name="T76" fmla="*/ 416 w 512"/>
                <a:gd name="T77" fmla="*/ 503 h 589"/>
                <a:gd name="T78" fmla="*/ 416 w 512"/>
                <a:gd name="T79" fmla="*/ 507 h 589"/>
                <a:gd name="T80" fmla="*/ 386 w 512"/>
                <a:gd name="T81" fmla="*/ 526 h 589"/>
                <a:gd name="T82" fmla="*/ 364 w 512"/>
                <a:gd name="T83" fmla="*/ 553 h 589"/>
                <a:gd name="T84" fmla="*/ 339 w 512"/>
                <a:gd name="T85" fmla="*/ 556 h 589"/>
                <a:gd name="T86" fmla="*/ 320 w 512"/>
                <a:gd name="T87" fmla="*/ 573 h 589"/>
                <a:gd name="T88" fmla="*/ 303 w 512"/>
                <a:gd name="T89" fmla="*/ 587 h 589"/>
                <a:gd name="T90" fmla="*/ 219 w 512"/>
                <a:gd name="T91" fmla="*/ 587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89">
                  <a:moveTo>
                    <a:pt x="219" y="587"/>
                  </a:moveTo>
                  <a:cubicBezTo>
                    <a:pt x="184" y="587"/>
                    <a:pt x="148" y="589"/>
                    <a:pt x="113" y="584"/>
                  </a:cubicBezTo>
                  <a:cubicBezTo>
                    <a:pt x="106" y="583"/>
                    <a:pt x="98" y="584"/>
                    <a:pt x="97" y="575"/>
                  </a:cubicBezTo>
                  <a:cubicBezTo>
                    <a:pt x="96" y="557"/>
                    <a:pt x="85" y="555"/>
                    <a:pt x="70" y="555"/>
                  </a:cubicBezTo>
                  <a:cubicBezTo>
                    <a:pt x="62" y="555"/>
                    <a:pt x="54" y="552"/>
                    <a:pt x="46" y="552"/>
                  </a:cubicBezTo>
                  <a:cubicBezTo>
                    <a:pt x="35" y="552"/>
                    <a:pt x="28" y="548"/>
                    <a:pt x="29" y="536"/>
                  </a:cubicBezTo>
                  <a:cubicBezTo>
                    <a:pt x="29" y="525"/>
                    <a:pt x="24" y="520"/>
                    <a:pt x="13" y="519"/>
                  </a:cubicBezTo>
                  <a:cubicBezTo>
                    <a:pt x="3" y="519"/>
                    <a:pt x="0" y="512"/>
                    <a:pt x="0" y="503"/>
                  </a:cubicBezTo>
                  <a:cubicBezTo>
                    <a:pt x="0" y="461"/>
                    <a:pt x="0" y="419"/>
                    <a:pt x="0" y="377"/>
                  </a:cubicBezTo>
                  <a:cubicBezTo>
                    <a:pt x="0" y="369"/>
                    <a:pt x="2" y="361"/>
                    <a:pt x="12" y="361"/>
                  </a:cubicBezTo>
                  <a:cubicBezTo>
                    <a:pt x="27" y="360"/>
                    <a:pt x="28" y="350"/>
                    <a:pt x="28" y="339"/>
                  </a:cubicBezTo>
                  <a:cubicBezTo>
                    <a:pt x="28" y="287"/>
                    <a:pt x="29" y="236"/>
                    <a:pt x="29" y="185"/>
                  </a:cubicBezTo>
                  <a:cubicBezTo>
                    <a:pt x="29" y="172"/>
                    <a:pt x="31" y="159"/>
                    <a:pt x="32" y="147"/>
                  </a:cubicBezTo>
                  <a:cubicBezTo>
                    <a:pt x="32" y="138"/>
                    <a:pt x="35" y="132"/>
                    <a:pt x="44" y="132"/>
                  </a:cubicBezTo>
                  <a:cubicBezTo>
                    <a:pt x="58" y="132"/>
                    <a:pt x="60" y="123"/>
                    <a:pt x="60" y="112"/>
                  </a:cubicBezTo>
                  <a:cubicBezTo>
                    <a:pt x="61" y="96"/>
                    <a:pt x="62" y="80"/>
                    <a:pt x="63" y="64"/>
                  </a:cubicBezTo>
                  <a:cubicBezTo>
                    <a:pt x="64" y="48"/>
                    <a:pt x="61" y="31"/>
                    <a:pt x="86" y="30"/>
                  </a:cubicBezTo>
                  <a:cubicBezTo>
                    <a:pt x="90" y="30"/>
                    <a:pt x="92" y="25"/>
                    <a:pt x="92" y="21"/>
                  </a:cubicBezTo>
                  <a:cubicBezTo>
                    <a:pt x="91" y="1"/>
                    <a:pt x="103" y="0"/>
                    <a:pt x="118" y="0"/>
                  </a:cubicBezTo>
                  <a:cubicBezTo>
                    <a:pt x="188" y="1"/>
                    <a:pt x="258" y="1"/>
                    <a:pt x="327" y="1"/>
                  </a:cubicBezTo>
                  <a:cubicBezTo>
                    <a:pt x="342" y="1"/>
                    <a:pt x="353" y="2"/>
                    <a:pt x="352" y="20"/>
                  </a:cubicBezTo>
                  <a:cubicBezTo>
                    <a:pt x="351" y="30"/>
                    <a:pt x="359" y="33"/>
                    <a:pt x="367" y="32"/>
                  </a:cubicBezTo>
                  <a:cubicBezTo>
                    <a:pt x="378" y="32"/>
                    <a:pt x="385" y="37"/>
                    <a:pt x="384" y="49"/>
                  </a:cubicBezTo>
                  <a:cubicBezTo>
                    <a:pt x="384" y="60"/>
                    <a:pt x="390" y="64"/>
                    <a:pt x="401" y="64"/>
                  </a:cubicBezTo>
                  <a:cubicBezTo>
                    <a:pt x="402" y="64"/>
                    <a:pt x="403" y="64"/>
                    <a:pt x="405" y="64"/>
                  </a:cubicBezTo>
                  <a:cubicBezTo>
                    <a:pt x="446" y="69"/>
                    <a:pt x="446" y="69"/>
                    <a:pt x="448" y="111"/>
                  </a:cubicBezTo>
                  <a:cubicBezTo>
                    <a:pt x="449" y="123"/>
                    <a:pt x="452" y="132"/>
                    <a:pt x="466" y="132"/>
                  </a:cubicBezTo>
                  <a:cubicBezTo>
                    <a:pt x="476" y="132"/>
                    <a:pt x="479" y="138"/>
                    <a:pt x="480" y="147"/>
                  </a:cubicBezTo>
                  <a:cubicBezTo>
                    <a:pt x="481" y="158"/>
                    <a:pt x="483" y="168"/>
                    <a:pt x="484" y="179"/>
                  </a:cubicBezTo>
                  <a:cubicBezTo>
                    <a:pt x="484" y="189"/>
                    <a:pt x="488" y="196"/>
                    <a:pt x="499" y="196"/>
                  </a:cubicBezTo>
                  <a:cubicBezTo>
                    <a:pt x="509" y="196"/>
                    <a:pt x="512" y="203"/>
                    <a:pt x="512" y="212"/>
                  </a:cubicBezTo>
                  <a:cubicBezTo>
                    <a:pt x="512" y="267"/>
                    <a:pt x="512" y="321"/>
                    <a:pt x="512" y="376"/>
                  </a:cubicBezTo>
                  <a:cubicBezTo>
                    <a:pt x="512" y="385"/>
                    <a:pt x="508" y="392"/>
                    <a:pt x="498" y="391"/>
                  </a:cubicBezTo>
                  <a:cubicBezTo>
                    <a:pt x="483" y="391"/>
                    <a:pt x="480" y="399"/>
                    <a:pt x="480" y="412"/>
                  </a:cubicBezTo>
                  <a:cubicBezTo>
                    <a:pt x="481" y="420"/>
                    <a:pt x="479" y="429"/>
                    <a:pt x="480" y="438"/>
                  </a:cubicBezTo>
                  <a:cubicBezTo>
                    <a:pt x="480" y="449"/>
                    <a:pt x="476" y="456"/>
                    <a:pt x="464" y="456"/>
                  </a:cubicBezTo>
                  <a:cubicBezTo>
                    <a:pt x="453" y="455"/>
                    <a:pt x="448" y="461"/>
                    <a:pt x="448" y="471"/>
                  </a:cubicBezTo>
                  <a:cubicBezTo>
                    <a:pt x="449" y="483"/>
                    <a:pt x="443" y="489"/>
                    <a:pt x="431" y="489"/>
                  </a:cubicBezTo>
                  <a:cubicBezTo>
                    <a:pt x="422" y="488"/>
                    <a:pt x="417" y="493"/>
                    <a:pt x="416" y="503"/>
                  </a:cubicBezTo>
                  <a:cubicBezTo>
                    <a:pt x="416" y="504"/>
                    <a:pt x="416" y="506"/>
                    <a:pt x="416" y="507"/>
                  </a:cubicBezTo>
                  <a:cubicBezTo>
                    <a:pt x="415" y="528"/>
                    <a:pt x="392" y="514"/>
                    <a:pt x="386" y="526"/>
                  </a:cubicBezTo>
                  <a:cubicBezTo>
                    <a:pt x="382" y="538"/>
                    <a:pt x="385" y="554"/>
                    <a:pt x="364" y="553"/>
                  </a:cubicBezTo>
                  <a:cubicBezTo>
                    <a:pt x="356" y="552"/>
                    <a:pt x="347" y="555"/>
                    <a:pt x="339" y="556"/>
                  </a:cubicBezTo>
                  <a:cubicBezTo>
                    <a:pt x="327" y="556"/>
                    <a:pt x="320" y="560"/>
                    <a:pt x="320" y="573"/>
                  </a:cubicBezTo>
                  <a:cubicBezTo>
                    <a:pt x="320" y="585"/>
                    <a:pt x="312" y="587"/>
                    <a:pt x="303" y="587"/>
                  </a:cubicBezTo>
                  <a:cubicBezTo>
                    <a:pt x="275" y="587"/>
                    <a:pt x="247" y="587"/>
                    <a:pt x="219" y="5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5" name="Freeform 85">
              <a:extLst>
                <a:ext uri="{FF2B5EF4-FFF2-40B4-BE49-F238E27FC236}">
                  <a16:creationId xmlns:a16="http://schemas.microsoft.com/office/drawing/2014/main" id="{C8CA4EB4-7C8B-C1EF-3766-B78242222362}"/>
                </a:ext>
              </a:extLst>
            </p:cNvPr>
            <p:cNvSpPr>
              <a:spLocks/>
            </p:cNvSpPr>
            <p:nvPr/>
          </p:nvSpPr>
          <p:spPr bwMode="auto">
            <a:xfrm>
              <a:off x="9450388" y="5275263"/>
              <a:ext cx="103187" cy="123825"/>
            </a:xfrm>
            <a:custGeom>
              <a:avLst/>
              <a:gdLst>
                <a:gd name="T0" fmla="*/ 294 w 490"/>
                <a:gd name="T1" fmla="*/ 1 h 591"/>
                <a:gd name="T2" fmla="*/ 402 w 490"/>
                <a:gd name="T3" fmla="*/ 1 h 591"/>
                <a:gd name="T4" fmla="*/ 423 w 490"/>
                <a:gd name="T5" fmla="*/ 20 h 591"/>
                <a:gd name="T6" fmla="*/ 426 w 490"/>
                <a:gd name="T7" fmla="*/ 50 h 591"/>
                <a:gd name="T8" fmla="*/ 438 w 490"/>
                <a:gd name="T9" fmla="*/ 63 h 591"/>
                <a:gd name="T10" fmla="*/ 454 w 490"/>
                <a:gd name="T11" fmla="*/ 85 h 591"/>
                <a:gd name="T12" fmla="*/ 456 w 490"/>
                <a:gd name="T13" fmla="*/ 135 h 591"/>
                <a:gd name="T14" fmla="*/ 478 w 490"/>
                <a:gd name="T15" fmla="*/ 166 h 591"/>
                <a:gd name="T16" fmla="*/ 485 w 490"/>
                <a:gd name="T17" fmla="*/ 181 h 591"/>
                <a:gd name="T18" fmla="*/ 486 w 490"/>
                <a:gd name="T19" fmla="*/ 227 h 591"/>
                <a:gd name="T20" fmla="*/ 490 w 490"/>
                <a:gd name="T21" fmla="*/ 499 h 591"/>
                <a:gd name="T22" fmla="*/ 470 w 490"/>
                <a:gd name="T23" fmla="*/ 524 h 591"/>
                <a:gd name="T24" fmla="*/ 458 w 490"/>
                <a:gd name="T25" fmla="*/ 536 h 591"/>
                <a:gd name="T26" fmla="*/ 437 w 490"/>
                <a:gd name="T27" fmla="*/ 553 h 591"/>
                <a:gd name="T28" fmla="*/ 409 w 490"/>
                <a:gd name="T29" fmla="*/ 556 h 591"/>
                <a:gd name="T30" fmla="*/ 394 w 490"/>
                <a:gd name="T31" fmla="*/ 571 h 591"/>
                <a:gd name="T32" fmla="*/ 376 w 490"/>
                <a:gd name="T33" fmla="*/ 587 h 591"/>
                <a:gd name="T34" fmla="*/ 184 w 490"/>
                <a:gd name="T35" fmla="*/ 584 h 591"/>
                <a:gd name="T36" fmla="*/ 168 w 490"/>
                <a:gd name="T37" fmla="*/ 575 h 591"/>
                <a:gd name="T38" fmla="*/ 141 w 490"/>
                <a:gd name="T39" fmla="*/ 554 h 591"/>
                <a:gd name="T40" fmla="*/ 117 w 490"/>
                <a:gd name="T41" fmla="*/ 551 h 591"/>
                <a:gd name="T42" fmla="*/ 103 w 490"/>
                <a:gd name="T43" fmla="*/ 538 h 591"/>
                <a:gd name="T44" fmla="*/ 102 w 490"/>
                <a:gd name="T45" fmla="*/ 533 h 591"/>
                <a:gd name="T46" fmla="*/ 54 w 490"/>
                <a:gd name="T47" fmla="*/ 488 h 591"/>
                <a:gd name="T48" fmla="*/ 38 w 490"/>
                <a:gd name="T49" fmla="*/ 470 h 591"/>
                <a:gd name="T50" fmla="*/ 34 w 490"/>
                <a:gd name="T51" fmla="*/ 438 h 591"/>
                <a:gd name="T52" fmla="*/ 21 w 490"/>
                <a:gd name="T53" fmla="*/ 424 h 591"/>
                <a:gd name="T54" fmla="*/ 5 w 490"/>
                <a:gd name="T55" fmla="*/ 407 h 591"/>
                <a:gd name="T56" fmla="*/ 6 w 490"/>
                <a:gd name="T57" fmla="*/ 180 h 591"/>
                <a:gd name="T58" fmla="*/ 15 w 490"/>
                <a:gd name="T59" fmla="*/ 165 h 591"/>
                <a:gd name="T60" fmla="*/ 34 w 490"/>
                <a:gd name="T61" fmla="*/ 140 h 591"/>
                <a:gd name="T62" fmla="*/ 38 w 490"/>
                <a:gd name="T63" fmla="*/ 115 h 591"/>
                <a:gd name="T64" fmla="*/ 51 w 490"/>
                <a:gd name="T65" fmla="*/ 100 h 591"/>
                <a:gd name="T66" fmla="*/ 70 w 490"/>
                <a:gd name="T67" fmla="*/ 82 h 591"/>
                <a:gd name="T68" fmla="*/ 85 w 490"/>
                <a:gd name="T69" fmla="*/ 67 h 591"/>
                <a:gd name="T70" fmla="*/ 100 w 490"/>
                <a:gd name="T71" fmla="*/ 60 h 591"/>
                <a:gd name="T72" fmla="*/ 141 w 490"/>
                <a:gd name="T73" fmla="*/ 33 h 591"/>
                <a:gd name="T74" fmla="*/ 163 w 490"/>
                <a:gd name="T75" fmla="*/ 13 h 591"/>
                <a:gd name="T76" fmla="*/ 182 w 490"/>
                <a:gd name="T77" fmla="*/ 1 h 591"/>
                <a:gd name="T78" fmla="*/ 294 w 490"/>
                <a:gd name="T79" fmla="*/ 1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0" h="591">
                  <a:moveTo>
                    <a:pt x="294" y="1"/>
                  </a:moveTo>
                  <a:cubicBezTo>
                    <a:pt x="330" y="1"/>
                    <a:pt x="366" y="1"/>
                    <a:pt x="402" y="1"/>
                  </a:cubicBezTo>
                  <a:cubicBezTo>
                    <a:pt x="416" y="0"/>
                    <a:pt x="423" y="5"/>
                    <a:pt x="423" y="20"/>
                  </a:cubicBezTo>
                  <a:cubicBezTo>
                    <a:pt x="423" y="30"/>
                    <a:pt x="425" y="40"/>
                    <a:pt x="426" y="50"/>
                  </a:cubicBezTo>
                  <a:cubicBezTo>
                    <a:pt x="427" y="57"/>
                    <a:pt x="430" y="63"/>
                    <a:pt x="438" y="63"/>
                  </a:cubicBezTo>
                  <a:cubicBezTo>
                    <a:pt x="453" y="64"/>
                    <a:pt x="454" y="74"/>
                    <a:pt x="454" y="85"/>
                  </a:cubicBezTo>
                  <a:cubicBezTo>
                    <a:pt x="454" y="102"/>
                    <a:pt x="454" y="119"/>
                    <a:pt x="456" y="135"/>
                  </a:cubicBezTo>
                  <a:cubicBezTo>
                    <a:pt x="459" y="150"/>
                    <a:pt x="457" y="165"/>
                    <a:pt x="478" y="166"/>
                  </a:cubicBezTo>
                  <a:cubicBezTo>
                    <a:pt x="485" y="166"/>
                    <a:pt x="485" y="175"/>
                    <a:pt x="485" y="181"/>
                  </a:cubicBezTo>
                  <a:cubicBezTo>
                    <a:pt x="486" y="196"/>
                    <a:pt x="486" y="212"/>
                    <a:pt x="486" y="227"/>
                  </a:cubicBezTo>
                  <a:cubicBezTo>
                    <a:pt x="487" y="318"/>
                    <a:pt x="488" y="408"/>
                    <a:pt x="490" y="499"/>
                  </a:cubicBezTo>
                  <a:cubicBezTo>
                    <a:pt x="490" y="513"/>
                    <a:pt x="488" y="524"/>
                    <a:pt x="470" y="524"/>
                  </a:cubicBezTo>
                  <a:cubicBezTo>
                    <a:pt x="463" y="524"/>
                    <a:pt x="458" y="529"/>
                    <a:pt x="458" y="536"/>
                  </a:cubicBezTo>
                  <a:cubicBezTo>
                    <a:pt x="458" y="550"/>
                    <a:pt x="449" y="552"/>
                    <a:pt x="437" y="553"/>
                  </a:cubicBezTo>
                  <a:cubicBezTo>
                    <a:pt x="427" y="553"/>
                    <a:pt x="418" y="555"/>
                    <a:pt x="409" y="556"/>
                  </a:cubicBezTo>
                  <a:cubicBezTo>
                    <a:pt x="399" y="557"/>
                    <a:pt x="394" y="561"/>
                    <a:pt x="394" y="571"/>
                  </a:cubicBezTo>
                  <a:cubicBezTo>
                    <a:pt x="393" y="583"/>
                    <a:pt x="387" y="587"/>
                    <a:pt x="376" y="587"/>
                  </a:cubicBezTo>
                  <a:cubicBezTo>
                    <a:pt x="312" y="586"/>
                    <a:pt x="248" y="591"/>
                    <a:pt x="184" y="584"/>
                  </a:cubicBezTo>
                  <a:cubicBezTo>
                    <a:pt x="177" y="583"/>
                    <a:pt x="168" y="584"/>
                    <a:pt x="168" y="575"/>
                  </a:cubicBezTo>
                  <a:cubicBezTo>
                    <a:pt x="167" y="557"/>
                    <a:pt x="155" y="555"/>
                    <a:pt x="141" y="554"/>
                  </a:cubicBezTo>
                  <a:cubicBezTo>
                    <a:pt x="133" y="554"/>
                    <a:pt x="125" y="552"/>
                    <a:pt x="117" y="551"/>
                  </a:cubicBezTo>
                  <a:cubicBezTo>
                    <a:pt x="109" y="551"/>
                    <a:pt x="103" y="548"/>
                    <a:pt x="103" y="538"/>
                  </a:cubicBezTo>
                  <a:cubicBezTo>
                    <a:pt x="103" y="536"/>
                    <a:pt x="103" y="533"/>
                    <a:pt x="102" y="533"/>
                  </a:cubicBezTo>
                  <a:cubicBezTo>
                    <a:pt x="83" y="521"/>
                    <a:pt x="72" y="499"/>
                    <a:pt x="54" y="488"/>
                  </a:cubicBezTo>
                  <a:cubicBezTo>
                    <a:pt x="45" y="483"/>
                    <a:pt x="39" y="481"/>
                    <a:pt x="38" y="470"/>
                  </a:cubicBezTo>
                  <a:cubicBezTo>
                    <a:pt x="38" y="459"/>
                    <a:pt x="35" y="449"/>
                    <a:pt x="34" y="438"/>
                  </a:cubicBezTo>
                  <a:cubicBezTo>
                    <a:pt x="33" y="429"/>
                    <a:pt x="30" y="424"/>
                    <a:pt x="21" y="424"/>
                  </a:cubicBezTo>
                  <a:cubicBezTo>
                    <a:pt x="10" y="424"/>
                    <a:pt x="6" y="418"/>
                    <a:pt x="5" y="407"/>
                  </a:cubicBezTo>
                  <a:cubicBezTo>
                    <a:pt x="0" y="331"/>
                    <a:pt x="0" y="256"/>
                    <a:pt x="6" y="180"/>
                  </a:cubicBezTo>
                  <a:cubicBezTo>
                    <a:pt x="6" y="173"/>
                    <a:pt x="7" y="165"/>
                    <a:pt x="15" y="165"/>
                  </a:cubicBezTo>
                  <a:cubicBezTo>
                    <a:pt x="32" y="164"/>
                    <a:pt x="34" y="153"/>
                    <a:pt x="34" y="140"/>
                  </a:cubicBezTo>
                  <a:cubicBezTo>
                    <a:pt x="35" y="132"/>
                    <a:pt x="37" y="123"/>
                    <a:pt x="38" y="115"/>
                  </a:cubicBezTo>
                  <a:cubicBezTo>
                    <a:pt x="39" y="106"/>
                    <a:pt x="42" y="100"/>
                    <a:pt x="51" y="100"/>
                  </a:cubicBezTo>
                  <a:cubicBezTo>
                    <a:pt x="63" y="100"/>
                    <a:pt x="70" y="95"/>
                    <a:pt x="70" y="82"/>
                  </a:cubicBezTo>
                  <a:cubicBezTo>
                    <a:pt x="70" y="72"/>
                    <a:pt x="75" y="68"/>
                    <a:pt x="85" y="67"/>
                  </a:cubicBezTo>
                  <a:cubicBezTo>
                    <a:pt x="91" y="67"/>
                    <a:pt x="100" y="67"/>
                    <a:pt x="100" y="60"/>
                  </a:cubicBezTo>
                  <a:cubicBezTo>
                    <a:pt x="100" y="30"/>
                    <a:pt x="124" y="35"/>
                    <a:pt x="141" y="33"/>
                  </a:cubicBezTo>
                  <a:cubicBezTo>
                    <a:pt x="154" y="31"/>
                    <a:pt x="162" y="28"/>
                    <a:pt x="163" y="13"/>
                  </a:cubicBezTo>
                  <a:cubicBezTo>
                    <a:pt x="163" y="2"/>
                    <a:pt x="173" y="1"/>
                    <a:pt x="182" y="1"/>
                  </a:cubicBezTo>
                  <a:cubicBezTo>
                    <a:pt x="219" y="1"/>
                    <a:pt x="257" y="1"/>
                    <a:pt x="29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6" name="Freeform 86">
              <a:extLst>
                <a:ext uri="{FF2B5EF4-FFF2-40B4-BE49-F238E27FC236}">
                  <a16:creationId xmlns:a16="http://schemas.microsoft.com/office/drawing/2014/main" id="{A5E76549-071A-7AF2-602A-C968D5784639}"/>
                </a:ext>
              </a:extLst>
            </p:cNvPr>
            <p:cNvSpPr>
              <a:spLocks/>
            </p:cNvSpPr>
            <p:nvPr/>
          </p:nvSpPr>
          <p:spPr bwMode="auto">
            <a:xfrm>
              <a:off x="8988425" y="5543551"/>
              <a:ext cx="150812" cy="122238"/>
            </a:xfrm>
            <a:custGeom>
              <a:avLst/>
              <a:gdLst>
                <a:gd name="T0" fmla="*/ 363 w 716"/>
                <a:gd name="T1" fmla="*/ 1 h 586"/>
                <a:gd name="T2" fmla="*/ 408 w 716"/>
                <a:gd name="T3" fmla="*/ 31 h 586"/>
                <a:gd name="T4" fmla="*/ 548 w 716"/>
                <a:gd name="T5" fmla="*/ 52 h 586"/>
                <a:gd name="T6" fmla="*/ 591 w 716"/>
                <a:gd name="T7" fmla="*/ 64 h 586"/>
                <a:gd name="T8" fmla="*/ 628 w 716"/>
                <a:gd name="T9" fmla="*/ 96 h 586"/>
                <a:gd name="T10" fmla="*/ 658 w 716"/>
                <a:gd name="T11" fmla="*/ 100 h 586"/>
                <a:gd name="T12" fmla="*/ 710 w 716"/>
                <a:gd name="T13" fmla="*/ 162 h 586"/>
                <a:gd name="T14" fmla="*/ 694 w 716"/>
                <a:gd name="T15" fmla="*/ 224 h 586"/>
                <a:gd name="T16" fmla="*/ 674 w 716"/>
                <a:gd name="T17" fmla="*/ 307 h 586"/>
                <a:gd name="T18" fmla="*/ 647 w 716"/>
                <a:gd name="T19" fmla="*/ 348 h 586"/>
                <a:gd name="T20" fmla="*/ 638 w 716"/>
                <a:gd name="T21" fmla="*/ 582 h 586"/>
                <a:gd name="T22" fmla="*/ 585 w 716"/>
                <a:gd name="T23" fmla="*/ 578 h 586"/>
                <a:gd name="T24" fmla="*/ 515 w 716"/>
                <a:gd name="T25" fmla="*/ 530 h 586"/>
                <a:gd name="T26" fmla="*/ 474 w 716"/>
                <a:gd name="T27" fmla="*/ 519 h 586"/>
                <a:gd name="T28" fmla="*/ 437 w 716"/>
                <a:gd name="T29" fmla="*/ 488 h 586"/>
                <a:gd name="T30" fmla="*/ 388 w 716"/>
                <a:gd name="T31" fmla="*/ 467 h 586"/>
                <a:gd name="T32" fmla="*/ 355 w 716"/>
                <a:gd name="T33" fmla="*/ 440 h 586"/>
                <a:gd name="T34" fmla="*/ 308 w 716"/>
                <a:gd name="T35" fmla="*/ 420 h 586"/>
                <a:gd name="T36" fmla="*/ 276 w 716"/>
                <a:gd name="T37" fmla="*/ 388 h 586"/>
                <a:gd name="T38" fmla="*/ 259 w 716"/>
                <a:gd name="T39" fmla="*/ 367 h 586"/>
                <a:gd name="T40" fmla="*/ 192 w 716"/>
                <a:gd name="T41" fmla="*/ 307 h 586"/>
                <a:gd name="T42" fmla="*/ 161 w 716"/>
                <a:gd name="T43" fmla="*/ 286 h 586"/>
                <a:gd name="T44" fmla="*/ 127 w 716"/>
                <a:gd name="T45" fmla="*/ 245 h 586"/>
                <a:gd name="T46" fmla="*/ 107 w 716"/>
                <a:gd name="T47" fmla="*/ 227 h 586"/>
                <a:gd name="T48" fmla="*/ 63 w 716"/>
                <a:gd name="T49" fmla="*/ 176 h 586"/>
                <a:gd name="T50" fmla="*/ 31 w 716"/>
                <a:gd name="T51" fmla="*/ 145 h 586"/>
                <a:gd name="T52" fmla="*/ 0 w 716"/>
                <a:gd name="T53" fmla="*/ 112 h 586"/>
                <a:gd name="T54" fmla="*/ 31 w 716"/>
                <a:gd name="T55" fmla="*/ 79 h 586"/>
                <a:gd name="T56" fmla="*/ 75 w 716"/>
                <a:gd name="T57" fmla="*/ 64 h 586"/>
                <a:gd name="T58" fmla="*/ 114 w 716"/>
                <a:gd name="T59" fmla="*/ 33 h 586"/>
                <a:gd name="T60" fmla="*/ 257 w 716"/>
                <a:gd name="T61" fmla="*/ 7 h 586"/>
                <a:gd name="T62" fmla="*/ 323 w 716"/>
                <a:gd name="T63" fmla="*/ 1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6" h="586">
                  <a:moveTo>
                    <a:pt x="323" y="1"/>
                  </a:moveTo>
                  <a:cubicBezTo>
                    <a:pt x="336" y="1"/>
                    <a:pt x="349" y="1"/>
                    <a:pt x="363" y="1"/>
                  </a:cubicBezTo>
                  <a:cubicBezTo>
                    <a:pt x="377" y="0"/>
                    <a:pt x="387" y="2"/>
                    <a:pt x="388" y="20"/>
                  </a:cubicBezTo>
                  <a:cubicBezTo>
                    <a:pt x="389" y="31"/>
                    <a:pt x="400" y="31"/>
                    <a:pt x="408" y="31"/>
                  </a:cubicBezTo>
                  <a:cubicBezTo>
                    <a:pt x="447" y="32"/>
                    <a:pt x="486" y="33"/>
                    <a:pt x="524" y="33"/>
                  </a:cubicBezTo>
                  <a:cubicBezTo>
                    <a:pt x="538" y="33"/>
                    <a:pt x="548" y="35"/>
                    <a:pt x="548" y="52"/>
                  </a:cubicBezTo>
                  <a:cubicBezTo>
                    <a:pt x="547" y="60"/>
                    <a:pt x="553" y="63"/>
                    <a:pt x="561" y="63"/>
                  </a:cubicBezTo>
                  <a:cubicBezTo>
                    <a:pt x="571" y="64"/>
                    <a:pt x="581" y="65"/>
                    <a:pt x="591" y="64"/>
                  </a:cubicBezTo>
                  <a:cubicBezTo>
                    <a:pt x="605" y="63"/>
                    <a:pt x="616" y="66"/>
                    <a:pt x="615" y="84"/>
                  </a:cubicBezTo>
                  <a:cubicBezTo>
                    <a:pt x="615" y="92"/>
                    <a:pt x="621" y="95"/>
                    <a:pt x="628" y="96"/>
                  </a:cubicBezTo>
                  <a:cubicBezTo>
                    <a:pt x="637" y="97"/>
                    <a:pt x="646" y="98"/>
                    <a:pt x="654" y="99"/>
                  </a:cubicBezTo>
                  <a:cubicBezTo>
                    <a:pt x="655" y="100"/>
                    <a:pt x="657" y="100"/>
                    <a:pt x="658" y="100"/>
                  </a:cubicBezTo>
                  <a:cubicBezTo>
                    <a:pt x="681" y="96"/>
                    <a:pt x="668" y="130"/>
                    <a:pt x="689" y="129"/>
                  </a:cubicBezTo>
                  <a:cubicBezTo>
                    <a:pt x="716" y="127"/>
                    <a:pt x="710" y="147"/>
                    <a:pt x="710" y="162"/>
                  </a:cubicBezTo>
                  <a:cubicBezTo>
                    <a:pt x="710" y="178"/>
                    <a:pt x="708" y="194"/>
                    <a:pt x="707" y="210"/>
                  </a:cubicBezTo>
                  <a:cubicBezTo>
                    <a:pt x="706" y="218"/>
                    <a:pt x="702" y="223"/>
                    <a:pt x="694" y="224"/>
                  </a:cubicBezTo>
                  <a:cubicBezTo>
                    <a:pt x="681" y="225"/>
                    <a:pt x="679" y="232"/>
                    <a:pt x="678" y="243"/>
                  </a:cubicBezTo>
                  <a:cubicBezTo>
                    <a:pt x="677" y="264"/>
                    <a:pt x="676" y="285"/>
                    <a:pt x="674" y="307"/>
                  </a:cubicBezTo>
                  <a:cubicBezTo>
                    <a:pt x="674" y="314"/>
                    <a:pt x="674" y="322"/>
                    <a:pt x="664" y="323"/>
                  </a:cubicBezTo>
                  <a:cubicBezTo>
                    <a:pt x="646" y="324"/>
                    <a:pt x="647" y="336"/>
                    <a:pt x="647" y="348"/>
                  </a:cubicBezTo>
                  <a:cubicBezTo>
                    <a:pt x="647" y="417"/>
                    <a:pt x="647" y="486"/>
                    <a:pt x="646" y="554"/>
                  </a:cubicBezTo>
                  <a:cubicBezTo>
                    <a:pt x="646" y="564"/>
                    <a:pt x="652" y="579"/>
                    <a:pt x="638" y="582"/>
                  </a:cubicBezTo>
                  <a:cubicBezTo>
                    <a:pt x="622" y="586"/>
                    <a:pt x="604" y="586"/>
                    <a:pt x="587" y="581"/>
                  </a:cubicBezTo>
                  <a:cubicBezTo>
                    <a:pt x="586" y="580"/>
                    <a:pt x="585" y="579"/>
                    <a:pt x="585" y="578"/>
                  </a:cubicBezTo>
                  <a:cubicBezTo>
                    <a:pt x="584" y="546"/>
                    <a:pt x="561" y="552"/>
                    <a:pt x="542" y="552"/>
                  </a:cubicBezTo>
                  <a:cubicBezTo>
                    <a:pt x="527" y="552"/>
                    <a:pt x="514" y="551"/>
                    <a:pt x="515" y="530"/>
                  </a:cubicBezTo>
                  <a:cubicBezTo>
                    <a:pt x="515" y="523"/>
                    <a:pt x="509" y="521"/>
                    <a:pt x="502" y="520"/>
                  </a:cubicBezTo>
                  <a:cubicBezTo>
                    <a:pt x="493" y="520"/>
                    <a:pt x="483" y="519"/>
                    <a:pt x="474" y="519"/>
                  </a:cubicBezTo>
                  <a:cubicBezTo>
                    <a:pt x="461" y="520"/>
                    <a:pt x="450" y="518"/>
                    <a:pt x="451" y="501"/>
                  </a:cubicBezTo>
                  <a:cubicBezTo>
                    <a:pt x="452" y="491"/>
                    <a:pt x="445" y="488"/>
                    <a:pt x="437" y="488"/>
                  </a:cubicBezTo>
                  <a:cubicBezTo>
                    <a:pt x="427" y="487"/>
                    <a:pt x="417" y="485"/>
                    <a:pt x="407" y="484"/>
                  </a:cubicBezTo>
                  <a:cubicBezTo>
                    <a:pt x="396" y="484"/>
                    <a:pt x="388" y="481"/>
                    <a:pt x="388" y="467"/>
                  </a:cubicBezTo>
                  <a:cubicBezTo>
                    <a:pt x="388" y="458"/>
                    <a:pt x="381" y="455"/>
                    <a:pt x="373" y="455"/>
                  </a:cubicBezTo>
                  <a:cubicBezTo>
                    <a:pt x="362" y="455"/>
                    <a:pt x="354" y="452"/>
                    <a:pt x="355" y="440"/>
                  </a:cubicBezTo>
                  <a:cubicBezTo>
                    <a:pt x="355" y="427"/>
                    <a:pt x="348" y="424"/>
                    <a:pt x="337" y="423"/>
                  </a:cubicBezTo>
                  <a:cubicBezTo>
                    <a:pt x="327" y="423"/>
                    <a:pt x="317" y="420"/>
                    <a:pt x="308" y="420"/>
                  </a:cubicBezTo>
                  <a:cubicBezTo>
                    <a:pt x="297" y="419"/>
                    <a:pt x="291" y="415"/>
                    <a:pt x="292" y="404"/>
                  </a:cubicBezTo>
                  <a:cubicBezTo>
                    <a:pt x="292" y="393"/>
                    <a:pt x="286" y="388"/>
                    <a:pt x="276" y="388"/>
                  </a:cubicBezTo>
                  <a:cubicBezTo>
                    <a:pt x="264" y="388"/>
                    <a:pt x="259" y="383"/>
                    <a:pt x="259" y="371"/>
                  </a:cubicBezTo>
                  <a:cubicBezTo>
                    <a:pt x="259" y="370"/>
                    <a:pt x="259" y="367"/>
                    <a:pt x="259" y="367"/>
                  </a:cubicBezTo>
                  <a:cubicBezTo>
                    <a:pt x="237" y="359"/>
                    <a:pt x="229" y="334"/>
                    <a:pt x="210" y="325"/>
                  </a:cubicBezTo>
                  <a:cubicBezTo>
                    <a:pt x="200" y="321"/>
                    <a:pt x="191" y="320"/>
                    <a:pt x="192" y="307"/>
                  </a:cubicBezTo>
                  <a:cubicBezTo>
                    <a:pt x="192" y="306"/>
                    <a:pt x="191" y="304"/>
                    <a:pt x="191" y="303"/>
                  </a:cubicBezTo>
                  <a:cubicBezTo>
                    <a:pt x="189" y="284"/>
                    <a:pt x="167" y="298"/>
                    <a:pt x="161" y="286"/>
                  </a:cubicBezTo>
                  <a:cubicBezTo>
                    <a:pt x="157" y="276"/>
                    <a:pt x="163" y="260"/>
                    <a:pt x="144" y="260"/>
                  </a:cubicBezTo>
                  <a:cubicBezTo>
                    <a:pt x="133" y="260"/>
                    <a:pt x="127" y="256"/>
                    <a:pt x="127" y="245"/>
                  </a:cubicBezTo>
                  <a:cubicBezTo>
                    <a:pt x="128" y="233"/>
                    <a:pt x="123" y="227"/>
                    <a:pt x="111" y="228"/>
                  </a:cubicBezTo>
                  <a:cubicBezTo>
                    <a:pt x="109" y="228"/>
                    <a:pt x="108" y="227"/>
                    <a:pt x="107" y="227"/>
                  </a:cubicBezTo>
                  <a:cubicBezTo>
                    <a:pt x="87" y="226"/>
                    <a:pt x="102" y="201"/>
                    <a:pt x="87" y="197"/>
                  </a:cubicBezTo>
                  <a:cubicBezTo>
                    <a:pt x="75" y="194"/>
                    <a:pt x="61" y="195"/>
                    <a:pt x="63" y="176"/>
                  </a:cubicBezTo>
                  <a:cubicBezTo>
                    <a:pt x="64" y="165"/>
                    <a:pt x="58" y="160"/>
                    <a:pt x="47" y="160"/>
                  </a:cubicBezTo>
                  <a:cubicBezTo>
                    <a:pt x="37" y="160"/>
                    <a:pt x="31" y="156"/>
                    <a:pt x="31" y="145"/>
                  </a:cubicBezTo>
                  <a:cubicBezTo>
                    <a:pt x="32" y="134"/>
                    <a:pt x="27" y="127"/>
                    <a:pt x="15" y="128"/>
                  </a:cubicBezTo>
                  <a:cubicBezTo>
                    <a:pt x="4" y="128"/>
                    <a:pt x="0" y="122"/>
                    <a:pt x="0" y="112"/>
                  </a:cubicBezTo>
                  <a:cubicBezTo>
                    <a:pt x="0" y="102"/>
                    <a:pt x="4" y="96"/>
                    <a:pt x="14" y="96"/>
                  </a:cubicBezTo>
                  <a:cubicBezTo>
                    <a:pt x="25" y="96"/>
                    <a:pt x="31" y="91"/>
                    <a:pt x="31" y="79"/>
                  </a:cubicBezTo>
                  <a:cubicBezTo>
                    <a:pt x="30" y="68"/>
                    <a:pt x="37" y="64"/>
                    <a:pt x="48" y="64"/>
                  </a:cubicBezTo>
                  <a:cubicBezTo>
                    <a:pt x="57" y="65"/>
                    <a:pt x="66" y="64"/>
                    <a:pt x="75" y="64"/>
                  </a:cubicBezTo>
                  <a:cubicBezTo>
                    <a:pt x="87" y="64"/>
                    <a:pt x="95" y="61"/>
                    <a:pt x="95" y="47"/>
                  </a:cubicBezTo>
                  <a:cubicBezTo>
                    <a:pt x="95" y="34"/>
                    <a:pt x="103" y="33"/>
                    <a:pt x="114" y="33"/>
                  </a:cubicBezTo>
                  <a:cubicBezTo>
                    <a:pt x="146" y="32"/>
                    <a:pt x="178" y="32"/>
                    <a:pt x="210" y="31"/>
                  </a:cubicBezTo>
                  <a:cubicBezTo>
                    <a:pt x="229" y="31"/>
                    <a:pt x="249" y="31"/>
                    <a:pt x="257" y="7"/>
                  </a:cubicBezTo>
                  <a:cubicBezTo>
                    <a:pt x="259" y="0"/>
                    <a:pt x="267" y="1"/>
                    <a:pt x="273" y="1"/>
                  </a:cubicBezTo>
                  <a:cubicBezTo>
                    <a:pt x="289" y="1"/>
                    <a:pt x="306" y="1"/>
                    <a:pt x="323" y="1"/>
                  </a:cubicBezTo>
                  <a:cubicBezTo>
                    <a:pt x="323" y="1"/>
                    <a:pt x="323" y="1"/>
                    <a:pt x="3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7" name="Freeform 87">
              <a:extLst>
                <a:ext uri="{FF2B5EF4-FFF2-40B4-BE49-F238E27FC236}">
                  <a16:creationId xmlns:a16="http://schemas.microsoft.com/office/drawing/2014/main" id="{C625B8B8-6518-3BDD-A03B-CE90D101A91A}"/>
                </a:ext>
              </a:extLst>
            </p:cNvPr>
            <p:cNvSpPr>
              <a:spLocks/>
            </p:cNvSpPr>
            <p:nvPr/>
          </p:nvSpPr>
          <p:spPr bwMode="auto">
            <a:xfrm>
              <a:off x="9090025" y="5411788"/>
              <a:ext cx="115887" cy="150813"/>
            </a:xfrm>
            <a:custGeom>
              <a:avLst/>
              <a:gdLst>
                <a:gd name="T0" fmla="*/ 305 w 548"/>
                <a:gd name="T1" fmla="*/ 1 h 716"/>
                <a:gd name="T2" fmla="*/ 342 w 548"/>
                <a:gd name="T3" fmla="*/ 32 h 716"/>
                <a:gd name="T4" fmla="*/ 419 w 548"/>
                <a:gd name="T5" fmla="*/ 46 h 716"/>
                <a:gd name="T6" fmla="*/ 388 w 548"/>
                <a:gd name="T7" fmla="*/ 86 h 716"/>
                <a:gd name="T8" fmla="*/ 370 w 548"/>
                <a:gd name="T9" fmla="*/ 132 h 716"/>
                <a:gd name="T10" fmla="*/ 356 w 548"/>
                <a:gd name="T11" fmla="*/ 344 h 716"/>
                <a:gd name="T12" fmla="*/ 387 w 548"/>
                <a:gd name="T13" fmla="*/ 381 h 716"/>
                <a:gd name="T14" fmla="*/ 404 w 548"/>
                <a:gd name="T15" fmla="*/ 424 h 716"/>
                <a:gd name="T16" fmla="*/ 420 w 548"/>
                <a:gd name="T17" fmla="*/ 464 h 716"/>
                <a:gd name="T18" fmla="*/ 452 w 548"/>
                <a:gd name="T19" fmla="*/ 503 h 716"/>
                <a:gd name="T20" fmla="*/ 488 w 548"/>
                <a:gd name="T21" fmla="*/ 536 h 716"/>
                <a:gd name="T22" fmla="*/ 533 w 548"/>
                <a:gd name="T23" fmla="*/ 556 h 716"/>
                <a:gd name="T24" fmla="*/ 533 w 548"/>
                <a:gd name="T25" fmla="*/ 587 h 716"/>
                <a:gd name="T26" fmla="*/ 488 w 548"/>
                <a:gd name="T27" fmla="*/ 603 h 716"/>
                <a:gd name="T28" fmla="*/ 438 w 548"/>
                <a:gd name="T29" fmla="*/ 620 h 716"/>
                <a:gd name="T30" fmla="*/ 402 w 548"/>
                <a:gd name="T31" fmla="*/ 651 h 716"/>
                <a:gd name="T32" fmla="*/ 356 w 548"/>
                <a:gd name="T33" fmla="*/ 670 h 716"/>
                <a:gd name="T34" fmla="*/ 323 w 548"/>
                <a:gd name="T35" fmla="*/ 700 h 716"/>
                <a:gd name="T36" fmla="*/ 245 w 548"/>
                <a:gd name="T37" fmla="*/ 716 h 716"/>
                <a:gd name="T38" fmla="*/ 212 w 548"/>
                <a:gd name="T39" fmla="*/ 684 h 716"/>
                <a:gd name="T40" fmla="*/ 179 w 548"/>
                <a:gd name="T41" fmla="*/ 652 h 716"/>
                <a:gd name="T42" fmla="*/ 128 w 548"/>
                <a:gd name="T43" fmla="*/ 631 h 716"/>
                <a:gd name="T44" fmla="*/ 54 w 548"/>
                <a:gd name="T45" fmla="*/ 616 h 716"/>
                <a:gd name="T46" fmla="*/ 15 w 548"/>
                <a:gd name="T47" fmla="*/ 587 h 716"/>
                <a:gd name="T48" fmla="*/ 16 w 548"/>
                <a:gd name="T49" fmla="*/ 556 h 716"/>
                <a:gd name="T50" fmla="*/ 64 w 548"/>
                <a:gd name="T51" fmla="*/ 534 h 716"/>
                <a:gd name="T52" fmla="*/ 97 w 548"/>
                <a:gd name="T53" fmla="*/ 503 h 716"/>
                <a:gd name="T54" fmla="*/ 128 w 548"/>
                <a:gd name="T55" fmla="*/ 469 h 716"/>
                <a:gd name="T56" fmla="*/ 150 w 548"/>
                <a:gd name="T57" fmla="*/ 424 h 716"/>
                <a:gd name="T58" fmla="*/ 164 w 548"/>
                <a:gd name="T59" fmla="*/ 378 h 716"/>
                <a:gd name="T60" fmla="*/ 192 w 548"/>
                <a:gd name="T61" fmla="*/ 342 h 716"/>
                <a:gd name="T62" fmla="*/ 180 w 548"/>
                <a:gd name="T63" fmla="*/ 133 h 716"/>
                <a:gd name="T64" fmla="*/ 161 w 548"/>
                <a:gd name="T65" fmla="*/ 82 h 716"/>
                <a:gd name="T66" fmla="*/ 132 w 548"/>
                <a:gd name="T67" fmla="*/ 46 h 716"/>
                <a:gd name="T68" fmla="*/ 210 w 548"/>
                <a:gd name="T69" fmla="*/ 32 h 716"/>
                <a:gd name="T70" fmla="*/ 253 w 548"/>
                <a:gd name="T71" fmla="*/ 1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8" h="716">
                  <a:moveTo>
                    <a:pt x="277" y="1"/>
                  </a:moveTo>
                  <a:cubicBezTo>
                    <a:pt x="286" y="1"/>
                    <a:pt x="295" y="2"/>
                    <a:pt x="305" y="1"/>
                  </a:cubicBezTo>
                  <a:cubicBezTo>
                    <a:pt x="316" y="1"/>
                    <a:pt x="324" y="4"/>
                    <a:pt x="324" y="18"/>
                  </a:cubicBezTo>
                  <a:cubicBezTo>
                    <a:pt x="324" y="29"/>
                    <a:pt x="332" y="31"/>
                    <a:pt x="342" y="32"/>
                  </a:cubicBezTo>
                  <a:cubicBezTo>
                    <a:pt x="362" y="32"/>
                    <a:pt x="383" y="32"/>
                    <a:pt x="404" y="33"/>
                  </a:cubicBezTo>
                  <a:cubicBezTo>
                    <a:pt x="413" y="33"/>
                    <a:pt x="419" y="35"/>
                    <a:pt x="419" y="46"/>
                  </a:cubicBezTo>
                  <a:cubicBezTo>
                    <a:pt x="420" y="56"/>
                    <a:pt x="418" y="64"/>
                    <a:pt x="406" y="64"/>
                  </a:cubicBezTo>
                  <a:cubicBezTo>
                    <a:pt x="390" y="64"/>
                    <a:pt x="388" y="73"/>
                    <a:pt x="388" y="86"/>
                  </a:cubicBezTo>
                  <a:cubicBezTo>
                    <a:pt x="389" y="94"/>
                    <a:pt x="387" y="102"/>
                    <a:pt x="388" y="110"/>
                  </a:cubicBezTo>
                  <a:cubicBezTo>
                    <a:pt x="388" y="123"/>
                    <a:pt x="386" y="133"/>
                    <a:pt x="370" y="132"/>
                  </a:cubicBezTo>
                  <a:cubicBezTo>
                    <a:pt x="359" y="132"/>
                    <a:pt x="356" y="139"/>
                    <a:pt x="356" y="148"/>
                  </a:cubicBezTo>
                  <a:cubicBezTo>
                    <a:pt x="356" y="214"/>
                    <a:pt x="356" y="279"/>
                    <a:pt x="356" y="344"/>
                  </a:cubicBezTo>
                  <a:cubicBezTo>
                    <a:pt x="356" y="354"/>
                    <a:pt x="360" y="360"/>
                    <a:pt x="370" y="360"/>
                  </a:cubicBezTo>
                  <a:cubicBezTo>
                    <a:pt x="385" y="359"/>
                    <a:pt x="388" y="368"/>
                    <a:pt x="387" y="381"/>
                  </a:cubicBezTo>
                  <a:cubicBezTo>
                    <a:pt x="387" y="389"/>
                    <a:pt x="388" y="398"/>
                    <a:pt x="388" y="406"/>
                  </a:cubicBezTo>
                  <a:cubicBezTo>
                    <a:pt x="388" y="418"/>
                    <a:pt x="391" y="425"/>
                    <a:pt x="404" y="424"/>
                  </a:cubicBezTo>
                  <a:cubicBezTo>
                    <a:pt x="416" y="424"/>
                    <a:pt x="420" y="431"/>
                    <a:pt x="420" y="442"/>
                  </a:cubicBezTo>
                  <a:cubicBezTo>
                    <a:pt x="419" y="449"/>
                    <a:pt x="420" y="457"/>
                    <a:pt x="420" y="464"/>
                  </a:cubicBezTo>
                  <a:cubicBezTo>
                    <a:pt x="420" y="478"/>
                    <a:pt x="421" y="489"/>
                    <a:pt x="440" y="488"/>
                  </a:cubicBezTo>
                  <a:cubicBezTo>
                    <a:pt x="449" y="488"/>
                    <a:pt x="452" y="495"/>
                    <a:pt x="452" y="503"/>
                  </a:cubicBezTo>
                  <a:cubicBezTo>
                    <a:pt x="452" y="515"/>
                    <a:pt x="457" y="521"/>
                    <a:pt x="469" y="520"/>
                  </a:cubicBezTo>
                  <a:cubicBezTo>
                    <a:pt x="480" y="520"/>
                    <a:pt x="487" y="524"/>
                    <a:pt x="488" y="536"/>
                  </a:cubicBezTo>
                  <a:cubicBezTo>
                    <a:pt x="488" y="548"/>
                    <a:pt x="495" y="552"/>
                    <a:pt x="506" y="552"/>
                  </a:cubicBezTo>
                  <a:cubicBezTo>
                    <a:pt x="515" y="553"/>
                    <a:pt x="524" y="555"/>
                    <a:pt x="533" y="556"/>
                  </a:cubicBezTo>
                  <a:cubicBezTo>
                    <a:pt x="545" y="556"/>
                    <a:pt x="548" y="562"/>
                    <a:pt x="548" y="573"/>
                  </a:cubicBezTo>
                  <a:cubicBezTo>
                    <a:pt x="548" y="583"/>
                    <a:pt x="543" y="587"/>
                    <a:pt x="533" y="587"/>
                  </a:cubicBezTo>
                  <a:cubicBezTo>
                    <a:pt x="525" y="587"/>
                    <a:pt x="516" y="588"/>
                    <a:pt x="507" y="588"/>
                  </a:cubicBezTo>
                  <a:cubicBezTo>
                    <a:pt x="497" y="588"/>
                    <a:pt x="489" y="590"/>
                    <a:pt x="488" y="603"/>
                  </a:cubicBezTo>
                  <a:cubicBezTo>
                    <a:pt x="487" y="613"/>
                    <a:pt x="480" y="616"/>
                    <a:pt x="471" y="616"/>
                  </a:cubicBezTo>
                  <a:cubicBezTo>
                    <a:pt x="460" y="617"/>
                    <a:pt x="449" y="619"/>
                    <a:pt x="438" y="620"/>
                  </a:cubicBezTo>
                  <a:cubicBezTo>
                    <a:pt x="426" y="620"/>
                    <a:pt x="420" y="624"/>
                    <a:pt x="420" y="636"/>
                  </a:cubicBezTo>
                  <a:cubicBezTo>
                    <a:pt x="420" y="649"/>
                    <a:pt x="412" y="651"/>
                    <a:pt x="402" y="651"/>
                  </a:cubicBezTo>
                  <a:cubicBezTo>
                    <a:pt x="393" y="651"/>
                    <a:pt x="384" y="652"/>
                    <a:pt x="376" y="652"/>
                  </a:cubicBezTo>
                  <a:cubicBezTo>
                    <a:pt x="363" y="651"/>
                    <a:pt x="355" y="655"/>
                    <a:pt x="356" y="670"/>
                  </a:cubicBezTo>
                  <a:cubicBezTo>
                    <a:pt x="356" y="680"/>
                    <a:pt x="350" y="684"/>
                    <a:pt x="340" y="683"/>
                  </a:cubicBezTo>
                  <a:cubicBezTo>
                    <a:pt x="329" y="683"/>
                    <a:pt x="323" y="688"/>
                    <a:pt x="323" y="700"/>
                  </a:cubicBezTo>
                  <a:cubicBezTo>
                    <a:pt x="324" y="711"/>
                    <a:pt x="318" y="715"/>
                    <a:pt x="307" y="715"/>
                  </a:cubicBezTo>
                  <a:cubicBezTo>
                    <a:pt x="287" y="715"/>
                    <a:pt x="266" y="715"/>
                    <a:pt x="245" y="716"/>
                  </a:cubicBezTo>
                  <a:cubicBezTo>
                    <a:pt x="234" y="716"/>
                    <a:pt x="228" y="711"/>
                    <a:pt x="228" y="699"/>
                  </a:cubicBezTo>
                  <a:cubicBezTo>
                    <a:pt x="228" y="688"/>
                    <a:pt x="223" y="683"/>
                    <a:pt x="212" y="684"/>
                  </a:cubicBezTo>
                  <a:cubicBezTo>
                    <a:pt x="200" y="684"/>
                    <a:pt x="195" y="678"/>
                    <a:pt x="195" y="667"/>
                  </a:cubicBezTo>
                  <a:cubicBezTo>
                    <a:pt x="196" y="656"/>
                    <a:pt x="189" y="652"/>
                    <a:pt x="179" y="652"/>
                  </a:cubicBezTo>
                  <a:cubicBezTo>
                    <a:pt x="171" y="652"/>
                    <a:pt x="163" y="651"/>
                    <a:pt x="155" y="651"/>
                  </a:cubicBezTo>
                  <a:cubicBezTo>
                    <a:pt x="140" y="652"/>
                    <a:pt x="128" y="651"/>
                    <a:pt x="128" y="631"/>
                  </a:cubicBezTo>
                  <a:cubicBezTo>
                    <a:pt x="128" y="622"/>
                    <a:pt x="120" y="620"/>
                    <a:pt x="112" y="620"/>
                  </a:cubicBezTo>
                  <a:cubicBezTo>
                    <a:pt x="93" y="619"/>
                    <a:pt x="74" y="617"/>
                    <a:pt x="54" y="616"/>
                  </a:cubicBezTo>
                  <a:cubicBezTo>
                    <a:pt x="45" y="615"/>
                    <a:pt x="37" y="613"/>
                    <a:pt x="35" y="602"/>
                  </a:cubicBezTo>
                  <a:cubicBezTo>
                    <a:pt x="34" y="591"/>
                    <a:pt x="26" y="587"/>
                    <a:pt x="15" y="587"/>
                  </a:cubicBezTo>
                  <a:cubicBezTo>
                    <a:pt x="4" y="588"/>
                    <a:pt x="0" y="582"/>
                    <a:pt x="0" y="571"/>
                  </a:cubicBezTo>
                  <a:cubicBezTo>
                    <a:pt x="0" y="560"/>
                    <a:pt x="6" y="556"/>
                    <a:pt x="16" y="556"/>
                  </a:cubicBezTo>
                  <a:cubicBezTo>
                    <a:pt x="26" y="555"/>
                    <a:pt x="35" y="552"/>
                    <a:pt x="44" y="552"/>
                  </a:cubicBezTo>
                  <a:cubicBezTo>
                    <a:pt x="57" y="552"/>
                    <a:pt x="64" y="548"/>
                    <a:pt x="64" y="534"/>
                  </a:cubicBezTo>
                  <a:cubicBezTo>
                    <a:pt x="64" y="525"/>
                    <a:pt x="69" y="520"/>
                    <a:pt x="78" y="520"/>
                  </a:cubicBezTo>
                  <a:cubicBezTo>
                    <a:pt x="90" y="521"/>
                    <a:pt x="97" y="516"/>
                    <a:pt x="97" y="503"/>
                  </a:cubicBezTo>
                  <a:cubicBezTo>
                    <a:pt x="96" y="493"/>
                    <a:pt x="101" y="488"/>
                    <a:pt x="111" y="488"/>
                  </a:cubicBezTo>
                  <a:cubicBezTo>
                    <a:pt x="124" y="488"/>
                    <a:pt x="128" y="481"/>
                    <a:pt x="128" y="469"/>
                  </a:cubicBezTo>
                  <a:cubicBezTo>
                    <a:pt x="128" y="461"/>
                    <a:pt x="132" y="453"/>
                    <a:pt x="132" y="445"/>
                  </a:cubicBezTo>
                  <a:cubicBezTo>
                    <a:pt x="132" y="432"/>
                    <a:pt x="135" y="423"/>
                    <a:pt x="150" y="424"/>
                  </a:cubicBezTo>
                  <a:cubicBezTo>
                    <a:pt x="160" y="424"/>
                    <a:pt x="163" y="418"/>
                    <a:pt x="163" y="410"/>
                  </a:cubicBezTo>
                  <a:cubicBezTo>
                    <a:pt x="164" y="399"/>
                    <a:pt x="164" y="388"/>
                    <a:pt x="164" y="378"/>
                  </a:cubicBezTo>
                  <a:cubicBezTo>
                    <a:pt x="164" y="368"/>
                    <a:pt x="167" y="360"/>
                    <a:pt x="178" y="360"/>
                  </a:cubicBezTo>
                  <a:cubicBezTo>
                    <a:pt x="190" y="359"/>
                    <a:pt x="192" y="351"/>
                    <a:pt x="192" y="342"/>
                  </a:cubicBezTo>
                  <a:cubicBezTo>
                    <a:pt x="197" y="278"/>
                    <a:pt x="197" y="214"/>
                    <a:pt x="192" y="150"/>
                  </a:cubicBezTo>
                  <a:cubicBezTo>
                    <a:pt x="191" y="142"/>
                    <a:pt x="191" y="133"/>
                    <a:pt x="180" y="133"/>
                  </a:cubicBezTo>
                  <a:cubicBezTo>
                    <a:pt x="167" y="132"/>
                    <a:pt x="164" y="124"/>
                    <a:pt x="164" y="112"/>
                  </a:cubicBezTo>
                  <a:cubicBezTo>
                    <a:pt x="164" y="102"/>
                    <a:pt x="161" y="92"/>
                    <a:pt x="161" y="82"/>
                  </a:cubicBezTo>
                  <a:cubicBezTo>
                    <a:pt x="160" y="71"/>
                    <a:pt x="157" y="65"/>
                    <a:pt x="145" y="64"/>
                  </a:cubicBezTo>
                  <a:cubicBezTo>
                    <a:pt x="133" y="64"/>
                    <a:pt x="132" y="55"/>
                    <a:pt x="132" y="46"/>
                  </a:cubicBezTo>
                  <a:cubicBezTo>
                    <a:pt x="132" y="35"/>
                    <a:pt x="139" y="33"/>
                    <a:pt x="148" y="32"/>
                  </a:cubicBezTo>
                  <a:cubicBezTo>
                    <a:pt x="168" y="32"/>
                    <a:pt x="189" y="32"/>
                    <a:pt x="210" y="32"/>
                  </a:cubicBezTo>
                  <a:cubicBezTo>
                    <a:pt x="218" y="31"/>
                    <a:pt x="227" y="31"/>
                    <a:pt x="227" y="20"/>
                  </a:cubicBezTo>
                  <a:cubicBezTo>
                    <a:pt x="227" y="2"/>
                    <a:pt x="239" y="0"/>
                    <a:pt x="253" y="1"/>
                  </a:cubicBezTo>
                  <a:cubicBezTo>
                    <a:pt x="261" y="2"/>
                    <a:pt x="269" y="1"/>
                    <a:pt x="27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8" name="Freeform 88">
              <a:extLst>
                <a:ext uri="{FF2B5EF4-FFF2-40B4-BE49-F238E27FC236}">
                  <a16:creationId xmlns:a16="http://schemas.microsoft.com/office/drawing/2014/main" id="{94177AA4-3FEC-B218-ADD1-C0F19FFA4E70}"/>
                </a:ext>
              </a:extLst>
            </p:cNvPr>
            <p:cNvSpPr>
              <a:spLocks/>
            </p:cNvSpPr>
            <p:nvPr/>
          </p:nvSpPr>
          <p:spPr bwMode="auto">
            <a:xfrm>
              <a:off x="9450388" y="5411788"/>
              <a:ext cx="103187" cy="144463"/>
            </a:xfrm>
            <a:custGeom>
              <a:avLst/>
              <a:gdLst>
                <a:gd name="T0" fmla="*/ 276 w 485"/>
                <a:gd name="T1" fmla="*/ 0 h 682"/>
                <a:gd name="T2" fmla="*/ 306 w 485"/>
                <a:gd name="T3" fmla="*/ 0 h 682"/>
                <a:gd name="T4" fmla="*/ 324 w 485"/>
                <a:gd name="T5" fmla="*/ 14 h 682"/>
                <a:gd name="T6" fmla="*/ 343 w 485"/>
                <a:gd name="T7" fmla="*/ 31 h 682"/>
                <a:gd name="T8" fmla="*/ 463 w 485"/>
                <a:gd name="T9" fmla="*/ 34 h 682"/>
                <a:gd name="T10" fmla="*/ 483 w 485"/>
                <a:gd name="T11" fmla="*/ 57 h 682"/>
                <a:gd name="T12" fmla="*/ 483 w 485"/>
                <a:gd name="T13" fmla="*/ 80 h 682"/>
                <a:gd name="T14" fmla="*/ 476 w 485"/>
                <a:gd name="T15" fmla="*/ 93 h 682"/>
                <a:gd name="T16" fmla="*/ 454 w 485"/>
                <a:gd name="T17" fmla="*/ 122 h 682"/>
                <a:gd name="T18" fmla="*/ 452 w 485"/>
                <a:gd name="T19" fmla="*/ 176 h 682"/>
                <a:gd name="T20" fmla="*/ 437 w 485"/>
                <a:gd name="T21" fmla="*/ 196 h 682"/>
                <a:gd name="T22" fmla="*/ 424 w 485"/>
                <a:gd name="T23" fmla="*/ 212 h 682"/>
                <a:gd name="T24" fmla="*/ 420 w 485"/>
                <a:gd name="T25" fmla="*/ 304 h 682"/>
                <a:gd name="T26" fmla="*/ 403 w 485"/>
                <a:gd name="T27" fmla="*/ 323 h 682"/>
                <a:gd name="T28" fmla="*/ 388 w 485"/>
                <a:gd name="T29" fmla="*/ 341 h 682"/>
                <a:gd name="T30" fmla="*/ 388 w 485"/>
                <a:gd name="T31" fmla="*/ 368 h 682"/>
                <a:gd name="T32" fmla="*/ 369 w 485"/>
                <a:gd name="T33" fmla="*/ 392 h 682"/>
                <a:gd name="T34" fmla="*/ 357 w 485"/>
                <a:gd name="T35" fmla="*/ 409 h 682"/>
                <a:gd name="T36" fmla="*/ 355 w 485"/>
                <a:gd name="T37" fmla="*/ 469 h 682"/>
                <a:gd name="T38" fmla="*/ 339 w 485"/>
                <a:gd name="T39" fmla="*/ 486 h 682"/>
                <a:gd name="T40" fmla="*/ 324 w 485"/>
                <a:gd name="T41" fmla="*/ 504 h 682"/>
                <a:gd name="T42" fmla="*/ 307 w 485"/>
                <a:gd name="T43" fmla="*/ 523 h 682"/>
                <a:gd name="T44" fmla="*/ 292 w 485"/>
                <a:gd name="T45" fmla="*/ 540 h 682"/>
                <a:gd name="T46" fmla="*/ 292 w 485"/>
                <a:gd name="T47" fmla="*/ 564 h 682"/>
                <a:gd name="T48" fmla="*/ 272 w 485"/>
                <a:gd name="T49" fmla="*/ 587 h 682"/>
                <a:gd name="T50" fmla="*/ 260 w 485"/>
                <a:gd name="T51" fmla="*/ 600 h 682"/>
                <a:gd name="T52" fmla="*/ 259 w 485"/>
                <a:gd name="T53" fmla="*/ 628 h 682"/>
                <a:gd name="T54" fmla="*/ 240 w 485"/>
                <a:gd name="T55" fmla="*/ 651 h 682"/>
                <a:gd name="T56" fmla="*/ 227 w 485"/>
                <a:gd name="T57" fmla="*/ 667 h 682"/>
                <a:gd name="T58" fmla="*/ 213 w 485"/>
                <a:gd name="T59" fmla="*/ 682 h 682"/>
                <a:gd name="T60" fmla="*/ 196 w 485"/>
                <a:gd name="T61" fmla="*/ 668 h 682"/>
                <a:gd name="T62" fmla="*/ 177 w 485"/>
                <a:gd name="T63" fmla="*/ 651 h 682"/>
                <a:gd name="T64" fmla="*/ 151 w 485"/>
                <a:gd name="T65" fmla="*/ 650 h 682"/>
                <a:gd name="T66" fmla="*/ 132 w 485"/>
                <a:gd name="T67" fmla="*/ 634 h 682"/>
                <a:gd name="T68" fmla="*/ 115 w 485"/>
                <a:gd name="T69" fmla="*/ 619 h 682"/>
                <a:gd name="T70" fmla="*/ 55 w 485"/>
                <a:gd name="T71" fmla="*/ 615 h 682"/>
                <a:gd name="T72" fmla="*/ 36 w 485"/>
                <a:gd name="T73" fmla="*/ 600 h 682"/>
                <a:gd name="T74" fmla="*/ 20 w 485"/>
                <a:gd name="T75" fmla="*/ 586 h 682"/>
                <a:gd name="T76" fmla="*/ 0 w 485"/>
                <a:gd name="T77" fmla="*/ 570 h 682"/>
                <a:gd name="T78" fmla="*/ 21 w 485"/>
                <a:gd name="T79" fmla="*/ 554 h 682"/>
                <a:gd name="T80" fmla="*/ 49 w 485"/>
                <a:gd name="T81" fmla="*/ 551 h 682"/>
                <a:gd name="T82" fmla="*/ 64 w 485"/>
                <a:gd name="T83" fmla="*/ 536 h 682"/>
                <a:gd name="T84" fmla="*/ 64 w 485"/>
                <a:gd name="T85" fmla="*/ 532 h 682"/>
                <a:gd name="T86" fmla="*/ 113 w 485"/>
                <a:gd name="T87" fmla="*/ 487 h 682"/>
                <a:gd name="T88" fmla="*/ 128 w 485"/>
                <a:gd name="T89" fmla="*/ 472 h 682"/>
                <a:gd name="T90" fmla="*/ 132 w 485"/>
                <a:gd name="T91" fmla="*/ 444 h 682"/>
                <a:gd name="T92" fmla="*/ 151 w 485"/>
                <a:gd name="T93" fmla="*/ 423 h 682"/>
                <a:gd name="T94" fmla="*/ 164 w 485"/>
                <a:gd name="T95" fmla="*/ 409 h 682"/>
                <a:gd name="T96" fmla="*/ 164 w 485"/>
                <a:gd name="T97" fmla="*/ 381 h 682"/>
                <a:gd name="T98" fmla="*/ 185 w 485"/>
                <a:gd name="T99" fmla="*/ 355 h 682"/>
                <a:gd name="T100" fmla="*/ 195 w 485"/>
                <a:gd name="T101" fmla="*/ 340 h 682"/>
                <a:gd name="T102" fmla="*/ 196 w 485"/>
                <a:gd name="T103" fmla="*/ 176 h 682"/>
                <a:gd name="T104" fmla="*/ 180 w 485"/>
                <a:gd name="T105" fmla="*/ 159 h 682"/>
                <a:gd name="T106" fmla="*/ 165 w 485"/>
                <a:gd name="T107" fmla="*/ 139 h 682"/>
                <a:gd name="T108" fmla="*/ 162 w 485"/>
                <a:gd name="T109" fmla="*/ 91 h 682"/>
                <a:gd name="T110" fmla="*/ 141 w 485"/>
                <a:gd name="T111" fmla="*/ 65 h 682"/>
                <a:gd name="T112" fmla="*/ 132 w 485"/>
                <a:gd name="T113" fmla="*/ 46 h 682"/>
                <a:gd name="T114" fmla="*/ 145 w 485"/>
                <a:gd name="T115" fmla="*/ 32 h 682"/>
                <a:gd name="T116" fmla="*/ 207 w 485"/>
                <a:gd name="T117" fmla="*/ 31 h 682"/>
                <a:gd name="T118" fmla="*/ 229 w 485"/>
                <a:gd name="T119" fmla="*/ 14 h 682"/>
                <a:gd name="T120" fmla="*/ 244 w 485"/>
                <a:gd name="T121" fmla="*/ 0 h 682"/>
                <a:gd name="T122" fmla="*/ 276 w 485"/>
                <a:gd name="T123" fmla="*/ 0 h 682"/>
                <a:gd name="T124" fmla="*/ 276 w 485"/>
                <a:gd name="T125"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682">
                  <a:moveTo>
                    <a:pt x="276" y="0"/>
                  </a:moveTo>
                  <a:cubicBezTo>
                    <a:pt x="286" y="0"/>
                    <a:pt x="296" y="0"/>
                    <a:pt x="306" y="0"/>
                  </a:cubicBezTo>
                  <a:cubicBezTo>
                    <a:pt x="316" y="0"/>
                    <a:pt x="324" y="2"/>
                    <a:pt x="324" y="14"/>
                  </a:cubicBezTo>
                  <a:cubicBezTo>
                    <a:pt x="324" y="28"/>
                    <a:pt x="332" y="30"/>
                    <a:pt x="343" y="31"/>
                  </a:cubicBezTo>
                  <a:cubicBezTo>
                    <a:pt x="383" y="33"/>
                    <a:pt x="423" y="29"/>
                    <a:pt x="463" y="34"/>
                  </a:cubicBezTo>
                  <a:cubicBezTo>
                    <a:pt x="478" y="36"/>
                    <a:pt x="485" y="41"/>
                    <a:pt x="483" y="57"/>
                  </a:cubicBezTo>
                  <a:cubicBezTo>
                    <a:pt x="483" y="64"/>
                    <a:pt x="483" y="73"/>
                    <a:pt x="483" y="80"/>
                  </a:cubicBezTo>
                  <a:cubicBezTo>
                    <a:pt x="483" y="86"/>
                    <a:pt x="482" y="93"/>
                    <a:pt x="476" y="93"/>
                  </a:cubicBezTo>
                  <a:cubicBezTo>
                    <a:pt x="456" y="94"/>
                    <a:pt x="457" y="108"/>
                    <a:pt x="454" y="122"/>
                  </a:cubicBezTo>
                  <a:cubicBezTo>
                    <a:pt x="452" y="140"/>
                    <a:pt x="452" y="158"/>
                    <a:pt x="452" y="176"/>
                  </a:cubicBezTo>
                  <a:cubicBezTo>
                    <a:pt x="452" y="186"/>
                    <a:pt x="450" y="195"/>
                    <a:pt x="437" y="196"/>
                  </a:cubicBezTo>
                  <a:cubicBezTo>
                    <a:pt x="427" y="196"/>
                    <a:pt x="425" y="203"/>
                    <a:pt x="424" y="212"/>
                  </a:cubicBezTo>
                  <a:cubicBezTo>
                    <a:pt x="419" y="242"/>
                    <a:pt x="420" y="273"/>
                    <a:pt x="420" y="304"/>
                  </a:cubicBezTo>
                  <a:cubicBezTo>
                    <a:pt x="419" y="315"/>
                    <a:pt x="417" y="323"/>
                    <a:pt x="403" y="323"/>
                  </a:cubicBezTo>
                  <a:cubicBezTo>
                    <a:pt x="393" y="324"/>
                    <a:pt x="389" y="330"/>
                    <a:pt x="388" y="341"/>
                  </a:cubicBezTo>
                  <a:cubicBezTo>
                    <a:pt x="388" y="350"/>
                    <a:pt x="387" y="359"/>
                    <a:pt x="388" y="368"/>
                  </a:cubicBezTo>
                  <a:cubicBezTo>
                    <a:pt x="389" y="382"/>
                    <a:pt x="385" y="392"/>
                    <a:pt x="369" y="392"/>
                  </a:cubicBezTo>
                  <a:cubicBezTo>
                    <a:pt x="358" y="392"/>
                    <a:pt x="357" y="400"/>
                    <a:pt x="357" y="409"/>
                  </a:cubicBezTo>
                  <a:cubicBezTo>
                    <a:pt x="356" y="429"/>
                    <a:pt x="355" y="449"/>
                    <a:pt x="355" y="469"/>
                  </a:cubicBezTo>
                  <a:cubicBezTo>
                    <a:pt x="355" y="480"/>
                    <a:pt x="352" y="487"/>
                    <a:pt x="339" y="486"/>
                  </a:cubicBezTo>
                  <a:cubicBezTo>
                    <a:pt x="327" y="486"/>
                    <a:pt x="323" y="493"/>
                    <a:pt x="324" y="504"/>
                  </a:cubicBezTo>
                  <a:cubicBezTo>
                    <a:pt x="325" y="516"/>
                    <a:pt x="320" y="523"/>
                    <a:pt x="307" y="523"/>
                  </a:cubicBezTo>
                  <a:cubicBezTo>
                    <a:pt x="295" y="523"/>
                    <a:pt x="292" y="530"/>
                    <a:pt x="292" y="540"/>
                  </a:cubicBezTo>
                  <a:cubicBezTo>
                    <a:pt x="292" y="548"/>
                    <a:pt x="291" y="556"/>
                    <a:pt x="292" y="564"/>
                  </a:cubicBezTo>
                  <a:cubicBezTo>
                    <a:pt x="293" y="578"/>
                    <a:pt x="289" y="588"/>
                    <a:pt x="272" y="587"/>
                  </a:cubicBezTo>
                  <a:cubicBezTo>
                    <a:pt x="264" y="587"/>
                    <a:pt x="261" y="592"/>
                    <a:pt x="260" y="600"/>
                  </a:cubicBezTo>
                  <a:cubicBezTo>
                    <a:pt x="260" y="609"/>
                    <a:pt x="259" y="619"/>
                    <a:pt x="259" y="628"/>
                  </a:cubicBezTo>
                  <a:cubicBezTo>
                    <a:pt x="260" y="642"/>
                    <a:pt x="257" y="652"/>
                    <a:pt x="240" y="651"/>
                  </a:cubicBezTo>
                  <a:cubicBezTo>
                    <a:pt x="229" y="650"/>
                    <a:pt x="227" y="659"/>
                    <a:pt x="227" y="667"/>
                  </a:cubicBezTo>
                  <a:cubicBezTo>
                    <a:pt x="227" y="677"/>
                    <a:pt x="223" y="682"/>
                    <a:pt x="213" y="682"/>
                  </a:cubicBezTo>
                  <a:cubicBezTo>
                    <a:pt x="203" y="682"/>
                    <a:pt x="196" y="679"/>
                    <a:pt x="196" y="668"/>
                  </a:cubicBezTo>
                  <a:cubicBezTo>
                    <a:pt x="196" y="654"/>
                    <a:pt x="189" y="651"/>
                    <a:pt x="177" y="651"/>
                  </a:cubicBezTo>
                  <a:cubicBezTo>
                    <a:pt x="168" y="651"/>
                    <a:pt x="160" y="650"/>
                    <a:pt x="151" y="650"/>
                  </a:cubicBezTo>
                  <a:cubicBezTo>
                    <a:pt x="139" y="651"/>
                    <a:pt x="131" y="647"/>
                    <a:pt x="132" y="634"/>
                  </a:cubicBezTo>
                  <a:cubicBezTo>
                    <a:pt x="132" y="623"/>
                    <a:pt x="125" y="619"/>
                    <a:pt x="115" y="619"/>
                  </a:cubicBezTo>
                  <a:cubicBezTo>
                    <a:pt x="95" y="618"/>
                    <a:pt x="75" y="616"/>
                    <a:pt x="55" y="615"/>
                  </a:cubicBezTo>
                  <a:cubicBezTo>
                    <a:pt x="45" y="614"/>
                    <a:pt x="37" y="612"/>
                    <a:pt x="36" y="600"/>
                  </a:cubicBezTo>
                  <a:cubicBezTo>
                    <a:pt x="35" y="590"/>
                    <a:pt x="29" y="586"/>
                    <a:pt x="20" y="586"/>
                  </a:cubicBezTo>
                  <a:cubicBezTo>
                    <a:pt x="8" y="587"/>
                    <a:pt x="0" y="583"/>
                    <a:pt x="0" y="570"/>
                  </a:cubicBezTo>
                  <a:cubicBezTo>
                    <a:pt x="0" y="555"/>
                    <a:pt x="11" y="555"/>
                    <a:pt x="21" y="554"/>
                  </a:cubicBezTo>
                  <a:cubicBezTo>
                    <a:pt x="30" y="554"/>
                    <a:pt x="39" y="551"/>
                    <a:pt x="49" y="551"/>
                  </a:cubicBezTo>
                  <a:cubicBezTo>
                    <a:pt x="58" y="550"/>
                    <a:pt x="64" y="546"/>
                    <a:pt x="64" y="536"/>
                  </a:cubicBezTo>
                  <a:cubicBezTo>
                    <a:pt x="64" y="535"/>
                    <a:pt x="64" y="533"/>
                    <a:pt x="64" y="532"/>
                  </a:cubicBezTo>
                  <a:cubicBezTo>
                    <a:pt x="84" y="521"/>
                    <a:pt x="94" y="499"/>
                    <a:pt x="113" y="487"/>
                  </a:cubicBezTo>
                  <a:cubicBezTo>
                    <a:pt x="121" y="483"/>
                    <a:pt x="127" y="482"/>
                    <a:pt x="128" y="472"/>
                  </a:cubicBezTo>
                  <a:cubicBezTo>
                    <a:pt x="129" y="463"/>
                    <a:pt x="132" y="453"/>
                    <a:pt x="132" y="444"/>
                  </a:cubicBezTo>
                  <a:cubicBezTo>
                    <a:pt x="132" y="431"/>
                    <a:pt x="135" y="422"/>
                    <a:pt x="151" y="423"/>
                  </a:cubicBezTo>
                  <a:cubicBezTo>
                    <a:pt x="160" y="423"/>
                    <a:pt x="163" y="417"/>
                    <a:pt x="164" y="409"/>
                  </a:cubicBezTo>
                  <a:cubicBezTo>
                    <a:pt x="164" y="399"/>
                    <a:pt x="165" y="390"/>
                    <a:pt x="164" y="381"/>
                  </a:cubicBezTo>
                  <a:cubicBezTo>
                    <a:pt x="164" y="366"/>
                    <a:pt x="165" y="354"/>
                    <a:pt x="185" y="355"/>
                  </a:cubicBezTo>
                  <a:cubicBezTo>
                    <a:pt x="193" y="355"/>
                    <a:pt x="195" y="347"/>
                    <a:pt x="195" y="340"/>
                  </a:cubicBezTo>
                  <a:cubicBezTo>
                    <a:pt x="195" y="286"/>
                    <a:pt x="195" y="231"/>
                    <a:pt x="196" y="176"/>
                  </a:cubicBezTo>
                  <a:cubicBezTo>
                    <a:pt x="196" y="166"/>
                    <a:pt x="191" y="159"/>
                    <a:pt x="180" y="159"/>
                  </a:cubicBezTo>
                  <a:cubicBezTo>
                    <a:pt x="167" y="159"/>
                    <a:pt x="165" y="150"/>
                    <a:pt x="165" y="139"/>
                  </a:cubicBezTo>
                  <a:cubicBezTo>
                    <a:pt x="164" y="123"/>
                    <a:pt x="165" y="107"/>
                    <a:pt x="162" y="91"/>
                  </a:cubicBezTo>
                  <a:cubicBezTo>
                    <a:pt x="159" y="78"/>
                    <a:pt x="158" y="67"/>
                    <a:pt x="141" y="65"/>
                  </a:cubicBezTo>
                  <a:cubicBezTo>
                    <a:pt x="130" y="64"/>
                    <a:pt x="132" y="53"/>
                    <a:pt x="132" y="46"/>
                  </a:cubicBezTo>
                  <a:cubicBezTo>
                    <a:pt x="132" y="37"/>
                    <a:pt x="136" y="32"/>
                    <a:pt x="145" y="32"/>
                  </a:cubicBezTo>
                  <a:cubicBezTo>
                    <a:pt x="166" y="31"/>
                    <a:pt x="187" y="31"/>
                    <a:pt x="207" y="31"/>
                  </a:cubicBezTo>
                  <a:cubicBezTo>
                    <a:pt x="220" y="31"/>
                    <a:pt x="229" y="29"/>
                    <a:pt x="229" y="14"/>
                  </a:cubicBezTo>
                  <a:cubicBezTo>
                    <a:pt x="228" y="3"/>
                    <a:pt x="235" y="0"/>
                    <a:pt x="244" y="0"/>
                  </a:cubicBezTo>
                  <a:cubicBezTo>
                    <a:pt x="255" y="0"/>
                    <a:pt x="266" y="0"/>
                    <a:pt x="276" y="0"/>
                  </a:cubicBezTo>
                  <a:cubicBezTo>
                    <a:pt x="276" y="0"/>
                    <a:pt x="276" y="0"/>
                    <a:pt x="2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19" name="Freeform 89">
              <a:extLst>
                <a:ext uri="{FF2B5EF4-FFF2-40B4-BE49-F238E27FC236}">
                  <a16:creationId xmlns:a16="http://schemas.microsoft.com/office/drawing/2014/main" id="{B7AE8519-BB9F-E513-C702-13041094A5E5}"/>
                </a:ext>
              </a:extLst>
            </p:cNvPr>
            <p:cNvSpPr>
              <a:spLocks/>
            </p:cNvSpPr>
            <p:nvPr/>
          </p:nvSpPr>
          <p:spPr bwMode="auto">
            <a:xfrm>
              <a:off x="9272588" y="5411788"/>
              <a:ext cx="109537" cy="150813"/>
            </a:xfrm>
            <a:custGeom>
              <a:avLst/>
              <a:gdLst>
                <a:gd name="T0" fmla="*/ 196 w 520"/>
                <a:gd name="T1" fmla="*/ 148 h 715"/>
                <a:gd name="T2" fmla="*/ 167 w 520"/>
                <a:gd name="T3" fmla="*/ 101 h 715"/>
                <a:gd name="T4" fmla="*/ 150 w 520"/>
                <a:gd name="T5" fmla="*/ 63 h 715"/>
                <a:gd name="T6" fmla="*/ 153 w 520"/>
                <a:gd name="T7" fmla="*/ 32 h 715"/>
                <a:gd name="T8" fmla="*/ 201 w 520"/>
                <a:gd name="T9" fmla="*/ 12 h 715"/>
                <a:gd name="T10" fmla="*/ 280 w 520"/>
                <a:gd name="T11" fmla="*/ 0 h 715"/>
                <a:gd name="T12" fmla="*/ 315 w 520"/>
                <a:gd name="T13" fmla="*/ 31 h 715"/>
                <a:gd name="T14" fmla="*/ 391 w 520"/>
                <a:gd name="T15" fmla="*/ 45 h 715"/>
                <a:gd name="T16" fmla="*/ 360 w 520"/>
                <a:gd name="T17" fmla="*/ 83 h 715"/>
                <a:gd name="T18" fmla="*/ 342 w 520"/>
                <a:gd name="T19" fmla="*/ 131 h 715"/>
                <a:gd name="T20" fmla="*/ 328 w 520"/>
                <a:gd name="T21" fmla="*/ 343 h 715"/>
                <a:gd name="T22" fmla="*/ 359 w 520"/>
                <a:gd name="T23" fmla="*/ 377 h 715"/>
                <a:gd name="T24" fmla="*/ 379 w 520"/>
                <a:gd name="T25" fmla="*/ 424 h 715"/>
                <a:gd name="T26" fmla="*/ 392 w 520"/>
                <a:gd name="T27" fmla="*/ 463 h 715"/>
                <a:gd name="T28" fmla="*/ 424 w 520"/>
                <a:gd name="T29" fmla="*/ 500 h 715"/>
                <a:gd name="T30" fmla="*/ 459 w 520"/>
                <a:gd name="T31" fmla="*/ 533 h 715"/>
                <a:gd name="T32" fmla="*/ 509 w 520"/>
                <a:gd name="T33" fmla="*/ 555 h 715"/>
                <a:gd name="T34" fmla="*/ 510 w 520"/>
                <a:gd name="T35" fmla="*/ 583 h 715"/>
                <a:gd name="T36" fmla="*/ 458 w 520"/>
                <a:gd name="T37" fmla="*/ 606 h 715"/>
                <a:gd name="T38" fmla="*/ 417 w 520"/>
                <a:gd name="T39" fmla="*/ 618 h 715"/>
                <a:gd name="T40" fmla="*/ 379 w 520"/>
                <a:gd name="T41" fmla="*/ 650 h 715"/>
                <a:gd name="T42" fmla="*/ 327 w 520"/>
                <a:gd name="T43" fmla="*/ 671 h 715"/>
                <a:gd name="T44" fmla="*/ 295 w 520"/>
                <a:gd name="T45" fmla="*/ 700 h 715"/>
                <a:gd name="T46" fmla="*/ 250 w 520"/>
                <a:gd name="T47" fmla="*/ 714 h 715"/>
                <a:gd name="T48" fmla="*/ 217 w 520"/>
                <a:gd name="T49" fmla="*/ 683 h 715"/>
                <a:gd name="T50" fmla="*/ 181 w 520"/>
                <a:gd name="T51" fmla="*/ 651 h 715"/>
                <a:gd name="T52" fmla="*/ 135 w 520"/>
                <a:gd name="T53" fmla="*/ 632 h 715"/>
                <a:gd name="T54" fmla="*/ 64 w 520"/>
                <a:gd name="T55" fmla="*/ 615 h 715"/>
                <a:gd name="T56" fmla="*/ 6 w 520"/>
                <a:gd name="T57" fmla="*/ 576 h 715"/>
                <a:gd name="T58" fmla="*/ 47 w 520"/>
                <a:gd name="T59" fmla="*/ 552 h 715"/>
                <a:gd name="T60" fmla="*/ 109 w 520"/>
                <a:gd name="T61" fmla="*/ 488 h 715"/>
                <a:gd name="T62" fmla="*/ 156 w 520"/>
                <a:gd name="T63" fmla="*/ 423 h 715"/>
                <a:gd name="T64" fmla="*/ 169 w 520"/>
                <a:gd name="T65" fmla="*/ 380 h 715"/>
                <a:gd name="T66" fmla="*/ 199 w 520"/>
                <a:gd name="T67" fmla="*/ 34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0" h="715">
                  <a:moveTo>
                    <a:pt x="199" y="254"/>
                  </a:moveTo>
                  <a:cubicBezTo>
                    <a:pt x="199" y="219"/>
                    <a:pt x="203" y="183"/>
                    <a:pt x="196" y="148"/>
                  </a:cubicBezTo>
                  <a:cubicBezTo>
                    <a:pt x="195" y="143"/>
                    <a:pt x="196" y="134"/>
                    <a:pt x="189" y="133"/>
                  </a:cubicBezTo>
                  <a:cubicBezTo>
                    <a:pt x="166" y="132"/>
                    <a:pt x="168" y="116"/>
                    <a:pt x="167" y="101"/>
                  </a:cubicBezTo>
                  <a:cubicBezTo>
                    <a:pt x="167" y="93"/>
                    <a:pt x="165" y="86"/>
                    <a:pt x="164" y="79"/>
                  </a:cubicBezTo>
                  <a:cubicBezTo>
                    <a:pt x="164" y="70"/>
                    <a:pt x="160" y="64"/>
                    <a:pt x="150" y="63"/>
                  </a:cubicBezTo>
                  <a:cubicBezTo>
                    <a:pt x="137" y="63"/>
                    <a:pt x="136" y="54"/>
                    <a:pt x="136" y="44"/>
                  </a:cubicBezTo>
                  <a:cubicBezTo>
                    <a:pt x="137" y="33"/>
                    <a:pt x="145" y="32"/>
                    <a:pt x="153" y="32"/>
                  </a:cubicBezTo>
                  <a:cubicBezTo>
                    <a:pt x="161" y="31"/>
                    <a:pt x="169" y="30"/>
                    <a:pt x="177" y="31"/>
                  </a:cubicBezTo>
                  <a:cubicBezTo>
                    <a:pt x="191" y="32"/>
                    <a:pt x="201" y="28"/>
                    <a:pt x="201" y="12"/>
                  </a:cubicBezTo>
                  <a:cubicBezTo>
                    <a:pt x="201" y="3"/>
                    <a:pt x="207" y="0"/>
                    <a:pt x="214" y="0"/>
                  </a:cubicBezTo>
                  <a:cubicBezTo>
                    <a:pt x="236" y="0"/>
                    <a:pt x="258" y="0"/>
                    <a:pt x="280" y="0"/>
                  </a:cubicBezTo>
                  <a:cubicBezTo>
                    <a:pt x="290" y="0"/>
                    <a:pt x="296" y="4"/>
                    <a:pt x="296" y="14"/>
                  </a:cubicBezTo>
                  <a:cubicBezTo>
                    <a:pt x="296" y="28"/>
                    <a:pt x="304" y="31"/>
                    <a:pt x="315" y="31"/>
                  </a:cubicBezTo>
                  <a:cubicBezTo>
                    <a:pt x="335" y="31"/>
                    <a:pt x="355" y="32"/>
                    <a:pt x="375" y="32"/>
                  </a:cubicBezTo>
                  <a:cubicBezTo>
                    <a:pt x="384" y="32"/>
                    <a:pt x="391" y="34"/>
                    <a:pt x="391" y="45"/>
                  </a:cubicBezTo>
                  <a:cubicBezTo>
                    <a:pt x="391" y="55"/>
                    <a:pt x="390" y="63"/>
                    <a:pt x="378" y="63"/>
                  </a:cubicBezTo>
                  <a:cubicBezTo>
                    <a:pt x="363" y="63"/>
                    <a:pt x="360" y="70"/>
                    <a:pt x="360" y="83"/>
                  </a:cubicBezTo>
                  <a:cubicBezTo>
                    <a:pt x="360" y="92"/>
                    <a:pt x="359" y="100"/>
                    <a:pt x="360" y="109"/>
                  </a:cubicBezTo>
                  <a:cubicBezTo>
                    <a:pt x="360" y="122"/>
                    <a:pt x="358" y="132"/>
                    <a:pt x="342" y="131"/>
                  </a:cubicBezTo>
                  <a:cubicBezTo>
                    <a:pt x="331" y="131"/>
                    <a:pt x="328" y="138"/>
                    <a:pt x="328" y="147"/>
                  </a:cubicBezTo>
                  <a:cubicBezTo>
                    <a:pt x="328" y="212"/>
                    <a:pt x="328" y="278"/>
                    <a:pt x="328" y="343"/>
                  </a:cubicBezTo>
                  <a:cubicBezTo>
                    <a:pt x="328" y="354"/>
                    <a:pt x="333" y="359"/>
                    <a:pt x="344" y="359"/>
                  </a:cubicBezTo>
                  <a:cubicBezTo>
                    <a:pt x="356" y="359"/>
                    <a:pt x="360" y="366"/>
                    <a:pt x="359" y="377"/>
                  </a:cubicBezTo>
                  <a:cubicBezTo>
                    <a:pt x="359" y="385"/>
                    <a:pt x="360" y="393"/>
                    <a:pt x="360" y="401"/>
                  </a:cubicBezTo>
                  <a:cubicBezTo>
                    <a:pt x="359" y="415"/>
                    <a:pt x="362" y="425"/>
                    <a:pt x="379" y="424"/>
                  </a:cubicBezTo>
                  <a:cubicBezTo>
                    <a:pt x="387" y="424"/>
                    <a:pt x="391" y="429"/>
                    <a:pt x="391" y="437"/>
                  </a:cubicBezTo>
                  <a:cubicBezTo>
                    <a:pt x="391" y="446"/>
                    <a:pt x="392" y="454"/>
                    <a:pt x="392" y="463"/>
                  </a:cubicBezTo>
                  <a:cubicBezTo>
                    <a:pt x="392" y="477"/>
                    <a:pt x="394" y="489"/>
                    <a:pt x="412" y="488"/>
                  </a:cubicBezTo>
                  <a:cubicBezTo>
                    <a:pt x="420" y="487"/>
                    <a:pt x="424" y="493"/>
                    <a:pt x="424" y="500"/>
                  </a:cubicBezTo>
                  <a:cubicBezTo>
                    <a:pt x="423" y="516"/>
                    <a:pt x="431" y="520"/>
                    <a:pt x="445" y="520"/>
                  </a:cubicBezTo>
                  <a:cubicBezTo>
                    <a:pt x="454" y="520"/>
                    <a:pt x="459" y="525"/>
                    <a:pt x="459" y="533"/>
                  </a:cubicBezTo>
                  <a:cubicBezTo>
                    <a:pt x="459" y="547"/>
                    <a:pt x="467" y="551"/>
                    <a:pt x="480" y="552"/>
                  </a:cubicBezTo>
                  <a:cubicBezTo>
                    <a:pt x="490" y="552"/>
                    <a:pt x="499" y="554"/>
                    <a:pt x="509" y="555"/>
                  </a:cubicBezTo>
                  <a:cubicBezTo>
                    <a:pt x="516" y="556"/>
                    <a:pt x="520" y="561"/>
                    <a:pt x="520" y="568"/>
                  </a:cubicBezTo>
                  <a:cubicBezTo>
                    <a:pt x="520" y="575"/>
                    <a:pt x="518" y="581"/>
                    <a:pt x="510" y="583"/>
                  </a:cubicBezTo>
                  <a:cubicBezTo>
                    <a:pt x="502" y="584"/>
                    <a:pt x="494" y="586"/>
                    <a:pt x="486" y="586"/>
                  </a:cubicBezTo>
                  <a:cubicBezTo>
                    <a:pt x="473" y="587"/>
                    <a:pt x="459" y="587"/>
                    <a:pt x="458" y="606"/>
                  </a:cubicBezTo>
                  <a:cubicBezTo>
                    <a:pt x="458" y="614"/>
                    <a:pt x="451" y="615"/>
                    <a:pt x="444" y="615"/>
                  </a:cubicBezTo>
                  <a:cubicBezTo>
                    <a:pt x="435" y="616"/>
                    <a:pt x="426" y="618"/>
                    <a:pt x="417" y="618"/>
                  </a:cubicBezTo>
                  <a:cubicBezTo>
                    <a:pt x="402" y="618"/>
                    <a:pt x="390" y="621"/>
                    <a:pt x="391" y="639"/>
                  </a:cubicBezTo>
                  <a:cubicBezTo>
                    <a:pt x="391" y="647"/>
                    <a:pt x="385" y="649"/>
                    <a:pt x="379" y="650"/>
                  </a:cubicBezTo>
                  <a:cubicBezTo>
                    <a:pt x="370" y="650"/>
                    <a:pt x="361" y="651"/>
                    <a:pt x="353" y="651"/>
                  </a:cubicBezTo>
                  <a:cubicBezTo>
                    <a:pt x="338" y="650"/>
                    <a:pt x="326" y="652"/>
                    <a:pt x="327" y="671"/>
                  </a:cubicBezTo>
                  <a:cubicBezTo>
                    <a:pt x="328" y="680"/>
                    <a:pt x="321" y="682"/>
                    <a:pt x="313" y="682"/>
                  </a:cubicBezTo>
                  <a:cubicBezTo>
                    <a:pt x="301" y="682"/>
                    <a:pt x="294" y="687"/>
                    <a:pt x="295" y="700"/>
                  </a:cubicBezTo>
                  <a:cubicBezTo>
                    <a:pt x="296" y="711"/>
                    <a:pt x="288" y="714"/>
                    <a:pt x="278" y="714"/>
                  </a:cubicBezTo>
                  <a:cubicBezTo>
                    <a:pt x="269" y="714"/>
                    <a:pt x="260" y="714"/>
                    <a:pt x="250" y="714"/>
                  </a:cubicBezTo>
                  <a:cubicBezTo>
                    <a:pt x="239" y="715"/>
                    <a:pt x="232" y="711"/>
                    <a:pt x="232" y="699"/>
                  </a:cubicBezTo>
                  <a:cubicBezTo>
                    <a:pt x="233" y="688"/>
                    <a:pt x="228" y="682"/>
                    <a:pt x="217" y="683"/>
                  </a:cubicBezTo>
                  <a:cubicBezTo>
                    <a:pt x="206" y="683"/>
                    <a:pt x="199" y="679"/>
                    <a:pt x="200" y="667"/>
                  </a:cubicBezTo>
                  <a:cubicBezTo>
                    <a:pt x="200" y="654"/>
                    <a:pt x="192" y="651"/>
                    <a:pt x="181" y="651"/>
                  </a:cubicBezTo>
                  <a:cubicBezTo>
                    <a:pt x="173" y="651"/>
                    <a:pt x="165" y="650"/>
                    <a:pt x="158" y="650"/>
                  </a:cubicBezTo>
                  <a:cubicBezTo>
                    <a:pt x="145" y="651"/>
                    <a:pt x="135" y="648"/>
                    <a:pt x="135" y="632"/>
                  </a:cubicBezTo>
                  <a:cubicBezTo>
                    <a:pt x="136" y="622"/>
                    <a:pt x="128" y="619"/>
                    <a:pt x="119" y="619"/>
                  </a:cubicBezTo>
                  <a:cubicBezTo>
                    <a:pt x="101" y="618"/>
                    <a:pt x="82" y="616"/>
                    <a:pt x="64" y="615"/>
                  </a:cubicBezTo>
                  <a:cubicBezTo>
                    <a:pt x="61" y="615"/>
                    <a:pt x="57" y="616"/>
                    <a:pt x="56" y="614"/>
                  </a:cubicBezTo>
                  <a:cubicBezTo>
                    <a:pt x="39" y="602"/>
                    <a:pt x="26" y="585"/>
                    <a:pt x="6" y="576"/>
                  </a:cubicBezTo>
                  <a:cubicBezTo>
                    <a:pt x="0" y="574"/>
                    <a:pt x="3" y="556"/>
                    <a:pt x="19" y="555"/>
                  </a:cubicBezTo>
                  <a:cubicBezTo>
                    <a:pt x="28" y="554"/>
                    <a:pt x="37" y="552"/>
                    <a:pt x="47" y="552"/>
                  </a:cubicBezTo>
                  <a:cubicBezTo>
                    <a:pt x="60" y="551"/>
                    <a:pt x="64" y="545"/>
                    <a:pt x="70" y="533"/>
                  </a:cubicBezTo>
                  <a:cubicBezTo>
                    <a:pt x="78" y="516"/>
                    <a:pt x="104" y="511"/>
                    <a:pt x="109" y="488"/>
                  </a:cubicBezTo>
                  <a:cubicBezTo>
                    <a:pt x="142" y="489"/>
                    <a:pt x="132" y="461"/>
                    <a:pt x="135" y="445"/>
                  </a:cubicBezTo>
                  <a:cubicBezTo>
                    <a:pt x="138" y="432"/>
                    <a:pt x="139" y="422"/>
                    <a:pt x="156" y="423"/>
                  </a:cubicBezTo>
                  <a:cubicBezTo>
                    <a:pt x="164" y="423"/>
                    <a:pt x="167" y="417"/>
                    <a:pt x="167" y="409"/>
                  </a:cubicBezTo>
                  <a:cubicBezTo>
                    <a:pt x="168" y="399"/>
                    <a:pt x="169" y="389"/>
                    <a:pt x="169" y="380"/>
                  </a:cubicBezTo>
                  <a:cubicBezTo>
                    <a:pt x="168" y="367"/>
                    <a:pt x="171" y="359"/>
                    <a:pt x="186" y="358"/>
                  </a:cubicBezTo>
                  <a:cubicBezTo>
                    <a:pt x="197" y="358"/>
                    <a:pt x="199" y="350"/>
                    <a:pt x="199" y="340"/>
                  </a:cubicBezTo>
                  <a:cubicBezTo>
                    <a:pt x="199" y="311"/>
                    <a:pt x="199" y="283"/>
                    <a:pt x="19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20" name="Freeform 90">
              <a:extLst>
                <a:ext uri="{FF2B5EF4-FFF2-40B4-BE49-F238E27FC236}">
                  <a16:creationId xmlns:a16="http://schemas.microsoft.com/office/drawing/2014/main" id="{E929540A-63FA-05C9-5423-6F8111694FBB}"/>
                </a:ext>
              </a:extLst>
            </p:cNvPr>
            <p:cNvSpPr>
              <a:spLocks/>
            </p:cNvSpPr>
            <p:nvPr/>
          </p:nvSpPr>
          <p:spPr bwMode="auto">
            <a:xfrm>
              <a:off x="8926513" y="5411788"/>
              <a:ext cx="95250" cy="138113"/>
            </a:xfrm>
            <a:custGeom>
              <a:avLst/>
              <a:gdLst>
                <a:gd name="T0" fmla="*/ 182 w 452"/>
                <a:gd name="T1" fmla="*/ 1 h 652"/>
                <a:gd name="T2" fmla="*/ 206 w 452"/>
                <a:gd name="T3" fmla="*/ 1 h 652"/>
                <a:gd name="T4" fmla="*/ 228 w 452"/>
                <a:gd name="T5" fmla="*/ 19 h 652"/>
                <a:gd name="T6" fmla="*/ 245 w 452"/>
                <a:gd name="T7" fmla="*/ 32 h 652"/>
                <a:gd name="T8" fmla="*/ 307 w 452"/>
                <a:gd name="T9" fmla="*/ 33 h 652"/>
                <a:gd name="T10" fmla="*/ 323 w 452"/>
                <a:gd name="T11" fmla="*/ 47 h 652"/>
                <a:gd name="T12" fmla="*/ 309 w 452"/>
                <a:gd name="T13" fmla="*/ 64 h 652"/>
                <a:gd name="T14" fmla="*/ 292 w 452"/>
                <a:gd name="T15" fmla="*/ 85 h 652"/>
                <a:gd name="T16" fmla="*/ 291 w 452"/>
                <a:gd name="T17" fmla="*/ 143 h 652"/>
                <a:gd name="T18" fmla="*/ 276 w 452"/>
                <a:gd name="T19" fmla="*/ 160 h 652"/>
                <a:gd name="T20" fmla="*/ 260 w 452"/>
                <a:gd name="T21" fmla="*/ 179 h 652"/>
                <a:gd name="T22" fmla="*/ 260 w 452"/>
                <a:gd name="T23" fmla="*/ 337 h 652"/>
                <a:gd name="T24" fmla="*/ 276 w 452"/>
                <a:gd name="T25" fmla="*/ 357 h 652"/>
                <a:gd name="T26" fmla="*/ 291 w 452"/>
                <a:gd name="T27" fmla="*/ 376 h 652"/>
                <a:gd name="T28" fmla="*/ 292 w 452"/>
                <a:gd name="T29" fmla="*/ 402 h 652"/>
                <a:gd name="T30" fmla="*/ 311 w 452"/>
                <a:gd name="T31" fmla="*/ 425 h 652"/>
                <a:gd name="T32" fmla="*/ 323 w 452"/>
                <a:gd name="T33" fmla="*/ 438 h 652"/>
                <a:gd name="T34" fmla="*/ 324 w 452"/>
                <a:gd name="T35" fmla="*/ 468 h 652"/>
                <a:gd name="T36" fmla="*/ 342 w 452"/>
                <a:gd name="T37" fmla="*/ 488 h 652"/>
                <a:gd name="T38" fmla="*/ 356 w 452"/>
                <a:gd name="T39" fmla="*/ 501 h 652"/>
                <a:gd name="T40" fmla="*/ 356 w 452"/>
                <a:gd name="T41" fmla="*/ 505 h 652"/>
                <a:gd name="T42" fmla="*/ 360 w 452"/>
                <a:gd name="T43" fmla="*/ 516 h 652"/>
                <a:gd name="T44" fmla="*/ 405 w 452"/>
                <a:gd name="T45" fmla="*/ 552 h 652"/>
                <a:gd name="T46" fmla="*/ 437 w 452"/>
                <a:gd name="T47" fmla="*/ 556 h 652"/>
                <a:gd name="T48" fmla="*/ 452 w 452"/>
                <a:gd name="T49" fmla="*/ 568 h 652"/>
                <a:gd name="T50" fmla="*/ 438 w 452"/>
                <a:gd name="T51" fmla="*/ 584 h 652"/>
                <a:gd name="T52" fmla="*/ 419 w 452"/>
                <a:gd name="T53" fmla="*/ 602 h 652"/>
                <a:gd name="T54" fmla="*/ 401 w 452"/>
                <a:gd name="T55" fmla="*/ 616 h 652"/>
                <a:gd name="T56" fmla="*/ 341 w 452"/>
                <a:gd name="T57" fmla="*/ 619 h 652"/>
                <a:gd name="T58" fmla="*/ 324 w 452"/>
                <a:gd name="T59" fmla="*/ 636 h 652"/>
                <a:gd name="T60" fmla="*/ 307 w 452"/>
                <a:gd name="T61" fmla="*/ 651 h 652"/>
                <a:gd name="T62" fmla="*/ 246 w 452"/>
                <a:gd name="T63" fmla="*/ 652 h 652"/>
                <a:gd name="T64" fmla="*/ 229 w 452"/>
                <a:gd name="T65" fmla="*/ 635 h 652"/>
                <a:gd name="T66" fmla="*/ 212 w 452"/>
                <a:gd name="T67" fmla="*/ 616 h 652"/>
                <a:gd name="T68" fmla="*/ 197 w 452"/>
                <a:gd name="T69" fmla="*/ 599 h 652"/>
                <a:gd name="T70" fmla="*/ 196 w 452"/>
                <a:gd name="T71" fmla="*/ 573 h 652"/>
                <a:gd name="T72" fmla="*/ 179 w 452"/>
                <a:gd name="T73" fmla="*/ 552 h 652"/>
                <a:gd name="T74" fmla="*/ 165 w 452"/>
                <a:gd name="T75" fmla="*/ 536 h 652"/>
                <a:gd name="T76" fmla="*/ 164 w 452"/>
                <a:gd name="T77" fmla="*/ 510 h 652"/>
                <a:gd name="T78" fmla="*/ 144 w 452"/>
                <a:gd name="T79" fmla="*/ 488 h 652"/>
                <a:gd name="T80" fmla="*/ 132 w 452"/>
                <a:gd name="T81" fmla="*/ 475 h 652"/>
                <a:gd name="T82" fmla="*/ 132 w 452"/>
                <a:gd name="T83" fmla="*/ 447 h 652"/>
                <a:gd name="T84" fmla="*/ 113 w 452"/>
                <a:gd name="T85" fmla="*/ 423 h 652"/>
                <a:gd name="T86" fmla="*/ 101 w 452"/>
                <a:gd name="T87" fmla="*/ 408 h 652"/>
                <a:gd name="T88" fmla="*/ 100 w 452"/>
                <a:gd name="T89" fmla="*/ 378 h 652"/>
                <a:gd name="T90" fmla="*/ 82 w 452"/>
                <a:gd name="T91" fmla="*/ 355 h 652"/>
                <a:gd name="T92" fmla="*/ 68 w 452"/>
                <a:gd name="T93" fmla="*/ 339 h 652"/>
                <a:gd name="T94" fmla="*/ 64 w 452"/>
                <a:gd name="T95" fmla="*/ 277 h 652"/>
                <a:gd name="T96" fmla="*/ 51 w 452"/>
                <a:gd name="T97" fmla="*/ 259 h 652"/>
                <a:gd name="T98" fmla="*/ 37 w 452"/>
                <a:gd name="T99" fmla="*/ 240 h 652"/>
                <a:gd name="T100" fmla="*/ 32 w 452"/>
                <a:gd name="T101" fmla="*/ 152 h 652"/>
                <a:gd name="T102" fmla="*/ 17 w 452"/>
                <a:gd name="T103" fmla="*/ 131 h 652"/>
                <a:gd name="T104" fmla="*/ 4 w 452"/>
                <a:gd name="T105" fmla="*/ 115 h 652"/>
                <a:gd name="T106" fmla="*/ 1 w 452"/>
                <a:gd name="T107" fmla="*/ 53 h 652"/>
                <a:gd name="T108" fmla="*/ 21 w 452"/>
                <a:gd name="T109" fmla="*/ 33 h 652"/>
                <a:gd name="T110" fmla="*/ 113 w 452"/>
                <a:gd name="T111" fmla="*/ 32 h 652"/>
                <a:gd name="T112" fmla="*/ 132 w 452"/>
                <a:gd name="T113" fmla="*/ 19 h 652"/>
                <a:gd name="T114" fmla="*/ 156 w 452"/>
                <a:gd name="T115" fmla="*/ 1 h 652"/>
                <a:gd name="T116" fmla="*/ 182 w 452"/>
                <a:gd name="T117" fmla="*/ 1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2" h="652">
                  <a:moveTo>
                    <a:pt x="182" y="1"/>
                  </a:moveTo>
                  <a:cubicBezTo>
                    <a:pt x="190" y="1"/>
                    <a:pt x="198" y="2"/>
                    <a:pt x="206" y="1"/>
                  </a:cubicBezTo>
                  <a:cubicBezTo>
                    <a:pt x="218" y="0"/>
                    <a:pt x="228" y="2"/>
                    <a:pt x="228" y="19"/>
                  </a:cubicBezTo>
                  <a:cubicBezTo>
                    <a:pt x="228" y="29"/>
                    <a:pt x="236" y="31"/>
                    <a:pt x="245" y="32"/>
                  </a:cubicBezTo>
                  <a:cubicBezTo>
                    <a:pt x="265" y="32"/>
                    <a:pt x="286" y="32"/>
                    <a:pt x="307" y="33"/>
                  </a:cubicBezTo>
                  <a:cubicBezTo>
                    <a:pt x="317" y="33"/>
                    <a:pt x="323" y="35"/>
                    <a:pt x="323" y="47"/>
                  </a:cubicBezTo>
                  <a:cubicBezTo>
                    <a:pt x="323" y="57"/>
                    <a:pt x="320" y="64"/>
                    <a:pt x="309" y="64"/>
                  </a:cubicBezTo>
                  <a:cubicBezTo>
                    <a:pt x="294" y="64"/>
                    <a:pt x="292" y="73"/>
                    <a:pt x="292" y="85"/>
                  </a:cubicBezTo>
                  <a:cubicBezTo>
                    <a:pt x="292" y="104"/>
                    <a:pt x="291" y="124"/>
                    <a:pt x="291" y="143"/>
                  </a:cubicBezTo>
                  <a:cubicBezTo>
                    <a:pt x="291" y="153"/>
                    <a:pt x="287" y="160"/>
                    <a:pt x="276" y="160"/>
                  </a:cubicBezTo>
                  <a:cubicBezTo>
                    <a:pt x="263" y="160"/>
                    <a:pt x="259" y="167"/>
                    <a:pt x="260" y="179"/>
                  </a:cubicBezTo>
                  <a:cubicBezTo>
                    <a:pt x="260" y="232"/>
                    <a:pt x="260" y="284"/>
                    <a:pt x="260" y="337"/>
                  </a:cubicBezTo>
                  <a:cubicBezTo>
                    <a:pt x="260" y="349"/>
                    <a:pt x="263" y="356"/>
                    <a:pt x="276" y="357"/>
                  </a:cubicBezTo>
                  <a:cubicBezTo>
                    <a:pt x="288" y="358"/>
                    <a:pt x="292" y="365"/>
                    <a:pt x="291" y="376"/>
                  </a:cubicBezTo>
                  <a:cubicBezTo>
                    <a:pt x="291" y="385"/>
                    <a:pt x="292" y="393"/>
                    <a:pt x="292" y="402"/>
                  </a:cubicBezTo>
                  <a:cubicBezTo>
                    <a:pt x="291" y="416"/>
                    <a:pt x="294" y="426"/>
                    <a:pt x="311" y="425"/>
                  </a:cubicBezTo>
                  <a:cubicBezTo>
                    <a:pt x="319" y="425"/>
                    <a:pt x="322" y="430"/>
                    <a:pt x="323" y="438"/>
                  </a:cubicBezTo>
                  <a:cubicBezTo>
                    <a:pt x="323" y="448"/>
                    <a:pt x="324" y="458"/>
                    <a:pt x="324" y="468"/>
                  </a:cubicBezTo>
                  <a:cubicBezTo>
                    <a:pt x="324" y="481"/>
                    <a:pt x="328" y="488"/>
                    <a:pt x="342" y="488"/>
                  </a:cubicBezTo>
                  <a:cubicBezTo>
                    <a:pt x="351" y="488"/>
                    <a:pt x="356" y="492"/>
                    <a:pt x="356" y="501"/>
                  </a:cubicBezTo>
                  <a:cubicBezTo>
                    <a:pt x="356" y="503"/>
                    <a:pt x="356" y="504"/>
                    <a:pt x="356" y="505"/>
                  </a:cubicBezTo>
                  <a:cubicBezTo>
                    <a:pt x="357" y="509"/>
                    <a:pt x="359" y="516"/>
                    <a:pt x="360" y="516"/>
                  </a:cubicBezTo>
                  <a:cubicBezTo>
                    <a:pt x="390" y="509"/>
                    <a:pt x="382" y="550"/>
                    <a:pt x="405" y="552"/>
                  </a:cubicBezTo>
                  <a:cubicBezTo>
                    <a:pt x="416" y="553"/>
                    <a:pt x="426" y="555"/>
                    <a:pt x="437" y="556"/>
                  </a:cubicBezTo>
                  <a:cubicBezTo>
                    <a:pt x="445" y="557"/>
                    <a:pt x="451" y="559"/>
                    <a:pt x="452" y="568"/>
                  </a:cubicBezTo>
                  <a:cubicBezTo>
                    <a:pt x="452" y="578"/>
                    <a:pt x="448" y="584"/>
                    <a:pt x="438" y="584"/>
                  </a:cubicBezTo>
                  <a:cubicBezTo>
                    <a:pt x="426" y="585"/>
                    <a:pt x="420" y="590"/>
                    <a:pt x="419" y="602"/>
                  </a:cubicBezTo>
                  <a:cubicBezTo>
                    <a:pt x="419" y="614"/>
                    <a:pt x="410" y="615"/>
                    <a:pt x="401" y="616"/>
                  </a:cubicBezTo>
                  <a:cubicBezTo>
                    <a:pt x="381" y="617"/>
                    <a:pt x="361" y="619"/>
                    <a:pt x="341" y="619"/>
                  </a:cubicBezTo>
                  <a:cubicBezTo>
                    <a:pt x="330" y="620"/>
                    <a:pt x="323" y="623"/>
                    <a:pt x="324" y="636"/>
                  </a:cubicBezTo>
                  <a:cubicBezTo>
                    <a:pt x="324" y="647"/>
                    <a:pt x="318" y="651"/>
                    <a:pt x="307" y="651"/>
                  </a:cubicBezTo>
                  <a:cubicBezTo>
                    <a:pt x="287" y="651"/>
                    <a:pt x="266" y="651"/>
                    <a:pt x="246" y="652"/>
                  </a:cubicBezTo>
                  <a:cubicBezTo>
                    <a:pt x="234" y="652"/>
                    <a:pt x="228" y="647"/>
                    <a:pt x="229" y="635"/>
                  </a:cubicBezTo>
                  <a:cubicBezTo>
                    <a:pt x="229" y="623"/>
                    <a:pt x="225" y="616"/>
                    <a:pt x="212" y="616"/>
                  </a:cubicBezTo>
                  <a:cubicBezTo>
                    <a:pt x="201" y="616"/>
                    <a:pt x="197" y="610"/>
                    <a:pt x="197" y="599"/>
                  </a:cubicBezTo>
                  <a:cubicBezTo>
                    <a:pt x="197" y="591"/>
                    <a:pt x="196" y="582"/>
                    <a:pt x="196" y="573"/>
                  </a:cubicBezTo>
                  <a:cubicBezTo>
                    <a:pt x="196" y="561"/>
                    <a:pt x="193" y="552"/>
                    <a:pt x="179" y="552"/>
                  </a:cubicBezTo>
                  <a:cubicBezTo>
                    <a:pt x="169" y="552"/>
                    <a:pt x="165" y="546"/>
                    <a:pt x="165" y="536"/>
                  </a:cubicBezTo>
                  <a:cubicBezTo>
                    <a:pt x="165" y="528"/>
                    <a:pt x="163" y="519"/>
                    <a:pt x="164" y="510"/>
                  </a:cubicBezTo>
                  <a:cubicBezTo>
                    <a:pt x="164" y="497"/>
                    <a:pt x="161" y="487"/>
                    <a:pt x="144" y="488"/>
                  </a:cubicBezTo>
                  <a:cubicBezTo>
                    <a:pt x="136" y="488"/>
                    <a:pt x="133" y="482"/>
                    <a:pt x="132" y="475"/>
                  </a:cubicBezTo>
                  <a:cubicBezTo>
                    <a:pt x="132" y="465"/>
                    <a:pt x="131" y="456"/>
                    <a:pt x="132" y="447"/>
                  </a:cubicBezTo>
                  <a:cubicBezTo>
                    <a:pt x="132" y="433"/>
                    <a:pt x="130" y="423"/>
                    <a:pt x="113" y="423"/>
                  </a:cubicBezTo>
                  <a:cubicBezTo>
                    <a:pt x="103" y="423"/>
                    <a:pt x="101" y="416"/>
                    <a:pt x="101" y="408"/>
                  </a:cubicBezTo>
                  <a:cubicBezTo>
                    <a:pt x="100" y="398"/>
                    <a:pt x="99" y="388"/>
                    <a:pt x="100" y="378"/>
                  </a:cubicBezTo>
                  <a:cubicBezTo>
                    <a:pt x="100" y="365"/>
                    <a:pt x="97" y="356"/>
                    <a:pt x="82" y="355"/>
                  </a:cubicBezTo>
                  <a:cubicBezTo>
                    <a:pt x="71" y="355"/>
                    <a:pt x="69" y="348"/>
                    <a:pt x="68" y="339"/>
                  </a:cubicBezTo>
                  <a:cubicBezTo>
                    <a:pt x="66" y="319"/>
                    <a:pt x="64" y="298"/>
                    <a:pt x="64" y="277"/>
                  </a:cubicBezTo>
                  <a:cubicBezTo>
                    <a:pt x="64" y="268"/>
                    <a:pt x="62" y="260"/>
                    <a:pt x="51" y="259"/>
                  </a:cubicBezTo>
                  <a:cubicBezTo>
                    <a:pt x="37" y="259"/>
                    <a:pt x="37" y="250"/>
                    <a:pt x="37" y="240"/>
                  </a:cubicBezTo>
                  <a:cubicBezTo>
                    <a:pt x="35" y="211"/>
                    <a:pt x="33" y="181"/>
                    <a:pt x="32" y="152"/>
                  </a:cubicBezTo>
                  <a:cubicBezTo>
                    <a:pt x="32" y="141"/>
                    <a:pt x="31" y="132"/>
                    <a:pt x="17" y="131"/>
                  </a:cubicBezTo>
                  <a:cubicBezTo>
                    <a:pt x="6" y="131"/>
                    <a:pt x="4" y="124"/>
                    <a:pt x="4" y="115"/>
                  </a:cubicBezTo>
                  <a:cubicBezTo>
                    <a:pt x="3" y="94"/>
                    <a:pt x="2" y="74"/>
                    <a:pt x="1" y="53"/>
                  </a:cubicBezTo>
                  <a:cubicBezTo>
                    <a:pt x="0" y="39"/>
                    <a:pt x="6" y="32"/>
                    <a:pt x="21" y="33"/>
                  </a:cubicBezTo>
                  <a:cubicBezTo>
                    <a:pt x="51" y="33"/>
                    <a:pt x="82" y="32"/>
                    <a:pt x="113" y="32"/>
                  </a:cubicBezTo>
                  <a:cubicBezTo>
                    <a:pt x="122" y="32"/>
                    <a:pt x="132" y="31"/>
                    <a:pt x="132" y="19"/>
                  </a:cubicBezTo>
                  <a:cubicBezTo>
                    <a:pt x="132" y="2"/>
                    <a:pt x="142" y="1"/>
                    <a:pt x="156" y="1"/>
                  </a:cubicBezTo>
                  <a:cubicBezTo>
                    <a:pt x="164" y="2"/>
                    <a:pt x="173" y="1"/>
                    <a:pt x="18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21" name="Freeform 91">
              <a:extLst>
                <a:ext uri="{FF2B5EF4-FFF2-40B4-BE49-F238E27FC236}">
                  <a16:creationId xmlns:a16="http://schemas.microsoft.com/office/drawing/2014/main" id="{2DE6832B-0976-3875-9871-7ED2DC3BBD74}"/>
                </a:ext>
              </a:extLst>
            </p:cNvPr>
            <p:cNvSpPr>
              <a:spLocks/>
            </p:cNvSpPr>
            <p:nvPr/>
          </p:nvSpPr>
          <p:spPr bwMode="auto">
            <a:xfrm>
              <a:off x="9363075" y="5289551"/>
              <a:ext cx="107950" cy="115888"/>
            </a:xfrm>
            <a:custGeom>
              <a:avLst/>
              <a:gdLst>
                <a:gd name="T0" fmla="*/ 273 w 519"/>
                <a:gd name="T1" fmla="*/ 1 h 554"/>
                <a:gd name="T2" fmla="*/ 364 w 519"/>
                <a:gd name="T3" fmla="*/ 1 h 554"/>
                <a:gd name="T4" fmla="*/ 387 w 519"/>
                <a:gd name="T5" fmla="*/ 24 h 554"/>
                <a:gd name="T6" fmla="*/ 387 w 519"/>
                <a:gd name="T7" fmla="*/ 66 h 554"/>
                <a:gd name="T8" fmla="*/ 364 w 519"/>
                <a:gd name="T9" fmla="*/ 98 h 554"/>
                <a:gd name="T10" fmla="*/ 356 w 519"/>
                <a:gd name="T11" fmla="*/ 114 h 554"/>
                <a:gd name="T12" fmla="*/ 355 w 519"/>
                <a:gd name="T13" fmla="*/ 340 h 554"/>
                <a:gd name="T14" fmla="*/ 370 w 519"/>
                <a:gd name="T15" fmla="*/ 357 h 554"/>
                <a:gd name="T16" fmla="*/ 387 w 519"/>
                <a:gd name="T17" fmla="*/ 376 h 554"/>
                <a:gd name="T18" fmla="*/ 387 w 519"/>
                <a:gd name="T19" fmla="*/ 399 h 554"/>
                <a:gd name="T20" fmla="*/ 406 w 519"/>
                <a:gd name="T21" fmla="*/ 421 h 554"/>
                <a:gd name="T22" fmla="*/ 419 w 519"/>
                <a:gd name="T23" fmla="*/ 438 h 554"/>
                <a:gd name="T24" fmla="*/ 436 w 519"/>
                <a:gd name="T25" fmla="*/ 457 h 554"/>
                <a:gd name="T26" fmla="*/ 451 w 519"/>
                <a:gd name="T27" fmla="*/ 471 h 554"/>
                <a:gd name="T28" fmla="*/ 451 w 519"/>
                <a:gd name="T29" fmla="*/ 473 h 554"/>
                <a:gd name="T30" fmla="*/ 481 w 519"/>
                <a:gd name="T31" fmla="*/ 496 h 554"/>
                <a:gd name="T32" fmla="*/ 503 w 519"/>
                <a:gd name="T33" fmla="*/ 521 h 554"/>
                <a:gd name="T34" fmla="*/ 519 w 519"/>
                <a:gd name="T35" fmla="*/ 537 h 554"/>
                <a:gd name="T36" fmla="*/ 501 w 519"/>
                <a:gd name="T37" fmla="*/ 553 h 554"/>
                <a:gd name="T38" fmla="*/ 473 w 519"/>
                <a:gd name="T39" fmla="*/ 552 h 554"/>
                <a:gd name="T40" fmla="*/ 451 w 519"/>
                <a:gd name="T41" fmla="*/ 534 h 554"/>
                <a:gd name="T42" fmla="*/ 437 w 519"/>
                <a:gd name="T43" fmla="*/ 521 h 554"/>
                <a:gd name="T44" fmla="*/ 407 w 519"/>
                <a:gd name="T45" fmla="*/ 517 h 554"/>
                <a:gd name="T46" fmla="*/ 387 w 519"/>
                <a:gd name="T47" fmla="*/ 501 h 554"/>
                <a:gd name="T48" fmla="*/ 372 w 519"/>
                <a:gd name="T49" fmla="*/ 489 h 554"/>
                <a:gd name="T50" fmla="*/ 141 w 519"/>
                <a:gd name="T51" fmla="*/ 489 h 554"/>
                <a:gd name="T52" fmla="*/ 129 w 519"/>
                <a:gd name="T53" fmla="*/ 495 h 554"/>
                <a:gd name="T54" fmla="*/ 86 w 519"/>
                <a:gd name="T55" fmla="*/ 520 h 554"/>
                <a:gd name="T56" fmla="*/ 63 w 519"/>
                <a:gd name="T57" fmla="*/ 540 h 554"/>
                <a:gd name="T58" fmla="*/ 50 w 519"/>
                <a:gd name="T59" fmla="*/ 552 h 554"/>
                <a:gd name="T60" fmla="*/ 16 w 519"/>
                <a:gd name="T61" fmla="*/ 553 h 554"/>
                <a:gd name="T62" fmla="*/ 0 w 519"/>
                <a:gd name="T63" fmla="*/ 537 h 554"/>
                <a:gd name="T64" fmla="*/ 15 w 519"/>
                <a:gd name="T65" fmla="*/ 521 h 554"/>
                <a:gd name="T66" fmla="*/ 36 w 519"/>
                <a:gd name="T67" fmla="*/ 504 h 554"/>
                <a:gd name="T68" fmla="*/ 51 w 519"/>
                <a:gd name="T69" fmla="*/ 490 h 554"/>
                <a:gd name="T70" fmla="*/ 55 w 519"/>
                <a:gd name="T71" fmla="*/ 489 h 554"/>
                <a:gd name="T72" fmla="*/ 99 w 519"/>
                <a:gd name="T73" fmla="*/ 444 h 554"/>
                <a:gd name="T74" fmla="*/ 116 w 519"/>
                <a:gd name="T75" fmla="*/ 425 h 554"/>
                <a:gd name="T76" fmla="*/ 131 w 519"/>
                <a:gd name="T77" fmla="*/ 407 h 554"/>
                <a:gd name="T78" fmla="*/ 148 w 519"/>
                <a:gd name="T79" fmla="*/ 389 h 554"/>
                <a:gd name="T80" fmla="*/ 162 w 519"/>
                <a:gd name="T81" fmla="*/ 372 h 554"/>
                <a:gd name="T82" fmla="*/ 163 w 519"/>
                <a:gd name="T83" fmla="*/ 310 h 554"/>
                <a:gd name="T84" fmla="*/ 178 w 519"/>
                <a:gd name="T85" fmla="*/ 289 h 554"/>
                <a:gd name="T86" fmla="*/ 191 w 519"/>
                <a:gd name="T87" fmla="*/ 274 h 554"/>
                <a:gd name="T88" fmla="*/ 191 w 519"/>
                <a:gd name="T89" fmla="*/ 186 h 554"/>
                <a:gd name="T90" fmla="*/ 178 w 519"/>
                <a:gd name="T91" fmla="*/ 169 h 554"/>
                <a:gd name="T92" fmla="*/ 163 w 519"/>
                <a:gd name="T93" fmla="*/ 149 h 554"/>
                <a:gd name="T94" fmla="*/ 163 w 519"/>
                <a:gd name="T95" fmla="*/ 85 h 554"/>
                <a:gd name="T96" fmla="*/ 145 w 519"/>
                <a:gd name="T97" fmla="*/ 64 h 554"/>
                <a:gd name="T98" fmla="*/ 131 w 519"/>
                <a:gd name="T99" fmla="*/ 49 h 554"/>
                <a:gd name="T100" fmla="*/ 143 w 519"/>
                <a:gd name="T101" fmla="*/ 29 h 554"/>
                <a:gd name="T102" fmla="*/ 158 w 519"/>
                <a:gd name="T103" fmla="*/ 19 h 554"/>
                <a:gd name="T104" fmla="*/ 185 w 519"/>
                <a:gd name="T105" fmla="*/ 1 h 554"/>
                <a:gd name="T106" fmla="*/ 273 w 519"/>
                <a:gd name="T107" fmla="*/ 1 h 554"/>
                <a:gd name="T108" fmla="*/ 273 w 519"/>
                <a:gd name="T109" fmla="*/ 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9" h="554">
                  <a:moveTo>
                    <a:pt x="273" y="1"/>
                  </a:moveTo>
                  <a:cubicBezTo>
                    <a:pt x="303" y="1"/>
                    <a:pt x="334" y="2"/>
                    <a:pt x="364" y="1"/>
                  </a:cubicBezTo>
                  <a:cubicBezTo>
                    <a:pt x="382" y="0"/>
                    <a:pt x="388" y="8"/>
                    <a:pt x="387" y="24"/>
                  </a:cubicBezTo>
                  <a:cubicBezTo>
                    <a:pt x="386" y="38"/>
                    <a:pt x="387" y="52"/>
                    <a:pt x="387" y="66"/>
                  </a:cubicBezTo>
                  <a:cubicBezTo>
                    <a:pt x="387" y="83"/>
                    <a:pt x="389" y="99"/>
                    <a:pt x="364" y="98"/>
                  </a:cubicBezTo>
                  <a:cubicBezTo>
                    <a:pt x="356" y="98"/>
                    <a:pt x="356" y="107"/>
                    <a:pt x="356" y="114"/>
                  </a:cubicBezTo>
                  <a:cubicBezTo>
                    <a:pt x="354" y="189"/>
                    <a:pt x="354" y="264"/>
                    <a:pt x="355" y="340"/>
                  </a:cubicBezTo>
                  <a:cubicBezTo>
                    <a:pt x="356" y="350"/>
                    <a:pt x="359" y="357"/>
                    <a:pt x="370" y="357"/>
                  </a:cubicBezTo>
                  <a:cubicBezTo>
                    <a:pt x="384" y="356"/>
                    <a:pt x="387" y="364"/>
                    <a:pt x="387" y="376"/>
                  </a:cubicBezTo>
                  <a:cubicBezTo>
                    <a:pt x="387" y="384"/>
                    <a:pt x="388" y="392"/>
                    <a:pt x="387" y="399"/>
                  </a:cubicBezTo>
                  <a:cubicBezTo>
                    <a:pt x="387" y="413"/>
                    <a:pt x="390" y="422"/>
                    <a:pt x="406" y="421"/>
                  </a:cubicBezTo>
                  <a:cubicBezTo>
                    <a:pt x="416" y="421"/>
                    <a:pt x="419" y="429"/>
                    <a:pt x="419" y="438"/>
                  </a:cubicBezTo>
                  <a:cubicBezTo>
                    <a:pt x="419" y="450"/>
                    <a:pt x="424" y="456"/>
                    <a:pt x="436" y="457"/>
                  </a:cubicBezTo>
                  <a:cubicBezTo>
                    <a:pt x="446" y="457"/>
                    <a:pt x="451" y="461"/>
                    <a:pt x="451" y="471"/>
                  </a:cubicBezTo>
                  <a:cubicBezTo>
                    <a:pt x="451" y="472"/>
                    <a:pt x="451" y="473"/>
                    <a:pt x="451" y="473"/>
                  </a:cubicBezTo>
                  <a:cubicBezTo>
                    <a:pt x="450" y="495"/>
                    <a:pt x="476" y="483"/>
                    <a:pt x="481" y="496"/>
                  </a:cubicBezTo>
                  <a:cubicBezTo>
                    <a:pt x="485" y="508"/>
                    <a:pt x="483" y="523"/>
                    <a:pt x="503" y="521"/>
                  </a:cubicBezTo>
                  <a:cubicBezTo>
                    <a:pt x="514" y="520"/>
                    <a:pt x="519" y="526"/>
                    <a:pt x="519" y="537"/>
                  </a:cubicBezTo>
                  <a:cubicBezTo>
                    <a:pt x="519" y="549"/>
                    <a:pt x="513" y="554"/>
                    <a:pt x="501" y="553"/>
                  </a:cubicBezTo>
                  <a:cubicBezTo>
                    <a:pt x="492" y="553"/>
                    <a:pt x="483" y="552"/>
                    <a:pt x="473" y="552"/>
                  </a:cubicBezTo>
                  <a:cubicBezTo>
                    <a:pt x="460" y="553"/>
                    <a:pt x="451" y="549"/>
                    <a:pt x="451" y="534"/>
                  </a:cubicBezTo>
                  <a:cubicBezTo>
                    <a:pt x="451" y="525"/>
                    <a:pt x="446" y="521"/>
                    <a:pt x="437" y="521"/>
                  </a:cubicBezTo>
                  <a:cubicBezTo>
                    <a:pt x="427" y="520"/>
                    <a:pt x="417" y="518"/>
                    <a:pt x="407" y="517"/>
                  </a:cubicBezTo>
                  <a:cubicBezTo>
                    <a:pt x="396" y="517"/>
                    <a:pt x="388" y="515"/>
                    <a:pt x="387" y="501"/>
                  </a:cubicBezTo>
                  <a:cubicBezTo>
                    <a:pt x="387" y="492"/>
                    <a:pt x="380" y="489"/>
                    <a:pt x="372" y="489"/>
                  </a:cubicBezTo>
                  <a:cubicBezTo>
                    <a:pt x="295" y="483"/>
                    <a:pt x="218" y="483"/>
                    <a:pt x="141" y="489"/>
                  </a:cubicBezTo>
                  <a:cubicBezTo>
                    <a:pt x="136" y="489"/>
                    <a:pt x="130" y="490"/>
                    <a:pt x="129" y="495"/>
                  </a:cubicBezTo>
                  <a:cubicBezTo>
                    <a:pt x="127" y="525"/>
                    <a:pt x="102" y="517"/>
                    <a:pt x="86" y="520"/>
                  </a:cubicBezTo>
                  <a:cubicBezTo>
                    <a:pt x="72" y="522"/>
                    <a:pt x="62" y="523"/>
                    <a:pt x="63" y="540"/>
                  </a:cubicBezTo>
                  <a:cubicBezTo>
                    <a:pt x="63" y="548"/>
                    <a:pt x="57" y="551"/>
                    <a:pt x="50" y="552"/>
                  </a:cubicBezTo>
                  <a:cubicBezTo>
                    <a:pt x="38" y="552"/>
                    <a:pt x="27" y="552"/>
                    <a:pt x="16" y="553"/>
                  </a:cubicBezTo>
                  <a:cubicBezTo>
                    <a:pt x="5" y="553"/>
                    <a:pt x="0" y="548"/>
                    <a:pt x="0" y="537"/>
                  </a:cubicBezTo>
                  <a:cubicBezTo>
                    <a:pt x="0" y="526"/>
                    <a:pt x="4" y="521"/>
                    <a:pt x="15" y="521"/>
                  </a:cubicBezTo>
                  <a:cubicBezTo>
                    <a:pt x="28" y="522"/>
                    <a:pt x="36" y="518"/>
                    <a:pt x="36" y="504"/>
                  </a:cubicBezTo>
                  <a:cubicBezTo>
                    <a:pt x="35" y="494"/>
                    <a:pt x="41" y="490"/>
                    <a:pt x="51" y="490"/>
                  </a:cubicBezTo>
                  <a:cubicBezTo>
                    <a:pt x="52" y="490"/>
                    <a:pt x="54" y="490"/>
                    <a:pt x="55" y="489"/>
                  </a:cubicBezTo>
                  <a:cubicBezTo>
                    <a:pt x="94" y="484"/>
                    <a:pt x="95" y="484"/>
                    <a:pt x="99" y="444"/>
                  </a:cubicBezTo>
                  <a:cubicBezTo>
                    <a:pt x="100" y="433"/>
                    <a:pt x="103" y="425"/>
                    <a:pt x="116" y="425"/>
                  </a:cubicBezTo>
                  <a:cubicBezTo>
                    <a:pt x="127" y="425"/>
                    <a:pt x="131" y="417"/>
                    <a:pt x="131" y="407"/>
                  </a:cubicBezTo>
                  <a:cubicBezTo>
                    <a:pt x="130" y="395"/>
                    <a:pt x="135" y="388"/>
                    <a:pt x="148" y="389"/>
                  </a:cubicBezTo>
                  <a:cubicBezTo>
                    <a:pt x="160" y="389"/>
                    <a:pt x="162" y="381"/>
                    <a:pt x="162" y="372"/>
                  </a:cubicBezTo>
                  <a:cubicBezTo>
                    <a:pt x="163" y="351"/>
                    <a:pt x="163" y="330"/>
                    <a:pt x="163" y="310"/>
                  </a:cubicBezTo>
                  <a:cubicBezTo>
                    <a:pt x="163" y="299"/>
                    <a:pt x="165" y="290"/>
                    <a:pt x="178" y="289"/>
                  </a:cubicBezTo>
                  <a:cubicBezTo>
                    <a:pt x="188" y="288"/>
                    <a:pt x="191" y="282"/>
                    <a:pt x="191" y="274"/>
                  </a:cubicBezTo>
                  <a:cubicBezTo>
                    <a:pt x="191" y="244"/>
                    <a:pt x="191" y="215"/>
                    <a:pt x="191" y="186"/>
                  </a:cubicBezTo>
                  <a:cubicBezTo>
                    <a:pt x="191" y="177"/>
                    <a:pt x="188" y="170"/>
                    <a:pt x="178" y="169"/>
                  </a:cubicBezTo>
                  <a:cubicBezTo>
                    <a:pt x="165" y="168"/>
                    <a:pt x="164" y="159"/>
                    <a:pt x="163" y="149"/>
                  </a:cubicBezTo>
                  <a:cubicBezTo>
                    <a:pt x="163" y="128"/>
                    <a:pt x="162" y="106"/>
                    <a:pt x="163" y="85"/>
                  </a:cubicBezTo>
                  <a:cubicBezTo>
                    <a:pt x="163" y="73"/>
                    <a:pt x="160" y="64"/>
                    <a:pt x="145" y="64"/>
                  </a:cubicBezTo>
                  <a:cubicBezTo>
                    <a:pt x="135" y="65"/>
                    <a:pt x="131" y="59"/>
                    <a:pt x="131" y="49"/>
                  </a:cubicBezTo>
                  <a:cubicBezTo>
                    <a:pt x="131" y="40"/>
                    <a:pt x="131" y="31"/>
                    <a:pt x="143" y="29"/>
                  </a:cubicBezTo>
                  <a:cubicBezTo>
                    <a:pt x="150" y="28"/>
                    <a:pt x="158" y="28"/>
                    <a:pt x="158" y="19"/>
                  </a:cubicBezTo>
                  <a:cubicBezTo>
                    <a:pt x="159" y="1"/>
                    <a:pt x="171" y="1"/>
                    <a:pt x="185" y="1"/>
                  </a:cubicBezTo>
                  <a:cubicBezTo>
                    <a:pt x="214" y="1"/>
                    <a:pt x="243" y="1"/>
                    <a:pt x="273" y="1"/>
                  </a:cubicBezTo>
                  <a:cubicBezTo>
                    <a:pt x="273" y="1"/>
                    <a:pt x="273" y="1"/>
                    <a:pt x="27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22" name="Freeform 92">
              <a:extLst>
                <a:ext uri="{FF2B5EF4-FFF2-40B4-BE49-F238E27FC236}">
                  <a16:creationId xmlns:a16="http://schemas.microsoft.com/office/drawing/2014/main" id="{AEACAA29-2244-F08F-EF01-285817E9E7F9}"/>
                </a:ext>
              </a:extLst>
            </p:cNvPr>
            <p:cNvSpPr>
              <a:spLocks/>
            </p:cNvSpPr>
            <p:nvPr/>
          </p:nvSpPr>
          <p:spPr bwMode="auto">
            <a:xfrm>
              <a:off x="9001125" y="5289551"/>
              <a:ext cx="109537" cy="115888"/>
            </a:xfrm>
            <a:custGeom>
              <a:avLst/>
              <a:gdLst>
                <a:gd name="T0" fmla="*/ 273 w 520"/>
                <a:gd name="T1" fmla="*/ 1 h 554"/>
                <a:gd name="T2" fmla="*/ 365 w 520"/>
                <a:gd name="T3" fmla="*/ 1 h 554"/>
                <a:gd name="T4" fmla="*/ 388 w 520"/>
                <a:gd name="T5" fmla="*/ 25 h 554"/>
                <a:gd name="T6" fmla="*/ 387 w 520"/>
                <a:gd name="T7" fmla="*/ 79 h 554"/>
                <a:gd name="T8" fmla="*/ 372 w 520"/>
                <a:gd name="T9" fmla="*/ 97 h 554"/>
                <a:gd name="T10" fmla="*/ 356 w 520"/>
                <a:gd name="T11" fmla="*/ 115 h 554"/>
                <a:gd name="T12" fmla="*/ 356 w 520"/>
                <a:gd name="T13" fmla="*/ 339 h 554"/>
                <a:gd name="T14" fmla="*/ 371 w 520"/>
                <a:gd name="T15" fmla="*/ 357 h 554"/>
                <a:gd name="T16" fmla="*/ 387 w 520"/>
                <a:gd name="T17" fmla="*/ 375 h 554"/>
                <a:gd name="T18" fmla="*/ 388 w 520"/>
                <a:gd name="T19" fmla="*/ 399 h 554"/>
                <a:gd name="T20" fmla="*/ 407 w 520"/>
                <a:gd name="T21" fmla="*/ 422 h 554"/>
                <a:gd name="T22" fmla="*/ 420 w 520"/>
                <a:gd name="T23" fmla="*/ 438 h 554"/>
                <a:gd name="T24" fmla="*/ 437 w 520"/>
                <a:gd name="T25" fmla="*/ 457 h 554"/>
                <a:gd name="T26" fmla="*/ 452 w 520"/>
                <a:gd name="T27" fmla="*/ 471 h 554"/>
                <a:gd name="T28" fmla="*/ 452 w 520"/>
                <a:gd name="T29" fmla="*/ 477 h 554"/>
                <a:gd name="T30" fmla="*/ 482 w 520"/>
                <a:gd name="T31" fmla="*/ 497 h 554"/>
                <a:gd name="T32" fmla="*/ 503 w 520"/>
                <a:gd name="T33" fmla="*/ 521 h 554"/>
                <a:gd name="T34" fmla="*/ 519 w 520"/>
                <a:gd name="T35" fmla="*/ 536 h 554"/>
                <a:gd name="T36" fmla="*/ 501 w 520"/>
                <a:gd name="T37" fmla="*/ 553 h 554"/>
                <a:gd name="T38" fmla="*/ 465 w 520"/>
                <a:gd name="T39" fmla="*/ 552 h 554"/>
                <a:gd name="T40" fmla="*/ 453 w 520"/>
                <a:gd name="T41" fmla="*/ 538 h 554"/>
                <a:gd name="T42" fmla="*/ 434 w 520"/>
                <a:gd name="T43" fmla="*/ 520 h 554"/>
                <a:gd name="T44" fmla="*/ 408 w 520"/>
                <a:gd name="T45" fmla="*/ 517 h 554"/>
                <a:gd name="T46" fmla="*/ 388 w 520"/>
                <a:gd name="T47" fmla="*/ 501 h 554"/>
                <a:gd name="T48" fmla="*/ 373 w 520"/>
                <a:gd name="T49" fmla="*/ 489 h 554"/>
                <a:gd name="T50" fmla="*/ 143 w 520"/>
                <a:gd name="T51" fmla="*/ 488 h 554"/>
                <a:gd name="T52" fmla="*/ 130 w 520"/>
                <a:gd name="T53" fmla="*/ 495 h 554"/>
                <a:gd name="T54" fmla="*/ 90 w 520"/>
                <a:gd name="T55" fmla="*/ 519 h 554"/>
                <a:gd name="T56" fmla="*/ 63 w 520"/>
                <a:gd name="T57" fmla="*/ 542 h 554"/>
                <a:gd name="T58" fmla="*/ 51 w 520"/>
                <a:gd name="T59" fmla="*/ 552 h 554"/>
                <a:gd name="T60" fmla="*/ 17 w 520"/>
                <a:gd name="T61" fmla="*/ 553 h 554"/>
                <a:gd name="T62" fmla="*/ 1 w 520"/>
                <a:gd name="T63" fmla="*/ 537 h 554"/>
                <a:gd name="T64" fmla="*/ 16 w 520"/>
                <a:gd name="T65" fmla="*/ 521 h 554"/>
                <a:gd name="T66" fmla="*/ 36 w 520"/>
                <a:gd name="T67" fmla="*/ 504 h 554"/>
                <a:gd name="T68" fmla="*/ 52 w 520"/>
                <a:gd name="T69" fmla="*/ 490 h 554"/>
                <a:gd name="T70" fmla="*/ 54 w 520"/>
                <a:gd name="T71" fmla="*/ 490 h 554"/>
                <a:gd name="T72" fmla="*/ 99 w 520"/>
                <a:gd name="T73" fmla="*/ 446 h 554"/>
                <a:gd name="T74" fmla="*/ 119 w 520"/>
                <a:gd name="T75" fmla="*/ 424 h 554"/>
                <a:gd name="T76" fmla="*/ 132 w 520"/>
                <a:gd name="T77" fmla="*/ 407 h 554"/>
                <a:gd name="T78" fmla="*/ 147 w 520"/>
                <a:gd name="T79" fmla="*/ 389 h 554"/>
                <a:gd name="T80" fmla="*/ 160 w 520"/>
                <a:gd name="T81" fmla="*/ 372 h 554"/>
                <a:gd name="T82" fmla="*/ 164 w 520"/>
                <a:gd name="T83" fmla="*/ 311 h 554"/>
                <a:gd name="T84" fmla="*/ 176 w 520"/>
                <a:gd name="T85" fmla="*/ 293 h 554"/>
                <a:gd name="T86" fmla="*/ 192 w 520"/>
                <a:gd name="T87" fmla="*/ 273 h 554"/>
                <a:gd name="T88" fmla="*/ 192 w 520"/>
                <a:gd name="T89" fmla="*/ 181 h 554"/>
                <a:gd name="T90" fmla="*/ 182 w 520"/>
                <a:gd name="T91" fmla="*/ 162 h 554"/>
                <a:gd name="T92" fmla="*/ 165 w 520"/>
                <a:gd name="T93" fmla="*/ 138 h 554"/>
                <a:gd name="T94" fmla="*/ 162 w 520"/>
                <a:gd name="T95" fmla="*/ 98 h 554"/>
                <a:gd name="T96" fmla="*/ 139 w 520"/>
                <a:gd name="T97" fmla="*/ 62 h 554"/>
                <a:gd name="T98" fmla="*/ 132 w 520"/>
                <a:gd name="T99" fmla="*/ 43 h 554"/>
                <a:gd name="T100" fmla="*/ 144 w 520"/>
                <a:gd name="T101" fmla="*/ 29 h 554"/>
                <a:gd name="T102" fmla="*/ 159 w 520"/>
                <a:gd name="T103" fmla="*/ 19 h 554"/>
                <a:gd name="T104" fmla="*/ 185 w 520"/>
                <a:gd name="T105" fmla="*/ 1 h 554"/>
                <a:gd name="T106" fmla="*/ 273 w 520"/>
                <a:gd name="T107" fmla="*/ 1 h 554"/>
                <a:gd name="T108" fmla="*/ 273 w 520"/>
                <a:gd name="T109" fmla="*/ 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554">
                  <a:moveTo>
                    <a:pt x="273" y="1"/>
                  </a:moveTo>
                  <a:cubicBezTo>
                    <a:pt x="304" y="1"/>
                    <a:pt x="335" y="2"/>
                    <a:pt x="365" y="1"/>
                  </a:cubicBezTo>
                  <a:cubicBezTo>
                    <a:pt x="383" y="0"/>
                    <a:pt x="389" y="8"/>
                    <a:pt x="388" y="25"/>
                  </a:cubicBezTo>
                  <a:cubicBezTo>
                    <a:pt x="387" y="42"/>
                    <a:pt x="387" y="61"/>
                    <a:pt x="387" y="79"/>
                  </a:cubicBezTo>
                  <a:cubicBezTo>
                    <a:pt x="387" y="89"/>
                    <a:pt x="384" y="97"/>
                    <a:pt x="372" y="97"/>
                  </a:cubicBezTo>
                  <a:cubicBezTo>
                    <a:pt x="359" y="96"/>
                    <a:pt x="356" y="104"/>
                    <a:pt x="356" y="115"/>
                  </a:cubicBezTo>
                  <a:cubicBezTo>
                    <a:pt x="356" y="189"/>
                    <a:pt x="356" y="264"/>
                    <a:pt x="356" y="339"/>
                  </a:cubicBezTo>
                  <a:cubicBezTo>
                    <a:pt x="356" y="349"/>
                    <a:pt x="358" y="357"/>
                    <a:pt x="371" y="357"/>
                  </a:cubicBezTo>
                  <a:cubicBezTo>
                    <a:pt x="383" y="357"/>
                    <a:pt x="388" y="363"/>
                    <a:pt x="387" y="375"/>
                  </a:cubicBezTo>
                  <a:cubicBezTo>
                    <a:pt x="387" y="383"/>
                    <a:pt x="388" y="391"/>
                    <a:pt x="388" y="399"/>
                  </a:cubicBezTo>
                  <a:cubicBezTo>
                    <a:pt x="387" y="412"/>
                    <a:pt x="390" y="422"/>
                    <a:pt x="407" y="422"/>
                  </a:cubicBezTo>
                  <a:cubicBezTo>
                    <a:pt x="418" y="421"/>
                    <a:pt x="420" y="429"/>
                    <a:pt x="420" y="438"/>
                  </a:cubicBezTo>
                  <a:cubicBezTo>
                    <a:pt x="419" y="451"/>
                    <a:pt x="424" y="457"/>
                    <a:pt x="437" y="457"/>
                  </a:cubicBezTo>
                  <a:cubicBezTo>
                    <a:pt x="446" y="457"/>
                    <a:pt x="452" y="461"/>
                    <a:pt x="452" y="471"/>
                  </a:cubicBezTo>
                  <a:cubicBezTo>
                    <a:pt x="452" y="473"/>
                    <a:pt x="452" y="475"/>
                    <a:pt x="452" y="477"/>
                  </a:cubicBezTo>
                  <a:cubicBezTo>
                    <a:pt x="454" y="497"/>
                    <a:pt x="479" y="482"/>
                    <a:pt x="482" y="497"/>
                  </a:cubicBezTo>
                  <a:cubicBezTo>
                    <a:pt x="485" y="509"/>
                    <a:pt x="484" y="523"/>
                    <a:pt x="503" y="521"/>
                  </a:cubicBezTo>
                  <a:cubicBezTo>
                    <a:pt x="514" y="520"/>
                    <a:pt x="520" y="525"/>
                    <a:pt x="519" y="536"/>
                  </a:cubicBezTo>
                  <a:cubicBezTo>
                    <a:pt x="518" y="547"/>
                    <a:pt x="513" y="554"/>
                    <a:pt x="501" y="553"/>
                  </a:cubicBezTo>
                  <a:cubicBezTo>
                    <a:pt x="489" y="553"/>
                    <a:pt x="477" y="552"/>
                    <a:pt x="465" y="552"/>
                  </a:cubicBezTo>
                  <a:cubicBezTo>
                    <a:pt x="456" y="552"/>
                    <a:pt x="452" y="546"/>
                    <a:pt x="453" y="538"/>
                  </a:cubicBezTo>
                  <a:cubicBezTo>
                    <a:pt x="453" y="524"/>
                    <a:pt x="445" y="521"/>
                    <a:pt x="434" y="520"/>
                  </a:cubicBezTo>
                  <a:cubicBezTo>
                    <a:pt x="425" y="520"/>
                    <a:pt x="416" y="518"/>
                    <a:pt x="408" y="517"/>
                  </a:cubicBezTo>
                  <a:cubicBezTo>
                    <a:pt x="397" y="517"/>
                    <a:pt x="388" y="514"/>
                    <a:pt x="388" y="501"/>
                  </a:cubicBezTo>
                  <a:cubicBezTo>
                    <a:pt x="388" y="491"/>
                    <a:pt x="381" y="489"/>
                    <a:pt x="373" y="489"/>
                  </a:cubicBezTo>
                  <a:cubicBezTo>
                    <a:pt x="296" y="483"/>
                    <a:pt x="220" y="483"/>
                    <a:pt x="143" y="488"/>
                  </a:cubicBezTo>
                  <a:cubicBezTo>
                    <a:pt x="138" y="489"/>
                    <a:pt x="130" y="489"/>
                    <a:pt x="130" y="495"/>
                  </a:cubicBezTo>
                  <a:cubicBezTo>
                    <a:pt x="129" y="523"/>
                    <a:pt x="106" y="517"/>
                    <a:pt x="90" y="519"/>
                  </a:cubicBezTo>
                  <a:cubicBezTo>
                    <a:pt x="76" y="522"/>
                    <a:pt x="62" y="521"/>
                    <a:pt x="63" y="542"/>
                  </a:cubicBezTo>
                  <a:cubicBezTo>
                    <a:pt x="64" y="549"/>
                    <a:pt x="57" y="552"/>
                    <a:pt x="51" y="552"/>
                  </a:cubicBezTo>
                  <a:cubicBezTo>
                    <a:pt x="39" y="552"/>
                    <a:pt x="28" y="553"/>
                    <a:pt x="17" y="553"/>
                  </a:cubicBezTo>
                  <a:cubicBezTo>
                    <a:pt x="6" y="553"/>
                    <a:pt x="1" y="549"/>
                    <a:pt x="1" y="537"/>
                  </a:cubicBezTo>
                  <a:cubicBezTo>
                    <a:pt x="0" y="527"/>
                    <a:pt x="5" y="521"/>
                    <a:pt x="16" y="521"/>
                  </a:cubicBezTo>
                  <a:cubicBezTo>
                    <a:pt x="28" y="522"/>
                    <a:pt x="37" y="518"/>
                    <a:pt x="36" y="504"/>
                  </a:cubicBezTo>
                  <a:cubicBezTo>
                    <a:pt x="36" y="494"/>
                    <a:pt x="42" y="490"/>
                    <a:pt x="52" y="490"/>
                  </a:cubicBezTo>
                  <a:cubicBezTo>
                    <a:pt x="53" y="490"/>
                    <a:pt x="53" y="490"/>
                    <a:pt x="54" y="490"/>
                  </a:cubicBezTo>
                  <a:cubicBezTo>
                    <a:pt x="93" y="484"/>
                    <a:pt x="94" y="484"/>
                    <a:pt x="99" y="446"/>
                  </a:cubicBezTo>
                  <a:cubicBezTo>
                    <a:pt x="101" y="433"/>
                    <a:pt x="104" y="425"/>
                    <a:pt x="119" y="424"/>
                  </a:cubicBezTo>
                  <a:cubicBezTo>
                    <a:pt x="129" y="424"/>
                    <a:pt x="132" y="416"/>
                    <a:pt x="132" y="407"/>
                  </a:cubicBezTo>
                  <a:cubicBezTo>
                    <a:pt x="132" y="397"/>
                    <a:pt x="134" y="389"/>
                    <a:pt x="147" y="389"/>
                  </a:cubicBezTo>
                  <a:cubicBezTo>
                    <a:pt x="158" y="388"/>
                    <a:pt x="159" y="381"/>
                    <a:pt x="160" y="372"/>
                  </a:cubicBezTo>
                  <a:cubicBezTo>
                    <a:pt x="163" y="352"/>
                    <a:pt x="164" y="331"/>
                    <a:pt x="164" y="311"/>
                  </a:cubicBezTo>
                  <a:cubicBezTo>
                    <a:pt x="164" y="302"/>
                    <a:pt x="166" y="294"/>
                    <a:pt x="176" y="293"/>
                  </a:cubicBezTo>
                  <a:cubicBezTo>
                    <a:pt x="190" y="292"/>
                    <a:pt x="192" y="284"/>
                    <a:pt x="192" y="273"/>
                  </a:cubicBezTo>
                  <a:cubicBezTo>
                    <a:pt x="192" y="242"/>
                    <a:pt x="192" y="211"/>
                    <a:pt x="192" y="181"/>
                  </a:cubicBezTo>
                  <a:cubicBezTo>
                    <a:pt x="192" y="173"/>
                    <a:pt x="192" y="163"/>
                    <a:pt x="182" y="162"/>
                  </a:cubicBezTo>
                  <a:cubicBezTo>
                    <a:pt x="166" y="160"/>
                    <a:pt x="164" y="151"/>
                    <a:pt x="165" y="138"/>
                  </a:cubicBezTo>
                  <a:cubicBezTo>
                    <a:pt x="165" y="125"/>
                    <a:pt x="164" y="112"/>
                    <a:pt x="162" y="98"/>
                  </a:cubicBezTo>
                  <a:cubicBezTo>
                    <a:pt x="160" y="83"/>
                    <a:pt x="164" y="64"/>
                    <a:pt x="139" y="62"/>
                  </a:cubicBezTo>
                  <a:cubicBezTo>
                    <a:pt x="130" y="62"/>
                    <a:pt x="133" y="50"/>
                    <a:pt x="132" y="43"/>
                  </a:cubicBezTo>
                  <a:cubicBezTo>
                    <a:pt x="132" y="35"/>
                    <a:pt x="136" y="30"/>
                    <a:pt x="144" y="29"/>
                  </a:cubicBezTo>
                  <a:cubicBezTo>
                    <a:pt x="151" y="28"/>
                    <a:pt x="159" y="28"/>
                    <a:pt x="159" y="19"/>
                  </a:cubicBezTo>
                  <a:cubicBezTo>
                    <a:pt x="160" y="1"/>
                    <a:pt x="172" y="1"/>
                    <a:pt x="185" y="1"/>
                  </a:cubicBezTo>
                  <a:cubicBezTo>
                    <a:pt x="215" y="1"/>
                    <a:pt x="244" y="1"/>
                    <a:pt x="273" y="1"/>
                  </a:cubicBezTo>
                  <a:cubicBezTo>
                    <a:pt x="273" y="1"/>
                    <a:pt x="273" y="1"/>
                    <a:pt x="27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23" name="Freeform 93">
              <a:extLst>
                <a:ext uri="{FF2B5EF4-FFF2-40B4-BE49-F238E27FC236}">
                  <a16:creationId xmlns:a16="http://schemas.microsoft.com/office/drawing/2014/main" id="{75991162-D3E7-64C9-49D1-F7CFF4409EAA}"/>
                </a:ext>
              </a:extLst>
            </p:cNvPr>
            <p:cNvSpPr>
              <a:spLocks/>
            </p:cNvSpPr>
            <p:nvPr/>
          </p:nvSpPr>
          <p:spPr bwMode="auto">
            <a:xfrm>
              <a:off x="9185275" y="5289551"/>
              <a:ext cx="95250" cy="115888"/>
            </a:xfrm>
            <a:custGeom>
              <a:avLst/>
              <a:gdLst>
                <a:gd name="T0" fmla="*/ 259 w 452"/>
                <a:gd name="T1" fmla="*/ 1 h 553"/>
                <a:gd name="T2" fmla="*/ 337 w 452"/>
                <a:gd name="T3" fmla="*/ 1 h 553"/>
                <a:gd name="T4" fmla="*/ 356 w 452"/>
                <a:gd name="T5" fmla="*/ 21 h 553"/>
                <a:gd name="T6" fmla="*/ 355 w 452"/>
                <a:gd name="T7" fmla="*/ 79 h 553"/>
                <a:gd name="T8" fmla="*/ 339 w 452"/>
                <a:gd name="T9" fmla="*/ 96 h 553"/>
                <a:gd name="T10" fmla="*/ 324 w 452"/>
                <a:gd name="T11" fmla="*/ 115 h 553"/>
                <a:gd name="T12" fmla="*/ 323 w 452"/>
                <a:gd name="T13" fmla="*/ 179 h 553"/>
                <a:gd name="T14" fmla="*/ 308 w 452"/>
                <a:gd name="T15" fmla="*/ 197 h 553"/>
                <a:gd name="T16" fmla="*/ 293 w 452"/>
                <a:gd name="T17" fmla="*/ 224 h 553"/>
                <a:gd name="T18" fmla="*/ 307 w 452"/>
                <a:gd name="T19" fmla="*/ 253 h 553"/>
                <a:gd name="T20" fmla="*/ 323 w 452"/>
                <a:gd name="T21" fmla="*/ 273 h 553"/>
                <a:gd name="T22" fmla="*/ 324 w 452"/>
                <a:gd name="T23" fmla="*/ 337 h 553"/>
                <a:gd name="T24" fmla="*/ 341 w 452"/>
                <a:gd name="T25" fmla="*/ 358 h 553"/>
                <a:gd name="T26" fmla="*/ 355 w 452"/>
                <a:gd name="T27" fmla="*/ 373 h 553"/>
                <a:gd name="T28" fmla="*/ 356 w 452"/>
                <a:gd name="T29" fmla="*/ 397 h 553"/>
                <a:gd name="T30" fmla="*/ 377 w 452"/>
                <a:gd name="T31" fmla="*/ 422 h 553"/>
                <a:gd name="T32" fmla="*/ 387 w 452"/>
                <a:gd name="T33" fmla="*/ 436 h 553"/>
                <a:gd name="T34" fmla="*/ 406 w 452"/>
                <a:gd name="T35" fmla="*/ 458 h 553"/>
                <a:gd name="T36" fmla="*/ 419 w 452"/>
                <a:gd name="T37" fmla="*/ 472 h 553"/>
                <a:gd name="T38" fmla="*/ 438 w 452"/>
                <a:gd name="T39" fmla="*/ 490 h 553"/>
                <a:gd name="T40" fmla="*/ 451 w 452"/>
                <a:gd name="T41" fmla="*/ 505 h 553"/>
                <a:gd name="T42" fmla="*/ 436 w 452"/>
                <a:gd name="T43" fmla="*/ 517 h 553"/>
                <a:gd name="T44" fmla="*/ 406 w 452"/>
                <a:gd name="T45" fmla="*/ 516 h 553"/>
                <a:gd name="T46" fmla="*/ 392 w 452"/>
                <a:gd name="T47" fmla="*/ 505 h 553"/>
                <a:gd name="T48" fmla="*/ 372 w 452"/>
                <a:gd name="T49" fmla="*/ 488 h 553"/>
                <a:gd name="T50" fmla="*/ 147 w 452"/>
                <a:gd name="T51" fmla="*/ 488 h 553"/>
                <a:gd name="T52" fmla="*/ 128 w 452"/>
                <a:gd name="T53" fmla="*/ 504 h 553"/>
                <a:gd name="T54" fmla="*/ 113 w 452"/>
                <a:gd name="T55" fmla="*/ 517 h 553"/>
                <a:gd name="T56" fmla="*/ 85 w 452"/>
                <a:gd name="T57" fmla="*/ 520 h 553"/>
                <a:gd name="T58" fmla="*/ 64 w 452"/>
                <a:gd name="T59" fmla="*/ 539 h 553"/>
                <a:gd name="T60" fmla="*/ 50 w 452"/>
                <a:gd name="T61" fmla="*/ 552 h 553"/>
                <a:gd name="T62" fmla="*/ 18 w 452"/>
                <a:gd name="T63" fmla="*/ 553 h 553"/>
                <a:gd name="T64" fmla="*/ 1 w 452"/>
                <a:gd name="T65" fmla="*/ 538 h 553"/>
                <a:gd name="T66" fmla="*/ 17 w 452"/>
                <a:gd name="T67" fmla="*/ 521 h 553"/>
                <a:gd name="T68" fmla="*/ 45 w 452"/>
                <a:gd name="T69" fmla="*/ 518 h 553"/>
                <a:gd name="T70" fmla="*/ 64 w 452"/>
                <a:gd name="T71" fmla="*/ 500 h 553"/>
                <a:gd name="T72" fmla="*/ 78 w 452"/>
                <a:gd name="T73" fmla="*/ 486 h 553"/>
                <a:gd name="T74" fmla="*/ 97 w 452"/>
                <a:gd name="T75" fmla="*/ 468 h 553"/>
                <a:gd name="T76" fmla="*/ 112 w 452"/>
                <a:gd name="T77" fmla="*/ 453 h 553"/>
                <a:gd name="T78" fmla="*/ 122 w 452"/>
                <a:gd name="T79" fmla="*/ 436 h 553"/>
                <a:gd name="T80" fmla="*/ 125 w 452"/>
                <a:gd name="T81" fmla="*/ 424 h 553"/>
                <a:gd name="T82" fmla="*/ 132 w 452"/>
                <a:gd name="T83" fmla="*/ 411 h 553"/>
                <a:gd name="T84" fmla="*/ 152 w 452"/>
                <a:gd name="T85" fmla="*/ 388 h 553"/>
                <a:gd name="T86" fmla="*/ 163 w 452"/>
                <a:gd name="T87" fmla="*/ 371 h 553"/>
                <a:gd name="T88" fmla="*/ 165 w 452"/>
                <a:gd name="T89" fmla="*/ 311 h 553"/>
                <a:gd name="T90" fmla="*/ 176 w 452"/>
                <a:gd name="T91" fmla="*/ 293 h 553"/>
                <a:gd name="T92" fmla="*/ 193 w 452"/>
                <a:gd name="T93" fmla="*/ 273 h 553"/>
                <a:gd name="T94" fmla="*/ 192 w 452"/>
                <a:gd name="T95" fmla="*/ 178 h 553"/>
                <a:gd name="T96" fmla="*/ 179 w 452"/>
                <a:gd name="T97" fmla="*/ 161 h 553"/>
                <a:gd name="T98" fmla="*/ 165 w 452"/>
                <a:gd name="T99" fmla="*/ 142 h 553"/>
                <a:gd name="T100" fmla="*/ 164 w 452"/>
                <a:gd name="T101" fmla="*/ 84 h 553"/>
                <a:gd name="T102" fmla="*/ 147 w 452"/>
                <a:gd name="T103" fmla="*/ 64 h 553"/>
                <a:gd name="T104" fmla="*/ 132 w 452"/>
                <a:gd name="T105" fmla="*/ 48 h 553"/>
                <a:gd name="T106" fmla="*/ 145 w 452"/>
                <a:gd name="T107" fmla="*/ 29 h 553"/>
                <a:gd name="T108" fmla="*/ 160 w 452"/>
                <a:gd name="T109" fmla="*/ 18 h 553"/>
                <a:gd name="T110" fmla="*/ 183 w 452"/>
                <a:gd name="T111" fmla="*/ 1 h 553"/>
                <a:gd name="T112" fmla="*/ 259 w 452"/>
                <a:gd name="T113" fmla="*/ 1 h 553"/>
                <a:gd name="T114" fmla="*/ 259 w 452"/>
                <a:gd name="T115" fmla="*/ 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 h="553">
                  <a:moveTo>
                    <a:pt x="259" y="1"/>
                  </a:moveTo>
                  <a:cubicBezTo>
                    <a:pt x="285" y="1"/>
                    <a:pt x="311" y="1"/>
                    <a:pt x="337" y="1"/>
                  </a:cubicBezTo>
                  <a:cubicBezTo>
                    <a:pt x="351" y="0"/>
                    <a:pt x="357" y="7"/>
                    <a:pt x="356" y="21"/>
                  </a:cubicBezTo>
                  <a:cubicBezTo>
                    <a:pt x="356" y="40"/>
                    <a:pt x="355" y="60"/>
                    <a:pt x="355" y="79"/>
                  </a:cubicBezTo>
                  <a:cubicBezTo>
                    <a:pt x="355" y="90"/>
                    <a:pt x="351" y="97"/>
                    <a:pt x="339" y="96"/>
                  </a:cubicBezTo>
                  <a:cubicBezTo>
                    <a:pt x="326" y="96"/>
                    <a:pt x="324" y="104"/>
                    <a:pt x="324" y="115"/>
                  </a:cubicBezTo>
                  <a:cubicBezTo>
                    <a:pt x="324" y="136"/>
                    <a:pt x="323" y="157"/>
                    <a:pt x="323" y="179"/>
                  </a:cubicBezTo>
                  <a:cubicBezTo>
                    <a:pt x="323" y="190"/>
                    <a:pt x="320" y="197"/>
                    <a:pt x="308" y="197"/>
                  </a:cubicBezTo>
                  <a:cubicBezTo>
                    <a:pt x="289" y="198"/>
                    <a:pt x="293" y="213"/>
                    <a:pt x="293" y="224"/>
                  </a:cubicBezTo>
                  <a:cubicBezTo>
                    <a:pt x="293" y="235"/>
                    <a:pt x="287" y="252"/>
                    <a:pt x="307" y="253"/>
                  </a:cubicBezTo>
                  <a:cubicBezTo>
                    <a:pt x="321" y="254"/>
                    <a:pt x="323" y="262"/>
                    <a:pt x="323" y="273"/>
                  </a:cubicBezTo>
                  <a:cubicBezTo>
                    <a:pt x="323" y="294"/>
                    <a:pt x="324" y="316"/>
                    <a:pt x="324" y="337"/>
                  </a:cubicBezTo>
                  <a:cubicBezTo>
                    <a:pt x="324" y="349"/>
                    <a:pt x="326" y="358"/>
                    <a:pt x="341" y="358"/>
                  </a:cubicBezTo>
                  <a:cubicBezTo>
                    <a:pt x="351" y="357"/>
                    <a:pt x="355" y="363"/>
                    <a:pt x="355" y="373"/>
                  </a:cubicBezTo>
                  <a:cubicBezTo>
                    <a:pt x="355" y="381"/>
                    <a:pt x="356" y="389"/>
                    <a:pt x="356" y="397"/>
                  </a:cubicBezTo>
                  <a:cubicBezTo>
                    <a:pt x="355" y="412"/>
                    <a:pt x="357" y="423"/>
                    <a:pt x="377" y="422"/>
                  </a:cubicBezTo>
                  <a:cubicBezTo>
                    <a:pt x="385" y="422"/>
                    <a:pt x="388" y="429"/>
                    <a:pt x="387" y="436"/>
                  </a:cubicBezTo>
                  <a:cubicBezTo>
                    <a:pt x="386" y="450"/>
                    <a:pt x="391" y="458"/>
                    <a:pt x="406" y="458"/>
                  </a:cubicBezTo>
                  <a:cubicBezTo>
                    <a:pt x="416" y="457"/>
                    <a:pt x="420" y="463"/>
                    <a:pt x="419" y="472"/>
                  </a:cubicBezTo>
                  <a:cubicBezTo>
                    <a:pt x="419" y="485"/>
                    <a:pt x="425" y="490"/>
                    <a:pt x="438" y="490"/>
                  </a:cubicBezTo>
                  <a:cubicBezTo>
                    <a:pt x="448" y="489"/>
                    <a:pt x="452" y="495"/>
                    <a:pt x="451" y="505"/>
                  </a:cubicBezTo>
                  <a:cubicBezTo>
                    <a:pt x="451" y="515"/>
                    <a:pt x="444" y="517"/>
                    <a:pt x="436" y="517"/>
                  </a:cubicBezTo>
                  <a:cubicBezTo>
                    <a:pt x="426" y="517"/>
                    <a:pt x="416" y="517"/>
                    <a:pt x="406" y="516"/>
                  </a:cubicBezTo>
                  <a:cubicBezTo>
                    <a:pt x="399" y="516"/>
                    <a:pt x="393" y="513"/>
                    <a:pt x="392" y="505"/>
                  </a:cubicBezTo>
                  <a:cubicBezTo>
                    <a:pt x="392" y="492"/>
                    <a:pt x="384" y="489"/>
                    <a:pt x="372" y="488"/>
                  </a:cubicBezTo>
                  <a:cubicBezTo>
                    <a:pt x="297" y="483"/>
                    <a:pt x="222" y="483"/>
                    <a:pt x="147" y="488"/>
                  </a:cubicBezTo>
                  <a:cubicBezTo>
                    <a:pt x="136" y="489"/>
                    <a:pt x="128" y="491"/>
                    <a:pt x="128" y="504"/>
                  </a:cubicBezTo>
                  <a:cubicBezTo>
                    <a:pt x="127" y="513"/>
                    <a:pt x="122" y="516"/>
                    <a:pt x="113" y="517"/>
                  </a:cubicBezTo>
                  <a:cubicBezTo>
                    <a:pt x="104" y="517"/>
                    <a:pt x="95" y="520"/>
                    <a:pt x="85" y="520"/>
                  </a:cubicBezTo>
                  <a:cubicBezTo>
                    <a:pt x="72" y="520"/>
                    <a:pt x="63" y="524"/>
                    <a:pt x="64" y="539"/>
                  </a:cubicBezTo>
                  <a:cubicBezTo>
                    <a:pt x="64" y="548"/>
                    <a:pt x="58" y="552"/>
                    <a:pt x="50" y="552"/>
                  </a:cubicBezTo>
                  <a:cubicBezTo>
                    <a:pt x="39" y="552"/>
                    <a:pt x="28" y="553"/>
                    <a:pt x="18" y="553"/>
                  </a:cubicBezTo>
                  <a:cubicBezTo>
                    <a:pt x="8" y="553"/>
                    <a:pt x="1" y="550"/>
                    <a:pt x="1" y="538"/>
                  </a:cubicBezTo>
                  <a:cubicBezTo>
                    <a:pt x="0" y="526"/>
                    <a:pt x="6" y="522"/>
                    <a:pt x="17" y="521"/>
                  </a:cubicBezTo>
                  <a:cubicBezTo>
                    <a:pt x="27" y="521"/>
                    <a:pt x="36" y="518"/>
                    <a:pt x="45" y="518"/>
                  </a:cubicBezTo>
                  <a:cubicBezTo>
                    <a:pt x="57" y="517"/>
                    <a:pt x="64" y="513"/>
                    <a:pt x="64" y="500"/>
                  </a:cubicBezTo>
                  <a:cubicBezTo>
                    <a:pt x="64" y="492"/>
                    <a:pt x="69" y="486"/>
                    <a:pt x="78" y="486"/>
                  </a:cubicBezTo>
                  <a:cubicBezTo>
                    <a:pt x="90" y="486"/>
                    <a:pt x="97" y="481"/>
                    <a:pt x="97" y="468"/>
                  </a:cubicBezTo>
                  <a:cubicBezTo>
                    <a:pt x="97" y="458"/>
                    <a:pt x="102" y="454"/>
                    <a:pt x="112" y="453"/>
                  </a:cubicBezTo>
                  <a:cubicBezTo>
                    <a:pt x="123" y="452"/>
                    <a:pt x="132" y="449"/>
                    <a:pt x="122" y="436"/>
                  </a:cubicBezTo>
                  <a:cubicBezTo>
                    <a:pt x="119" y="431"/>
                    <a:pt x="120" y="427"/>
                    <a:pt x="125" y="424"/>
                  </a:cubicBezTo>
                  <a:cubicBezTo>
                    <a:pt x="130" y="421"/>
                    <a:pt x="132" y="417"/>
                    <a:pt x="132" y="411"/>
                  </a:cubicBezTo>
                  <a:cubicBezTo>
                    <a:pt x="131" y="397"/>
                    <a:pt x="135" y="388"/>
                    <a:pt x="152" y="388"/>
                  </a:cubicBezTo>
                  <a:cubicBezTo>
                    <a:pt x="163" y="389"/>
                    <a:pt x="163" y="379"/>
                    <a:pt x="163" y="371"/>
                  </a:cubicBezTo>
                  <a:cubicBezTo>
                    <a:pt x="164" y="351"/>
                    <a:pt x="164" y="331"/>
                    <a:pt x="165" y="311"/>
                  </a:cubicBezTo>
                  <a:cubicBezTo>
                    <a:pt x="165" y="303"/>
                    <a:pt x="165" y="294"/>
                    <a:pt x="176" y="293"/>
                  </a:cubicBezTo>
                  <a:cubicBezTo>
                    <a:pt x="189" y="293"/>
                    <a:pt x="191" y="284"/>
                    <a:pt x="193" y="273"/>
                  </a:cubicBezTo>
                  <a:cubicBezTo>
                    <a:pt x="197" y="241"/>
                    <a:pt x="196" y="210"/>
                    <a:pt x="192" y="178"/>
                  </a:cubicBezTo>
                  <a:cubicBezTo>
                    <a:pt x="191" y="169"/>
                    <a:pt x="190" y="162"/>
                    <a:pt x="179" y="161"/>
                  </a:cubicBezTo>
                  <a:cubicBezTo>
                    <a:pt x="166" y="160"/>
                    <a:pt x="165" y="152"/>
                    <a:pt x="165" y="142"/>
                  </a:cubicBezTo>
                  <a:cubicBezTo>
                    <a:pt x="164" y="123"/>
                    <a:pt x="164" y="103"/>
                    <a:pt x="164" y="84"/>
                  </a:cubicBezTo>
                  <a:cubicBezTo>
                    <a:pt x="164" y="73"/>
                    <a:pt x="161" y="64"/>
                    <a:pt x="147" y="64"/>
                  </a:cubicBezTo>
                  <a:cubicBezTo>
                    <a:pt x="136" y="64"/>
                    <a:pt x="132" y="59"/>
                    <a:pt x="132" y="48"/>
                  </a:cubicBezTo>
                  <a:cubicBezTo>
                    <a:pt x="132" y="38"/>
                    <a:pt x="133" y="30"/>
                    <a:pt x="145" y="29"/>
                  </a:cubicBezTo>
                  <a:cubicBezTo>
                    <a:pt x="152" y="29"/>
                    <a:pt x="159" y="27"/>
                    <a:pt x="160" y="18"/>
                  </a:cubicBezTo>
                  <a:cubicBezTo>
                    <a:pt x="160" y="3"/>
                    <a:pt x="170" y="1"/>
                    <a:pt x="183" y="1"/>
                  </a:cubicBezTo>
                  <a:cubicBezTo>
                    <a:pt x="208" y="1"/>
                    <a:pt x="233" y="1"/>
                    <a:pt x="259" y="1"/>
                  </a:cubicBezTo>
                  <a:cubicBezTo>
                    <a:pt x="259" y="1"/>
                    <a:pt x="259" y="1"/>
                    <a:pt x="25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24" name="Freeform 94">
              <a:extLst>
                <a:ext uri="{FF2B5EF4-FFF2-40B4-BE49-F238E27FC236}">
                  <a16:creationId xmlns:a16="http://schemas.microsoft.com/office/drawing/2014/main" id="{602D2780-9EC9-9CCB-CD5E-EA902564CCA4}"/>
                </a:ext>
              </a:extLst>
            </p:cNvPr>
            <p:cNvSpPr>
              <a:spLocks/>
            </p:cNvSpPr>
            <p:nvPr/>
          </p:nvSpPr>
          <p:spPr bwMode="auto">
            <a:xfrm>
              <a:off x="9280525" y="5399088"/>
              <a:ext cx="6350" cy="6350"/>
            </a:xfrm>
            <a:custGeom>
              <a:avLst/>
              <a:gdLst>
                <a:gd name="T0" fmla="*/ 29 w 29"/>
                <a:gd name="T1" fmla="*/ 18 h 31"/>
                <a:gd name="T2" fmla="*/ 14 w 29"/>
                <a:gd name="T3" fmla="*/ 31 h 31"/>
                <a:gd name="T4" fmla="*/ 0 w 29"/>
                <a:gd name="T5" fmla="*/ 16 h 31"/>
                <a:gd name="T6" fmla="*/ 16 w 29"/>
                <a:gd name="T7" fmla="*/ 1 h 31"/>
                <a:gd name="T8" fmla="*/ 29 w 29"/>
                <a:gd name="T9" fmla="*/ 18 h 31"/>
              </a:gdLst>
              <a:ahLst/>
              <a:cxnLst>
                <a:cxn ang="0">
                  <a:pos x="T0" y="T1"/>
                </a:cxn>
                <a:cxn ang="0">
                  <a:pos x="T2" y="T3"/>
                </a:cxn>
                <a:cxn ang="0">
                  <a:pos x="T4" y="T5"/>
                </a:cxn>
                <a:cxn ang="0">
                  <a:pos x="T6" y="T7"/>
                </a:cxn>
                <a:cxn ang="0">
                  <a:pos x="T8" y="T9"/>
                </a:cxn>
              </a:cxnLst>
              <a:rect l="0" t="0" r="r" b="b"/>
              <a:pathLst>
                <a:path w="29" h="31">
                  <a:moveTo>
                    <a:pt x="29" y="18"/>
                  </a:moveTo>
                  <a:cubicBezTo>
                    <a:pt x="29" y="28"/>
                    <a:pt x="23" y="31"/>
                    <a:pt x="14" y="31"/>
                  </a:cubicBezTo>
                  <a:cubicBezTo>
                    <a:pt x="3" y="31"/>
                    <a:pt x="0" y="26"/>
                    <a:pt x="0" y="16"/>
                  </a:cubicBezTo>
                  <a:cubicBezTo>
                    <a:pt x="1" y="6"/>
                    <a:pt x="5" y="0"/>
                    <a:pt x="16" y="1"/>
                  </a:cubicBezTo>
                  <a:cubicBezTo>
                    <a:pt x="27" y="1"/>
                    <a:pt x="29" y="8"/>
                    <a:pt x="2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sp>
        <p:nvSpPr>
          <p:cNvPr id="725" name="TextBox 129">
            <a:extLst>
              <a:ext uri="{FF2B5EF4-FFF2-40B4-BE49-F238E27FC236}">
                <a16:creationId xmlns:a16="http://schemas.microsoft.com/office/drawing/2014/main" id="{ECB43E76-CDE3-EC97-14F0-27F7DF837368}"/>
              </a:ext>
            </a:extLst>
          </p:cNvPr>
          <p:cNvSpPr txBox="1"/>
          <p:nvPr/>
        </p:nvSpPr>
        <p:spPr>
          <a:xfrm>
            <a:off x="3822229" y="2206807"/>
            <a:ext cx="2103791" cy="759439"/>
          </a:xfrm>
          <a:prstGeom prst="rect">
            <a:avLst/>
          </a:prstGeom>
          <a:noFill/>
        </p:spPr>
        <p:txBody>
          <a:bodyPr wrap="square" lIns="0" tIns="0" rIns="0" bIns="0" rtlCol="0" anchor="t">
            <a:spAutoFit/>
          </a:bodyPr>
          <a:lstStyle>
            <a:defPPr>
              <a:defRPr lang="es-ES"/>
            </a:defPPr>
            <a:lvl1pPr>
              <a:defRPr sz="2800" b="1">
                <a:solidFill>
                  <a:srgbClr val="01426A"/>
                </a:solidFill>
                <a:latin typeface="Calibri" panose="020F0502020204030204" pitchFamily="34" charset="0"/>
              </a:defRPr>
            </a:lvl1pPr>
          </a:lstStyle>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lang="pt" dirty="0">
                <a:solidFill>
                  <a:srgbClr val="00B2A9"/>
                </a:solidFill>
                <a:latin typeface="+mn-lt"/>
                <a:cs typeface="Calibri"/>
              </a:rPr>
              <a:t>+</a:t>
            </a:r>
            <a:r>
              <a:rPr kumimoji="0" lang="pt" sz="2800" b="1" i="0" u="none" strike="noStrike" kern="0" cap="none" spc="0" normalizeH="0" baseline="0" noProof="0" dirty="0">
                <a:ln>
                  <a:noFill/>
                </a:ln>
                <a:solidFill>
                  <a:srgbClr val="00B2A9"/>
                </a:solidFill>
                <a:effectLst/>
                <a:uLnTx/>
                <a:uFillTx/>
                <a:latin typeface="+mn-lt"/>
                <a:cs typeface="Calibri"/>
                <a:sym typeface="Arial"/>
              </a:rPr>
              <a:t>400</a:t>
            </a:r>
          </a:p>
          <a:p>
            <a:pPr algn="ctr">
              <a:lnSpc>
                <a:spcPts val="2000"/>
              </a:lnSpc>
              <a:defRPr/>
            </a:pPr>
            <a:r>
              <a:rPr lang="pt" sz="1600" b="0">
                <a:solidFill>
                  <a:srgbClr val="000000">
                    <a:lumMod val="50000"/>
                    <a:lumOff val="50000"/>
                  </a:srgbClr>
                </a:solidFill>
                <a:latin typeface="+mn-lt"/>
                <a:cs typeface="Calibri" panose="020F0502020204030204" pitchFamily="34" charset="0"/>
              </a:rPr>
              <a:t>Marcas divididas em 11 verticais de segmentos</a:t>
            </a:r>
          </a:p>
        </p:txBody>
      </p:sp>
      <p:sp>
        <p:nvSpPr>
          <p:cNvPr id="726" name="Retângulo: Cantos Diagonais Arredondados 333">
            <a:extLst>
              <a:ext uri="{FF2B5EF4-FFF2-40B4-BE49-F238E27FC236}">
                <a16:creationId xmlns:a16="http://schemas.microsoft.com/office/drawing/2014/main" id="{EDEA03D6-CFE7-9379-0B07-83D6CD6B114D}"/>
              </a:ext>
            </a:extLst>
          </p:cNvPr>
          <p:cNvSpPr/>
          <p:nvPr/>
        </p:nvSpPr>
        <p:spPr>
          <a:xfrm rot="16200000">
            <a:off x="3712238" y="778018"/>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sp>
        <p:nvSpPr>
          <p:cNvPr id="729" name="TextBox 134">
            <a:extLst>
              <a:ext uri="{FF2B5EF4-FFF2-40B4-BE49-F238E27FC236}">
                <a16:creationId xmlns:a16="http://schemas.microsoft.com/office/drawing/2014/main" id="{6CDB78CE-5C62-1545-A7E7-0A84BD080E9B}"/>
              </a:ext>
            </a:extLst>
          </p:cNvPr>
          <p:cNvSpPr txBox="1"/>
          <p:nvPr/>
        </p:nvSpPr>
        <p:spPr>
          <a:xfrm>
            <a:off x="9628652" y="4481815"/>
            <a:ext cx="2269629" cy="1179810"/>
          </a:xfrm>
          <a:prstGeom prst="rect">
            <a:avLst/>
          </a:prstGeom>
          <a:noFill/>
        </p:spPr>
        <p:txBody>
          <a:bodyPr wrap="square" lIns="0" tIns="0" rIns="0" bIns="0" rtlCol="0" anchor="t">
            <a:spAutoFit/>
          </a:bodyPr>
          <a:lstStyle>
            <a:defPPr>
              <a:defRPr lang="es-ES"/>
            </a:defPPr>
            <a:lvl1pPr>
              <a:defRPr sz="2800" b="1">
                <a:solidFill>
                  <a:srgbClr val="01426A"/>
                </a:solidFill>
                <a:latin typeface="Calibri" panose="020F0502020204030204" pitchFamily="34" charset="0"/>
              </a:defRPr>
            </a:lvl1pPr>
          </a:lstStyle>
          <a:p>
            <a:pPr algn="ctr">
              <a:defRPr/>
            </a:pPr>
            <a:r>
              <a:rPr lang="pt" sz="2400">
                <a:latin typeface="+mn-lt"/>
                <a:ea typeface="Calibri"/>
                <a:cs typeface="Calibri"/>
              </a:rPr>
              <a:t>Great Places</a:t>
            </a:r>
            <a:endParaRPr lang="pt-BR">
              <a:latin typeface="+mn-lt"/>
            </a:endParaRPr>
          </a:p>
          <a:p>
            <a:pPr algn="ctr">
              <a:lnSpc>
                <a:spcPts val="2000"/>
              </a:lnSpc>
              <a:defRPr/>
            </a:pPr>
            <a:r>
              <a:rPr lang="pt" sz="2400">
                <a:latin typeface="+mn-lt"/>
                <a:ea typeface="Calibri"/>
                <a:cs typeface="Calibri"/>
              </a:rPr>
              <a:t>to Work</a:t>
            </a:r>
            <a:r>
              <a:rPr kumimoji="0" lang="pt" sz="2400" b="1" i="0" u="none" strike="noStrike" kern="0" cap="none" spc="0" normalizeH="0" baseline="0" noProof="0">
                <a:ln>
                  <a:noFill/>
                </a:ln>
                <a:solidFill>
                  <a:srgbClr val="01426A"/>
                </a:solidFill>
                <a:effectLst/>
                <a:uLnTx/>
                <a:uFillTx/>
                <a:latin typeface="+mn-lt"/>
                <a:cs typeface="Calibri"/>
                <a:sym typeface="Arial"/>
              </a:rPr>
              <a:t>®</a:t>
            </a:r>
            <a:endParaRPr lang="pt-BR">
              <a:latin typeface="+mn-lt"/>
              <a:cs typeface="Calibri"/>
            </a:endParaRPr>
          </a:p>
          <a:p>
            <a:pPr algn="ctr">
              <a:defRPr/>
            </a:pPr>
            <a:r>
              <a:rPr lang="pt" sz="1200" b="0">
                <a:solidFill>
                  <a:srgbClr val="000000"/>
                </a:solidFill>
                <a:latin typeface="+mn-lt"/>
                <a:cs typeface="Calibri"/>
              </a:rPr>
              <a:t>Uma das 25 melhores empresas multinacionais do mundo </a:t>
            </a:r>
          </a:p>
          <a:p>
            <a:pPr algn="ctr">
              <a:defRPr/>
            </a:pPr>
            <a:r>
              <a:rPr lang="pt" sz="1200" b="0">
                <a:solidFill>
                  <a:srgbClr val="000000"/>
                </a:solidFill>
                <a:latin typeface="+mn-lt"/>
                <a:cs typeface="Calibri"/>
              </a:rPr>
              <a:t>para se trabalhar </a:t>
            </a:r>
            <a:endParaRPr lang="pt">
              <a:latin typeface="+mn-lt"/>
            </a:endParaRPr>
          </a:p>
        </p:txBody>
      </p:sp>
      <p:pic>
        <p:nvPicPr>
          <p:cNvPr id="730" name="Picture 6" descr="Grupo Volvo nomeado um dos 2020 World' s Melhores locais de trabalho">
            <a:extLst>
              <a:ext uri="{FF2B5EF4-FFF2-40B4-BE49-F238E27FC236}">
                <a16:creationId xmlns:a16="http://schemas.microsoft.com/office/drawing/2014/main" id="{17CC7249-00CB-C886-FCC2-936AECD24346}"/>
              </a:ext>
            </a:extLst>
          </p:cNvPr>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389393" y="3679112"/>
            <a:ext cx="748146" cy="711314"/>
          </a:xfrm>
          <a:prstGeom prst="ellipse">
            <a:avLst/>
          </a:prstGeom>
          <a:noFill/>
          <a:extLst>
            <a:ext uri="{909E8E84-426E-40DD-AFC4-6F175D3DCCD1}">
              <a14:hiddenFill xmlns:a14="http://schemas.microsoft.com/office/drawing/2010/main">
                <a:solidFill>
                  <a:srgbClr val="FFFFFF"/>
                </a:solidFill>
              </a14:hiddenFill>
            </a:ext>
          </a:extLst>
        </p:spPr>
      </p:pic>
      <p:sp>
        <p:nvSpPr>
          <p:cNvPr id="731" name="Retângulo: Cantos Diagonais Arredondados 336">
            <a:extLst>
              <a:ext uri="{FF2B5EF4-FFF2-40B4-BE49-F238E27FC236}">
                <a16:creationId xmlns:a16="http://schemas.microsoft.com/office/drawing/2014/main" id="{3FDEE1BC-C7EE-1ECF-E434-860E05EF4738}"/>
              </a:ext>
            </a:extLst>
          </p:cNvPr>
          <p:cNvSpPr/>
          <p:nvPr/>
        </p:nvSpPr>
        <p:spPr>
          <a:xfrm rot="16200000">
            <a:off x="9606471" y="3216546"/>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sp>
        <p:nvSpPr>
          <p:cNvPr id="734" name="Retângulo: Cantos Diagonais Arredondados 339">
            <a:extLst>
              <a:ext uri="{FF2B5EF4-FFF2-40B4-BE49-F238E27FC236}">
                <a16:creationId xmlns:a16="http://schemas.microsoft.com/office/drawing/2014/main" id="{8FFD2709-579F-E17F-6C65-B077C56E8D91}"/>
              </a:ext>
            </a:extLst>
          </p:cNvPr>
          <p:cNvSpPr/>
          <p:nvPr/>
        </p:nvSpPr>
        <p:spPr>
          <a:xfrm rot="16200000">
            <a:off x="6659354" y="3216546"/>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sp>
        <p:nvSpPr>
          <p:cNvPr id="737" name="TextBox 98">
            <a:extLst>
              <a:ext uri="{FF2B5EF4-FFF2-40B4-BE49-F238E27FC236}">
                <a16:creationId xmlns:a16="http://schemas.microsoft.com/office/drawing/2014/main" id="{D1EC313C-DB3A-0EE4-0C56-EA3CDF5CE850}"/>
              </a:ext>
            </a:extLst>
          </p:cNvPr>
          <p:cNvSpPr txBox="1"/>
          <p:nvPr/>
        </p:nvSpPr>
        <p:spPr>
          <a:xfrm>
            <a:off x="661864" y="2469126"/>
            <a:ext cx="2517582" cy="502958"/>
          </a:xfrm>
          <a:prstGeom prst="rect">
            <a:avLst/>
          </a:prstGeom>
          <a:noFill/>
        </p:spPr>
        <p:txBody>
          <a:bodyPr wrap="square" lIns="0" tIns="0" rIns="0" bIns="0" rtlCol="0" anchor="t">
            <a:spAutoFit/>
          </a:bodyPr>
          <a:lstStyle>
            <a:defPPr>
              <a:defRPr lang="es-ES"/>
            </a:defPPr>
            <a:lvl1pPr>
              <a:defRPr sz="2800" b="1">
                <a:solidFill>
                  <a:srgbClr val="01426A"/>
                </a:solidFill>
                <a:latin typeface="Calibri" panose="020F0502020204030204" pitchFamily="34" charset="0"/>
              </a:defRPr>
            </a:lvl1pPr>
          </a:lstStyle>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lang="pt" sz="2400">
                <a:solidFill>
                  <a:srgbClr val="B7BF10"/>
                </a:solidFill>
                <a:latin typeface="+mn-lt"/>
                <a:cs typeface="Calibri"/>
              </a:rPr>
              <a:t>US$~</a:t>
            </a:r>
            <a:r>
              <a:rPr kumimoji="0" lang="pt" sz="2400" b="1" i="0" u="none" strike="noStrike" kern="0" cap="none" spc="0" normalizeH="0" baseline="0" noProof="0">
                <a:ln>
                  <a:noFill/>
                </a:ln>
                <a:solidFill>
                  <a:srgbClr val="B7BF10"/>
                </a:solidFill>
                <a:effectLst/>
                <a:uLnTx/>
                <a:uFillTx/>
                <a:latin typeface="+mn-lt"/>
                <a:cs typeface="Calibri"/>
                <a:sym typeface="Arial"/>
              </a:rPr>
              <a:t>1,35 </a:t>
            </a:r>
            <a:r>
              <a:rPr lang="pt" sz="2400">
                <a:solidFill>
                  <a:srgbClr val="B7BF10"/>
                </a:solidFill>
                <a:latin typeface="+mn-lt"/>
                <a:cs typeface="Calibri"/>
              </a:rPr>
              <a:t>bilhões</a:t>
            </a:r>
            <a:endParaRPr lang="pt" sz="2600" b="1" i="0" u="none" strike="noStrike" kern="0" cap="none" spc="0" normalizeH="0" baseline="0" noProof="0">
              <a:ln>
                <a:noFill/>
              </a:ln>
              <a:solidFill>
                <a:srgbClr val="B7BF10"/>
              </a:solidFill>
              <a:effectLst/>
              <a:uLnTx/>
              <a:uFillTx/>
              <a:latin typeface="+mn-lt"/>
              <a:cs typeface="Calibri"/>
            </a:endParaRPr>
          </a:p>
          <a:p>
            <a:pPr marL="0" marR="0" lvl="0" indent="0" algn="ctr" defTabSz="914400" rtl="0" eaLnBrk="1" fontAlgn="auto" latinLnBrk="0" hangingPunct="1">
              <a:lnSpc>
                <a:spcPts val="2000"/>
              </a:lnSpc>
              <a:spcBef>
                <a:spcPts val="0"/>
              </a:spcBef>
              <a:spcAft>
                <a:spcPts val="0"/>
              </a:spcAft>
              <a:buClr>
                <a:srgbClr val="000000"/>
              </a:buClr>
              <a:buSzTx/>
              <a:buFont typeface="Arial"/>
              <a:buNone/>
              <a:tabLst/>
              <a:defRPr/>
            </a:pPr>
            <a:r>
              <a:rPr kumimoji="0" lang="pt" sz="1600" b="0" i="0" u="none" strike="noStrike" kern="0" cap="none" spc="0" normalizeH="0" baseline="0" noProof="0">
                <a:ln>
                  <a:noFill/>
                </a:ln>
                <a:solidFill>
                  <a:srgbClr val="000000">
                    <a:lumMod val="50000"/>
                    <a:lumOff val="50000"/>
                  </a:srgbClr>
                </a:solidFill>
                <a:effectLst/>
                <a:uLnTx/>
                <a:uFillTx/>
                <a:latin typeface="+mn-lt"/>
                <a:cs typeface="Calibri" panose="020F0502020204030204" pitchFamily="34" charset="0"/>
                <a:sym typeface="Arial"/>
              </a:rPr>
              <a:t>Receita de 2023</a:t>
            </a:r>
          </a:p>
        </p:txBody>
      </p:sp>
      <p:grpSp>
        <p:nvGrpSpPr>
          <p:cNvPr id="738" name="Group 100">
            <a:extLst>
              <a:ext uri="{FF2B5EF4-FFF2-40B4-BE49-F238E27FC236}">
                <a16:creationId xmlns:a16="http://schemas.microsoft.com/office/drawing/2014/main" id="{B9143843-490B-242E-7022-CF6A285471CB}"/>
              </a:ext>
            </a:extLst>
          </p:cNvPr>
          <p:cNvGrpSpPr/>
          <p:nvPr/>
        </p:nvGrpSpPr>
        <p:grpSpPr>
          <a:xfrm>
            <a:off x="1591755" y="1376328"/>
            <a:ext cx="592138" cy="523876"/>
            <a:chOff x="3717925" y="5141913"/>
            <a:chExt cx="592138" cy="523876"/>
          </a:xfrm>
          <a:solidFill>
            <a:srgbClr val="B7BF10"/>
          </a:solidFill>
        </p:grpSpPr>
        <p:sp>
          <p:nvSpPr>
            <p:cNvPr id="739" name="Freeform 63">
              <a:extLst>
                <a:ext uri="{FF2B5EF4-FFF2-40B4-BE49-F238E27FC236}">
                  <a16:creationId xmlns:a16="http://schemas.microsoft.com/office/drawing/2014/main" id="{2E2A8DE3-D6E3-3F06-9FF4-3BA44205065D}"/>
                </a:ext>
              </a:extLst>
            </p:cNvPr>
            <p:cNvSpPr>
              <a:spLocks noEditPoints="1"/>
            </p:cNvSpPr>
            <p:nvPr/>
          </p:nvSpPr>
          <p:spPr bwMode="auto">
            <a:xfrm>
              <a:off x="3717925" y="5213351"/>
              <a:ext cx="592138" cy="452438"/>
            </a:xfrm>
            <a:custGeom>
              <a:avLst/>
              <a:gdLst>
                <a:gd name="T0" fmla="*/ 29 w 3001"/>
                <a:gd name="T1" fmla="*/ 2287 h 2288"/>
                <a:gd name="T2" fmla="*/ 25 w 3001"/>
                <a:gd name="T3" fmla="*/ 2181 h 2288"/>
                <a:gd name="T4" fmla="*/ 141 w 3001"/>
                <a:gd name="T5" fmla="*/ 1322 h 2288"/>
                <a:gd name="T6" fmla="*/ 498 w 3001"/>
                <a:gd name="T7" fmla="*/ 1158 h 2288"/>
                <a:gd name="T8" fmla="*/ 531 w 3001"/>
                <a:gd name="T9" fmla="*/ 2160 h 2288"/>
                <a:gd name="T10" fmla="*/ 708 w 3001"/>
                <a:gd name="T11" fmla="*/ 2157 h 2288"/>
                <a:gd name="T12" fmla="*/ 756 w 3001"/>
                <a:gd name="T13" fmla="*/ 846 h 2288"/>
                <a:gd name="T14" fmla="*/ 1130 w 3001"/>
                <a:gd name="T15" fmla="*/ 2133 h 2288"/>
                <a:gd name="T16" fmla="*/ 1303 w 3001"/>
                <a:gd name="T17" fmla="*/ 2152 h 2288"/>
                <a:gd name="T18" fmla="*/ 1348 w 3001"/>
                <a:gd name="T19" fmla="*/ 562 h 2288"/>
                <a:gd name="T20" fmla="*/ 1692 w 3001"/>
                <a:gd name="T21" fmla="*/ 2129 h 2288"/>
                <a:gd name="T22" fmla="*/ 1846 w 3001"/>
                <a:gd name="T23" fmla="*/ 2181 h 2288"/>
                <a:gd name="T24" fmla="*/ 1870 w 3001"/>
                <a:gd name="T25" fmla="*/ 324 h 2288"/>
                <a:gd name="T26" fmla="*/ 2259 w 3001"/>
                <a:gd name="T27" fmla="*/ 316 h 2288"/>
                <a:gd name="T28" fmla="*/ 2291 w 3001"/>
                <a:gd name="T29" fmla="*/ 2180 h 2288"/>
                <a:gd name="T30" fmla="*/ 2432 w 3001"/>
                <a:gd name="T31" fmla="*/ 2124 h 2288"/>
                <a:gd name="T32" fmla="*/ 2459 w 3001"/>
                <a:gd name="T33" fmla="*/ 0 h 2288"/>
                <a:gd name="T34" fmla="*/ 2855 w 3001"/>
                <a:gd name="T35" fmla="*/ 23 h 2288"/>
                <a:gd name="T36" fmla="*/ 2854 w 3001"/>
                <a:gd name="T37" fmla="*/ 2154 h 2288"/>
                <a:gd name="T38" fmla="*/ 2966 w 3001"/>
                <a:gd name="T39" fmla="*/ 2204 h 2288"/>
                <a:gd name="T40" fmla="*/ 2994 w 3001"/>
                <a:gd name="T41" fmla="*/ 2280 h 2288"/>
                <a:gd name="T42" fmla="*/ 1498 w 3001"/>
                <a:gd name="T43" fmla="*/ 2287 h 2288"/>
                <a:gd name="T44" fmla="*/ 1975 w 3001"/>
                <a:gd name="T45" fmla="*/ 2148 h 2288"/>
                <a:gd name="T46" fmla="*/ 2153 w 3001"/>
                <a:gd name="T47" fmla="*/ 2137 h 2288"/>
                <a:gd name="T48" fmla="*/ 2129 w 3001"/>
                <a:gd name="T49" fmla="*/ 389 h 2288"/>
                <a:gd name="T50" fmla="*/ 1975 w 3001"/>
                <a:gd name="T51" fmla="*/ 1284 h 2288"/>
                <a:gd name="T52" fmla="*/ 2715 w 3001"/>
                <a:gd name="T53" fmla="*/ 126 h 2288"/>
                <a:gd name="T54" fmla="*/ 2575 w 3001"/>
                <a:gd name="T55" fmla="*/ 127 h 2288"/>
                <a:gd name="T56" fmla="*/ 2575 w 3001"/>
                <a:gd name="T57" fmla="*/ 2155 h 2288"/>
                <a:gd name="T58" fmla="*/ 2715 w 3001"/>
                <a:gd name="T59" fmla="*/ 2142 h 2288"/>
                <a:gd name="T60" fmla="*/ 1413 w 3001"/>
                <a:gd name="T61" fmla="*/ 1422 h 2288"/>
                <a:gd name="T62" fmla="*/ 1444 w 3001"/>
                <a:gd name="T63" fmla="*/ 2181 h 2288"/>
                <a:gd name="T64" fmla="*/ 1586 w 3001"/>
                <a:gd name="T65" fmla="*/ 724 h 2288"/>
                <a:gd name="T66" fmla="*/ 1452 w 3001"/>
                <a:gd name="T67" fmla="*/ 669 h 2288"/>
                <a:gd name="T68" fmla="*/ 991 w 3001"/>
                <a:gd name="T69" fmla="*/ 1577 h 2288"/>
                <a:gd name="T70" fmla="*/ 962 w 3001"/>
                <a:gd name="T71" fmla="*/ 952 h 2288"/>
                <a:gd name="T72" fmla="*/ 839 w 3001"/>
                <a:gd name="T73" fmla="*/ 982 h 2288"/>
                <a:gd name="T74" fmla="*/ 814 w 3001"/>
                <a:gd name="T75" fmla="*/ 2152 h 2288"/>
                <a:gd name="T76" fmla="*/ 991 w 3001"/>
                <a:gd name="T77" fmla="*/ 2141 h 2288"/>
                <a:gd name="T78" fmla="*/ 425 w 3001"/>
                <a:gd name="T79" fmla="*/ 1293 h 2288"/>
                <a:gd name="T80" fmla="*/ 251 w 3001"/>
                <a:gd name="T81" fmla="*/ 1289 h 2288"/>
                <a:gd name="T82" fmla="*/ 394 w 3001"/>
                <a:gd name="T83" fmla="*/ 2181 h 2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1" h="2288">
                  <a:moveTo>
                    <a:pt x="1498" y="2287"/>
                  </a:moveTo>
                  <a:cubicBezTo>
                    <a:pt x="1020" y="2287"/>
                    <a:pt x="543" y="2287"/>
                    <a:pt x="65" y="2287"/>
                  </a:cubicBezTo>
                  <a:cubicBezTo>
                    <a:pt x="53" y="2287"/>
                    <a:pt x="41" y="2286"/>
                    <a:pt x="29" y="2287"/>
                  </a:cubicBezTo>
                  <a:cubicBezTo>
                    <a:pt x="8" y="2288"/>
                    <a:pt x="0" y="2279"/>
                    <a:pt x="1" y="2258"/>
                  </a:cubicBezTo>
                  <a:cubicBezTo>
                    <a:pt x="3" y="2240"/>
                    <a:pt x="3" y="2222"/>
                    <a:pt x="2" y="2203"/>
                  </a:cubicBezTo>
                  <a:cubicBezTo>
                    <a:pt x="2" y="2187"/>
                    <a:pt x="9" y="2180"/>
                    <a:pt x="25" y="2181"/>
                  </a:cubicBezTo>
                  <a:cubicBezTo>
                    <a:pt x="51" y="2181"/>
                    <a:pt x="77" y="2181"/>
                    <a:pt x="102" y="2181"/>
                  </a:cubicBezTo>
                  <a:cubicBezTo>
                    <a:pt x="141" y="2181"/>
                    <a:pt x="141" y="2181"/>
                    <a:pt x="141" y="2140"/>
                  </a:cubicBezTo>
                  <a:cubicBezTo>
                    <a:pt x="141" y="1868"/>
                    <a:pt x="141" y="1595"/>
                    <a:pt x="141" y="1322"/>
                  </a:cubicBezTo>
                  <a:cubicBezTo>
                    <a:pt x="141" y="1278"/>
                    <a:pt x="142" y="1234"/>
                    <a:pt x="141" y="1190"/>
                  </a:cubicBezTo>
                  <a:cubicBezTo>
                    <a:pt x="140" y="1166"/>
                    <a:pt x="147" y="1157"/>
                    <a:pt x="172" y="1157"/>
                  </a:cubicBezTo>
                  <a:cubicBezTo>
                    <a:pt x="281" y="1158"/>
                    <a:pt x="390" y="1157"/>
                    <a:pt x="498" y="1158"/>
                  </a:cubicBezTo>
                  <a:cubicBezTo>
                    <a:pt x="530" y="1158"/>
                    <a:pt x="530" y="1159"/>
                    <a:pt x="530" y="1191"/>
                  </a:cubicBezTo>
                  <a:cubicBezTo>
                    <a:pt x="530" y="1506"/>
                    <a:pt x="530" y="1821"/>
                    <a:pt x="530" y="2136"/>
                  </a:cubicBezTo>
                  <a:cubicBezTo>
                    <a:pt x="530" y="2144"/>
                    <a:pt x="531" y="2152"/>
                    <a:pt x="531" y="2160"/>
                  </a:cubicBezTo>
                  <a:cubicBezTo>
                    <a:pt x="530" y="2175"/>
                    <a:pt x="537" y="2180"/>
                    <a:pt x="551" y="2180"/>
                  </a:cubicBezTo>
                  <a:cubicBezTo>
                    <a:pt x="596" y="2180"/>
                    <a:pt x="641" y="2180"/>
                    <a:pt x="686" y="2181"/>
                  </a:cubicBezTo>
                  <a:cubicBezTo>
                    <a:pt x="702" y="2181"/>
                    <a:pt x="709" y="2173"/>
                    <a:pt x="708" y="2157"/>
                  </a:cubicBezTo>
                  <a:cubicBezTo>
                    <a:pt x="707" y="2150"/>
                    <a:pt x="708" y="2143"/>
                    <a:pt x="708" y="2135"/>
                  </a:cubicBezTo>
                  <a:cubicBezTo>
                    <a:pt x="708" y="1722"/>
                    <a:pt x="708" y="1308"/>
                    <a:pt x="708" y="894"/>
                  </a:cubicBezTo>
                  <a:cubicBezTo>
                    <a:pt x="708" y="846"/>
                    <a:pt x="708" y="846"/>
                    <a:pt x="756" y="846"/>
                  </a:cubicBezTo>
                  <a:cubicBezTo>
                    <a:pt x="869" y="845"/>
                    <a:pt x="982" y="845"/>
                    <a:pt x="1094" y="846"/>
                  </a:cubicBezTo>
                  <a:cubicBezTo>
                    <a:pt x="1130" y="846"/>
                    <a:pt x="1130" y="846"/>
                    <a:pt x="1130" y="882"/>
                  </a:cubicBezTo>
                  <a:cubicBezTo>
                    <a:pt x="1130" y="1299"/>
                    <a:pt x="1130" y="1716"/>
                    <a:pt x="1130" y="2133"/>
                  </a:cubicBezTo>
                  <a:cubicBezTo>
                    <a:pt x="1130" y="2181"/>
                    <a:pt x="1130" y="2181"/>
                    <a:pt x="1179" y="2180"/>
                  </a:cubicBezTo>
                  <a:cubicBezTo>
                    <a:pt x="1213" y="2180"/>
                    <a:pt x="1247" y="2183"/>
                    <a:pt x="1282" y="2177"/>
                  </a:cubicBezTo>
                  <a:cubicBezTo>
                    <a:pt x="1298" y="2174"/>
                    <a:pt x="1304" y="2167"/>
                    <a:pt x="1303" y="2152"/>
                  </a:cubicBezTo>
                  <a:cubicBezTo>
                    <a:pt x="1303" y="2144"/>
                    <a:pt x="1303" y="2137"/>
                    <a:pt x="1303" y="2130"/>
                  </a:cubicBezTo>
                  <a:cubicBezTo>
                    <a:pt x="1303" y="1623"/>
                    <a:pt x="1303" y="1115"/>
                    <a:pt x="1303" y="608"/>
                  </a:cubicBezTo>
                  <a:cubicBezTo>
                    <a:pt x="1303" y="562"/>
                    <a:pt x="1303" y="562"/>
                    <a:pt x="1348" y="562"/>
                  </a:cubicBezTo>
                  <a:cubicBezTo>
                    <a:pt x="1445" y="562"/>
                    <a:pt x="1542" y="562"/>
                    <a:pt x="1639" y="562"/>
                  </a:cubicBezTo>
                  <a:cubicBezTo>
                    <a:pt x="1698" y="562"/>
                    <a:pt x="1692" y="557"/>
                    <a:pt x="1692" y="615"/>
                  </a:cubicBezTo>
                  <a:cubicBezTo>
                    <a:pt x="1693" y="1120"/>
                    <a:pt x="1692" y="1624"/>
                    <a:pt x="1692" y="2129"/>
                  </a:cubicBezTo>
                  <a:cubicBezTo>
                    <a:pt x="1692" y="2138"/>
                    <a:pt x="1693" y="2147"/>
                    <a:pt x="1693" y="2156"/>
                  </a:cubicBezTo>
                  <a:cubicBezTo>
                    <a:pt x="1692" y="2173"/>
                    <a:pt x="1699" y="2181"/>
                    <a:pt x="1717" y="2181"/>
                  </a:cubicBezTo>
                  <a:cubicBezTo>
                    <a:pt x="1760" y="2180"/>
                    <a:pt x="1803" y="2180"/>
                    <a:pt x="1846" y="2181"/>
                  </a:cubicBezTo>
                  <a:cubicBezTo>
                    <a:pt x="1864" y="2181"/>
                    <a:pt x="1871" y="2173"/>
                    <a:pt x="1870" y="2156"/>
                  </a:cubicBezTo>
                  <a:cubicBezTo>
                    <a:pt x="1869" y="2147"/>
                    <a:pt x="1870" y="2138"/>
                    <a:pt x="1870" y="2129"/>
                  </a:cubicBezTo>
                  <a:cubicBezTo>
                    <a:pt x="1870" y="1528"/>
                    <a:pt x="1870" y="926"/>
                    <a:pt x="1870" y="324"/>
                  </a:cubicBezTo>
                  <a:cubicBezTo>
                    <a:pt x="1870" y="280"/>
                    <a:pt x="1870" y="279"/>
                    <a:pt x="1914" y="279"/>
                  </a:cubicBezTo>
                  <a:cubicBezTo>
                    <a:pt x="2016" y="279"/>
                    <a:pt x="2119" y="279"/>
                    <a:pt x="2221" y="279"/>
                  </a:cubicBezTo>
                  <a:cubicBezTo>
                    <a:pt x="2259" y="279"/>
                    <a:pt x="2259" y="279"/>
                    <a:pt x="2259" y="316"/>
                  </a:cubicBezTo>
                  <a:cubicBezTo>
                    <a:pt x="2259" y="800"/>
                    <a:pt x="2259" y="1284"/>
                    <a:pt x="2259" y="1769"/>
                  </a:cubicBezTo>
                  <a:cubicBezTo>
                    <a:pt x="2259" y="1895"/>
                    <a:pt x="2259" y="2021"/>
                    <a:pt x="2259" y="2148"/>
                  </a:cubicBezTo>
                  <a:cubicBezTo>
                    <a:pt x="2259" y="2179"/>
                    <a:pt x="2260" y="2180"/>
                    <a:pt x="2291" y="2180"/>
                  </a:cubicBezTo>
                  <a:cubicBezTo>
                    <a:pt x="2329" y="2181"/>
                    <a:pt x="2368" y="2180"/>
                    <a:pt x="2406" y="2181"/>
                  </a:cubicBezTo>
                  <a:cubicBezTo>
                    <a:pt x="2425" y="2181"/>
                    <a:pt x="2433" y="2174"/>
                    <a:pt x="2432" y="2155"/>
                  </a:cubicBezTo>
                  <a:cubicBezTo>
                    <a:pt x="2431" y="2145"/>
                    <a:pt x="2432" y="2135"/>
                    <a:pt x="2432" y="2124"/>
                  </a:cubicBezTo>
                  <a:cubicBezTo>
                    <a:pt x="2432" y="1433"/>
                    <a:pt x="2432" y="742"/>
                    <a:pt x="2432" y="50"/>
                  </a:cubicBezTo>
                  <a:cubicBezTo>
                    <a:pt x="2432" y="43"/>
                    <a:pt x="2432" y="36"/>
                    <a:pt x="2432" y="29"/>
                  </a:cubicBezTo>
                  <a:cubicBezTo>
                    <a:pt x="2430" y="8"/>
                    <a:pt x="2438" y="0"/>
                    <a:pt x="2459" y="0"/>
                  </a:cubicBezTo>
                  <a:cubicBezTo>
                    <a:pt x="2554" y="1"/>
                    <a:pt x="2650" y="0"/>
                    <a:pt x="2745" y="0"/>
                  </a:cubicBezTo>
                  <a:cubicBezTo>
                    <a:pt x="2774" y="0"/>
                    <a:pt x="2802" y="1"/>
                    <a:pt x="2831" y="1"/>
                  </a:cubicBezTo>
                  <a:cubicBezTo>
                    <a:pt x="2847" y="0"/>
                    <a:pt x="2854" y="7"/>
                    <a:pt x="2855" y="23"/>
                  </a:cubicBezTo>
                  <a:cubicBezTo>
                    <a:pt x="2857" y="68"/>
                    <a:pt x="2858" y="113"/>
                    <a:pt x="2858" y="158"/>
                  </a:cubicBezTo>
                  <a:cubicBezTo>
                    <a:pt x="2858" y="797"/>
                    <a:pt x="2858" y="1436"/>
                    <a:pt x="2858" y="2076"/>
                  </a:cubicBezTo>
                  <a:cubicBezTo>
                    <a:pt x="2858" y="2102"/>
                    <a:pt x="2856" y="2128"/>
                    <a:pt x="2854" y="2154"/>
                  </a:cubicBezTo>
                  <a:cubicBezTo>
                    <a:pt x="2853" y="2173"/>
                    <a:pt x="2861" y="2181"/>
                    <a:pt x="2880" y="2181"/>
                  </a:cubicBezTo>
                  <a:cubicBezTo>
                    <a:pt x="2897" y="2180"/>
                    <a:pt x="2913" y="2181"/>
                    <a:pt x="2930" y="2181"/>
                  </a:cubicBezTo>
                  <a:cubicBezTo>
                    <a:pt x="2947" y="2180"/>
                    <a:pt x="2965" y="2179"/>
                    <a:pt x="2966" y="2204"/>
                  </a:cubicBezTo>
                  <a:cubicBezTo>
                    <a:pt x="2966" y="2209"/>
                    <a:pt x="2971" y="2212"/>
                    <a:pt x="2976" y="2213"/>
                  </a:cubicBezTo>
                  <a:cubicBezTo>
                    <a:pt x="2985" y="2215"/>
                    <a:pt x="2997" y="2215"/>
                    <a:pt x="2997" y="2228"/>
                  </a:cubicBezTo>
                  <a:cubicBezTo>
                    <a:pt x="2998" y="2245"/>
                    <a:pt x="3001" y="2263"/>
                    <a:pt x="2994" y="2280"/>
                  </a:cubicBezTo>
                  <a:cubicBezTo>
                    <a:pt x="2991" y="2286"/>
                    <a:pt x="2983" y="2286"/>
                    <a:pt x="2977" y="2286"/>
                  </a:cubicBezTo>
                  <a:cubicBezTo>
                    <a:pt x="2962" y="2286"/>
                    <a:pt x="2946" y="2287"/>
                    <a:pt x="2931" y="2287"/>
                  </a:cubicBezTo>
                  <a:cubicBezTo>
                    <a:pt x="2454" y="2287"/>
                    <a:pt x="1976" y="2287"/>
                    <a:pt x="1498" y="2287"/>
                  </a:cubicBezTo>
                  <a:close/>
                  <a:moveTo>
                    <a:pt x="1975" y="1284"/>
                  </a:moveTo>
                  <a:cubicBezTo>
                    <a:pt x="1975" y="1299"/>
                    <a:pt x="1975" y="1313"/>
                    <a:pt x="1975" y="1327"/>
                  </a:cubicBezTo>
                  <a:cubicBezTo>
                    <a:pt x="1975" y="1601"/>
                    <a:pt x="1975" y="1875"/>
                    <a:pt x="1975" y="2148"/>
                  </a:cubicBezTo>
                  <a:cubicBezTo>
                    <a:pt x="1975" y="2179"/>
                    <a:pt x="1977" y="2180"/>
                    <a:pt x="2008" y="2181"/>
                  </a:cubicBezTo>
                  <a:cubicBezTo>
                    <a:pt x="2041" y="2181"/>
                    <a:pt x="2075" y="2181"/>
                    <a:pt x="2109" y="2181"/>
                  </a:cubicBezTo>
                  <a:cubicBezTo>
                    <a:pt x="2153" y="2181"/>
                    <a:pt x="2153" y="2181"/>
                    <a:pt x="2153" y="2137"/>
                  </a:cubicBezTo>
                  <a:cubicBezTo>
                    <a:pt x="2153" y="1572"/>
                    <a:pt x="2153" y="1006"/>
                    <a:pt x="2153" y="441"/>
                  </a:cubicBezTo>
                  <a:cubicBezTo>
                    <a:pt x="2153" y="431"/>
                    <a:pt x="2152" y="421"/>
                    <a:pt x="2153" y="412"/>
                  </a:cubicBezTo>
                  <a:cubicBezTo>
                    <a:pt x="2153" y="395"/>
                    <a:pt x="2145" y="389"/>
                    <a:pt x="2129" y="389"/>
                  </a:cubicBezTo>
                  <a:cubicBezTo>
                    <a:pt x="2091" y="390"/>
                    <a:pt x="2053" y="389"/>
                    <a:pt x="2014" y="389"/>
                  </a:cubicBezTo>
                  <a:cubicBezTo>
                    <a:pt x="1976" y="389"/>
                    <a:pt x="1975" y="389"/>
                    <a:pt x="1975" y="428"/>
                  </a:cubicBezTo>
                  <a:cubicBezTo>
                    <a:pt x="1975" y="713"/>
                    <a:pt x="1975" y="999"/>
                    <a:pt x="1975" y="1284"/>
                  </a:cubicBezTo>
                  <a:close/>
                  <a:moveTo>
                    <a:pt x="2715" y="1143"/>
                  </a:moveTo>
                  <a:cubicBezTo>
                    <a:pt x="2715" y="812"/>
                    <a:pt x="2715" y="481"/>
                    <a:pt x="2715" y="150"/>
                  </a:cubicBezTo>
                  <a:cubicBezTo>
                    <a:pt x="2715" y="142"/>
                    <a:pt x="2715" y="134"/>
                    <a:pt x="2715" y="126"/>
                  </a:cubicBezTo>
                  <a:cubicBezTo>
                    <a:pt x="2715" y="113"/>
                    <a:pt x="2709" y="106"/>
                    <a:pt x="2696" y="106"/>
                  </a:cubicBezTo>
                  <a:cubicBezTo>
                    <a:pt x="2663" y="106"/>
                    <a:pt x="2629" y="106"/>
                    <a:pt x="2595" y="106"/>
                  </a:cubicBezTo>
                  <a:cubicBezTo>
                    <a:pt x="2581" y="106"/>
                    <a:pt x="2575" y="113"/>
                    <a:pt x="2575" y="127"/>
                  </a:cubicBezTo>
                  <a:cubicBezTo>
                    <a:pt x="2575" y="135"/>
                    <a:pt x="2575" y="143"/>
                    <a:pt x="2575" y="151"/>
                  </a:cubicBezTo>
                  <a:cubicBezTo>
                    <a:pt x="2575" y="812"/>
                    <a:pt x="2575" y="1474"/>
                    <a:pt x="2575" y="2136"/>
                  </a:cubicBezTo>
                  <a:cubicBezTo>
                    <a:pt x="2575" y="2142"/>
                    <a:pt x="2575" y="2149"/>
                    <a:pt x="2575" y="2155"/>
                  </a:cubicBezTo>
                  <a:cubicBezTo>
                    <a:pt x="2574" y="2173"/>
                    <a:pt x="2581" y="2181"/>
                    <a:pt x="2600" y="2181"/>
                  </a:cubicBezTo>
                  <a:cubicBezTo>
                    <a:pt x="2626" y="2180"/>
                    <a:pt x="2651" y="2181"/>
                    <a:pt x="2677" y="2181"/>
                  </a:cubicBezTo>
                  <a:cubicBezTo>
                    <a:pt x="2715" y="2181"/>
                    <a:pt x="2715" y="2181"/>
                    <a:pt x="2715" y="2142"/>
                  </a:cubicBezTo>
                  <a:cubicBezTo>
                    <a:pt x="2715" y="1809"/>
                    <a:pt x="2715" y="1476"/>
                    <a:pt x="2715" y="1143"/>
                  </a:cubicBezTo>
                  <a:close/>
                  <a:moveTo>
                    <a:pt x="1413" y="1422"/>
                  </a:moveTo>
                  <a:cubicBezTo>
                    <a:pt x="1413" y="1422"/>
                    <a:pt x="1413" y="1422"/>
                    <a:pt x="1413" y="1422"/>
                  </a:cubicBezTo>
                  <a:cubicBezTo>
                    <a:pt x="1413" y="1483"/>
                    <a:pt x="1413" y="1543"/>
                    <a:pt x="1413" y="1604"/>
                  </a:cubicBezTo>
                  <a:cubicBezTo>
                    <a:pt x="1413" y="1786"/>
                    <a:pt x="1413" y="1967"/>
                    <a:pt x="1413" y="2149"/>
                  </a:cubicBezTo>
                  <a:cubicBezTo>
                    <a:pt x="1413" y="2179"/>
                    <a:pt x="1415" y="2180"/>
                    <a:pt x="1444" y="2181"/>
                  </a:cubicBezTo>
                  <a:cubicBezTo>
                    <a:pt x="1478" y="2181"/>
                    <a:pt x="1512" y="2181"/>
                    <a:pt x="1545" y="2181"/>
                  </a:cubicBezTo>
                  <a:cubicBezTo>
                    <a:pt x="1586" y="2181"/>
                    <a:pt x="1586" y="2181"/>
                    <a:pt x="1586" y="2140"/>
                  </a:cubicBezTo>
                  <a:cubicBezTo>
                    <a:pt x="1587" y="1668"/>
                    <a:pt x="1586" y="1196"/>
                    <a:pt x="1586" y="724"/>
                  </a:cubicBezTo>
                  <a:cubicBezTo>
                    <a:pt x="1586" y="716"/>
                    <a:pt x="1586" y="708"/>
                    <a:pt x="1586" y="700"/>
                  </a:cubicBezTo>
                  <a:cubicBezTo>
                    <a:pt x="1589" y="677"/>
                    <a:pt x="1580" y="667"/>
                    <a:pt x="1555" y="668"/>
                  </a:cubicBezTo>
                  <a:cubicBezTo>
                    <a:pt x="1521" y="670"/>
                    <a:pt x="1487" y="669"/>
                    <a:pt x="1452" y="669"/>
                  </a:cubicBezTo>
                  <a:cubicBezTo>
                    <a:pt x="1414" y="669"/>
                    <a:pt x="1413" y="669"/>
                    <a:pt x="1413" y="707"/>
                  </a:cubicBezTo>
                  <a:cubicBezTo>
                    <a:pt x="1413" y="945"/>
                    <a:pt x="1413" y="1183"/>
                    <a:pt x="1413" y="1422"/>
                  </a:cubicBezTo>
                  <a:close/>
                  <a:moveTo>
                    <a:pt x="991" y="1577"/>
                  </a:moveTo>
                  <a:cubicBezTo>
                    <a:pt x="991" y="1393"/>
                    <a:pt x="991" y="1209"/>
                    <a:pt x="991" y="1025"/>
                  </a:cubicBezTo>
                  <a:cubicBezTo>
                    <a:pt x="991" y="1008"/>
                    <a:pt x="989" y="990"/>
                    <a:pt x="987" y="973"/>
                  </a:cubicBezTo>
                  <a:cubicBezTo>
                    <a:pt x="985" y="956"/>
                    <a:pt x="977" y="951"/>
                    <a:pt x="962" y="952"/>
                  </a:cubicBezTo>
                  <a:cubicBezTo>
                    <a:pt x="936" y="952"/>
                    <a:pt x="911" y="952"/>
                    <a:pt x="885" y="952"/>
                  </a:cubicBezTo>
                  <a:cubicBezTo>
                    <a:pt x="867" y="952"/>
                    <a:pt x="847" y="947"/>
                    <a:pt x="845" y="976"/>
                  </a:cubicBezTo>
                  <a:cubicBezTo>
                    <a:pt x="845" y="978"/>
                    <a:pt x="841" y="982"/>
                    <a:pt x="839" y="982"/>
                  </a:cubicBezTo>
                  <a:cubicBezTo>
                    <a:pt x="808" y="984"/>
                    <a:pt x="814" y="1007"/>
                    <a:pt x="814" y="1026"/>
                  </a:cubicBezTo>
                  <a:cubicBezTo>
                    <a:pt x="814" y="1396"/>
                    <a:pt x="814" y="1765"/>
                    <a:pt x="814" y="2135"/>
                  </a:cubicBezTo>
                  <a:cubicBezTo>
                    <a:pt x="814" y="2140"/>
                    <a:pt x="814" y="2146"/>
                    <a:pt x="814" y="2152"/>
                  </a:cubicBezTo>
                  <a:cubicBezTo>
                    <a:pt x="813" y="2167"/>
                    <a:pt x="819" y="2174"/>
                    <a:pt x="835" y="2177"/>
                  </a:cubicBezTo>
                  <a:cubicBezTo>
                    <a:pt x="874" y="2183"/>
                    <a:pt x="913" y="2180"/>
                    <a:pt x="952" y="2180"/>
                  </a:cubicBezTo>
                  <a:cubicBezTo>
                    <a:pt x="990" y="2181"/>
                    <a:pt x="991" y="2180"/>
                    <a:pt x="991" y="2141"/>
                  </a:cubicBezTo>
                  <a:cubicBezTo>
                    <a:pt x="991" y="1953"/>
                    <a:pt x="991" y="1765"/>
                    <a:pt x="991" y="1577"/>
                  </a:cubicBezTo>
                  <a:close/>
                  <a:moveTo>
                    <a:pt x="425" y="1724"/>
                  </a:moveTo>
                  <a:cubicBezTo>
                    <a:pt x="425" y="1581"/>
                    <a:pt x="424" y="1437"/>
                    <a:pt x="425" y="1293"/>
                  </a:cubicBezTo>
                  <a:cubicBezTo>
                    <a:pt x="425" y="1272"/>
                    <a:pt x="419" y="1262"/>
                    <a:pt x="396" y="1263"/>
                  </a:cubicBezTo>
                  <a:cubicBezTo>
                    <a:pt x="356" y="1264"/>
                    <a:pt x="316" y="1264"/>
                    <a:pt x="276" y="1263"/>
                  </a:cubicBezTo>
                  <a:cubicBezTo>
                    <a:pt x="258" y="1263"/>
                    <a:pt x="251" y="1271"/>
                    <a:pt x="251" y="1289"/>
                  </a:cubicBezTo>
                  <a:cubicBezTo>
                    <a:pt x="251" y="1578"/>
                    <a:pt x="252" y="1866"/>
                    <a:pt x="251" y="2155"/>
                  </a:cubicBezTo>
                  <a:cubicBezTo>
                    <a:pt x="251" y="2175"/>
                    <a:pt x="260" y="2181"/>
                    <a:pt x="279" y="2181"/>
                  </a:cubicBezTo>
                  <a:cubicBezTo>
                    <a:pt x="317" y="2180"/>
                    <a:pt x="355" y="2181"/>
                    <a:pt x="394" y="2181"/>
                  </a:cubicBezTo>
                  <a:cubicBezTo>
                    <a:pt x="423" y="2180"/>
                    <a:pt x="425" y="2179"/>
                    <a:pt x="425" y="2149"/>
                  </a:cubicBezTo>
                  <a:cubicBezTo>
                    <a:pt x="425" y="2007"/>
                    <a:pt x="425" y="1866"/>
                    <a:pt x="425" y="17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740" name="Freeform 64">
              <a:extLst>
                <a:ext uri="{FF2B5EF4-FFF2-40B4-BE49-F238E27FC236}">
                  <a16:creationId xmlns:a16="http://schemas.microsoft.com/office/drawing/2014/main" id="{ABDF372D-6618-C594-F956-067085AD2552}"/>
                </a:ext>
              </a:extLst>
            </p:cNvPr>
            <p:cNvSpPr>
              <a:spLocks/>
            </p:cNvSpPr>
            <p:nvPr/>
          </p:nvSpPr>
          <p:spPr bwMode="auto">
            <a:xfrm>
              <a:off x="3779838" y="5141913"/>
              <a:ext cx="328613" cy="239713"/>
            </a:xfrm>
            <a:custGeom>
              <a:avLst/>
              <a:gdLst>
                <a:gd name="T0" fmla="*/ 1640 w 1664"/>
                <a:gd name="T1" fmla="*/ 18 h 1214"/>
                <a:gd name="T2" fmla="*/ 1664 w 1664"/>
                <a:gd name="T3" fmla="*/ 280 h 1214"/>
                <a:gd name="T4" fmla="*/ 1630 w 1664"/>
                <a:gd name="T5" fmla="*/ 318 h 1214"/>
                <a:gd name="T6" fmla="*/ 1593 w 1664"/>
                <a:gd name="T7" fmla="*/ 317 h 1214"/>
                <a:gd name="T8" fmla="*/ 1559 w 1664"/>
                <a:gd name="T9" fmla="*/ 269 h 1214"/>
                <a:gd name="T10" fmla="*/ 1543 w 1664"/>
                <a:gd name="T11" fmla="*/ 230 h 1214"/>
                <a:gd name="T12" fmla="*/ 1502 w 1664"/>
                <a:gd name="T13" fmla="*/ 265 h 1214"/>
                <a:gd name="T14" fmla="*/ 1452 w 1664"/>
                <a:gd name="T15" fmla="*/ 322 h 1214"/>
                <a:gd name="T16" fmla="*/ 1395 w 1664"/>
                <a:gd name="T17" fmla="*/ 370 h 1214"/>
                <a:gd name="T18" fmla="*/ 1347 w 1664"/>
                <a:gd name="T19" fmla="*/ 426 h 1214"/>
                <a:gd name="T20" fmla="*/ 1275 w 1664"/>
                <a:gd name="T21" fmla="*/ 491 h 1214"/>
                <a:gd name="T22" fmla="*/ 1220 w 1664"/>
                <a:gd name="T23" fmla="*/ 547 h 1214"/>
                <a:gd name="T24" fmla="*/ 1119 w 1664"/>
                <a:gd name="T25" fmla="*/ 653 h 1214"/>
                <a:gd name="T26" fmla="*/ 1018 w 1664"/>
                <a:gd name="T27" fmla="*/ 755 h 1214"/>
                <a:gd name="T28" fmla="*/ 947 w 1664"/>
                <a:gd name="T29" fmla="*/ 823 h 1214"/>
                <a:gd name="T30" fmla="*/ 905 w 1664"/>
                <a:gd name="T31" fmla="*/ 791 h 1214"/>
                <a:gd name="T32" fmla="*/ 853 w 1664"/>
                <a:gd name="T33" fmla="*/ 736 h 1214"/>
                <a:gd name="T34" fmla="*/ 799 w 1664"/>
                <a:gd name="T35" fmla="*/ 685 h 1214"/>
                <a:gd name="T36" fmla="*/ 741 w 1664"/>
                <a:gd name="T37" fmla="*/ 617 h 1214"/>
                <a:gd name="T38" fmla="*/ 681 w 1664"/>
                <a:gd name="T39" fmla="*/ 594 h 1214"/>
                <a:gd name="T40" fmla="*/ 654 w 1664"/>
                <a:gd name="T41" fmla="*/ 619 h 1214"/>
                <a:gd name="T42" fmla="*/ 608 w 1664"/>
                <a:gd name="T43" fmla="*/ 673 h 1214"/>
                <a:gd name="T44" fmla="*/ 502 w 1664"/>
                <a:gd name="T45" fmla="*/ 779 h 1214"/>
                <a:gd name="T46" fmla="*/ 450 w 1664"/>
                <a:gd name="T47" fmla="*/ 827 h 1214"/>
                <a:gd name="T48" fmla="*/ 415 w 1664"/>
                <a:gd name="T49" fmla="*/ 863 h 1214"/>
                <a:gd name="T50" fmla="*/ 361 w 1664"/>
                <a:gd name="T51" fmla="*/ 915 h 1214"/>
                <a:gd name="T52" fmla="*/ 291 w 1664"/>
                <a:gd name="T53" fmla="*/ 988 h 1214"/>
                <a:gd name="T54" fmla="*/ 236 w 1664"/>
                <a:gd name="T55" fmla="*/ 1037 h 1214"/>
                <a:gd name="T56" fmla="*/ 185 w 1664"/>
                <a:gd name="T57" fmla="*/ 1097 h 1214"/>
                <a:gd name="T58" fmla="*/ 151 w 1664"/>
                <a:gd name="T59" fmla="*/ 1129 h 1214"/>
                <a:gd name="T60" fmla="*/ 112 w 1664"/>
                <a:gd name="T61" fmla="*/ 1165 h 1214"/>
                <a:gd name="T62" fmla="*/ 55 w 1664"/>
                <a:gd name="T63" fmla="*/ 1213 h 1214"/>
                <a:gd name="T64" fmla="*/ 7 w 1664"/>
                <a:gd name="T65" fmla="*/ 1153 h 1214"/>
                <a:gd name="T66" fmla="*/ 20 w 1664"/>
                <a:gd name="T67" fmla="*/ 1105 h 1214"/>
                <a:gd name="T68" fmla="*/ 51 w 1664"/>
                <a:gd name="T69" fmla="*/ 1072 h 1214"/>
                <a:gd name="T70" fmla="*/ 124 w 1664"/>
                <a:gd name="T71" fmla="*/ 1001 h 1214"/>
                <a:gd name="T72" fmla="*/ 198 w 1664"/>
                <a:gd name="T73" fmla="*/ 932 h 1214"/>
                <a:gd name="T74" fmla="*/ 265 w 1664"/>
                <a:gd name="T75" fmla="*/ 861 h 1214"/>
                <a:gd name="T76" fmla="*/ 303 w 1664"/>
                <a:gd name="T77" fmla="*/ 826 h 1214"/>
                <a:gd name="T78" fmla="*/ 372 w 1664"/>
                <a:gd name="T79" fmla="*/ 756 h 1214"/>
                <a:gd name="T80" fmla="*/ 405 w 1664"/>
                <a:gd name="T81" fmla="*/ 721 h 1214"/>
                <a:gd name="T82" fmla="*/ 440 w 1664"/>
                <a:gd name="T83" fmla="*/ 687 h 1214"/>
                <a:gd name="T84" fmla="*/ 518 w 1664"/>
                <a:gd name="T85" fmla="*/ 615 h 1214"/>
                <a:gd name="T86" fmla="*/ 591 w 1664"/>
                <a:gd name="T87" fmla="*/ 542 h 1214"/>
                <a:gd name="T88" fmla="*/ 641 w 1664"/>
                <a:gd name="T89" fmla="*/ 495 h 1214"/>
                <a:gd name="T90" fmla="*/ 680 w 1664"/>
                <a:gd name="T91" fmla="*/ 449 h 1214"/>
                <a:gd name="T92" fmla="*/ 736 w 1664"/>
                <a:gd name="T93" fmla="*/ 442 h 1214"/>
                <a:gd name="T94" fmla="*/ 790 w 1664"/>
                <a:gd name="T95" fmla="*/ 510 h 1214"/>
                <a:gd name="T96" fmla="*/ 842 w 1664"/>
                <a:gd name="T97" fmla="*/ 576 h 1214"/>
                <a:gd name="T98" fmla="*/ 887 w 1664"/>
                <a:gd name="T99" fmla="*/ 600 h 1214"/>
                <a:gd name="T100" fmla="*/ 954 w 1664"/>
                <a:gd name="T101" fmla="*/ 650 h 1214"/>
                <a:gd name="T102" fmla="*/ 1008 w 1664"/>
                <a:gd name="T103" fmla="*/ 613 h 1214"/>
                <a:gd name="T104" fmla="*/ 1065 w 1664"/>
                <a:gd name="T105" fmla="*/ 553 h 1214"/>
                <a:gd name="T106" fmla="*/ 1169 w 1664"/>
                <a:gd name="T107" fmla="*/ 454 h 1214"/>
                <a:gd name="T108" fmla="*/ 1214 w 1664"/>
                <a:gd name="T109" fmla="*/ 405 h 1214"/>
                <a:gd name="T110" fmla="*/ 1292 w 1664"/>
                <a:gd name="T111" fmla="*/ 331 h 1214"/>
                <a:gd name="T112" fmla="*/ 1322 w 1664"/>
                <a:gd name="T113" fmla="*/ 297 h 1214"/>
                <a:gd name="T114" fmla="*/ 1383 w 1664"/>
                <a:gd name="T115" fmla="*/ 227 h 1214"/>
                <a:gd name="T116" fmla="*/ 1464 w 1664"/>
                <a:gd name="T117" fmla="*/ 157 h 1214"/>
                <a:gd name="T118" fmla="*/ 1462 w 1664"/>
                <a:gd name="T119" fmla="*/ 124 h 1214"/>
                <a:gd name="T120" fmla="*/ 1381 w 1664"/>
                <a:gd name="T121" fmla="*/ 102 h 1214"/>
                <a:gd name="T122" fmla="*/ 1458 w 1664"/>
                <a:gd name="T123" fmla="*/ 18 h 1214"/>
                <a:gd name="T124" fmla="*/ 1522 w 1664"/>
                <a:gd name="T125" fmla="*/ 1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4" h="1214">
                  <a:moveTo>
                    <a:pt x="1522" y="18"/>
                  </a:moveTo>
                  <a:cubicBezTo>
                    <a:pt x="1562" y="18"/>
                    <a:pt x="1601" y="19"/>
                    <a:pt x="1640" y="18"/>
                  </a:cubicBezTo>
                  <a:cubicBezTo>
                    <a:pt x="1657" y="18"/>
                    <a:pt x="1664" y="25"/>
                    <a:pt x="1664" y="42"/>
                  </a:cubicBezTo>
                  <a:cubicBezTo>
                    <a:pt x="1664" y="121"/>
                    <a:pt x="1664" y="201"/>
                    <a:pt x="1664" y="280"/>
                  </a:cubicBezTo>
                  <a:cubicBezTo>
                    <a:pt x="1664" y="291"/>
                    <a:pt x="1662" y="301"/>
                    <a:pt x="1648" y="301"/>
                  </a:cubicBezTo>
                  <a:cubicBezTo>
                    <a:pt x="1638" y="302"/>
                    <a:pt x="1632" y="308"/>
                    <a:pt x="1630" y="318"/>
                  </a:cubicBezTo>
                  <a:cubicBezTo>
                    <a:pt x="1628" y="327"/>
                    <a:pt x="1621" y="330"/>
                    <a:pt x="1612" y="330"/>
                  </a:cubicBezTo>
                  <a:cubicBezTo>
                    <a:pt x="1603" y="330"/>
                    <a:pt x="1595" y="328"/>
                    <a:pt x="1593" y="317"/>
                  </a:cubicBezTo>
                  <a:cubicBezTo>
                    <a:pt x="1591" y="310"/>
                    <a:pt x="1589" y="303"/>
                    <a:pt x="1581" y="303"/>
                  </a:cubicBezTo>
                  <a:cubicBezTo>
                    <a:pt x="1558" y="302"/>
                    <a:pt x="1558" y="286"/>
                    <a:pt x="1559" y="269"/>
                  </a:cubicBezTo>
                  <a:cubicBezTo>
                    <a:pt x="1559" y="261"/>
                    <a:pt x="1559" y="253"/>
                    <a:pt x="1558" y="245"/>
                  </a:cubicBezTo>
                  <a:cubicBezTo>
                    <a:pt x="1558" y="236"/>
                    <a:pt x="1553" y="230"/>
                    <a:pt x="1543" y="230"/>
                  </a:cubicBezTo>
                  <a:cubicBezTo>
                    <a:pt x="1534" y="230"/>
                    <a:pt x="1526" y="232"/>
                    <a:pt x="1526" y="242"/>
                  </a:cubicBezTo>
                  <a:cubicBezTo>
                    <a:pt x="1525" y="259"/>
                    <a:pt x="1509" y="258"/>
                    <a:pt x="1502" y="265"/>
                  </a:cubicBezTo>
                  <a:cubicBezTo>
                    <a:pt x="1486" y="282"/>
                    <a:pt x="1465" y="295"/>
                    <a:pt x="1453" y="316"/>
                  </a:cubicBezTo>
                  <a:cubicBezTo>
                    <a:pt x="1452" y="317"/>
                    <a:pt x="1453" y="322"/>
                    <a:pt x="1452" y="322"/>
                  </a:cubicBezTo>
                  <a:cubicBezTo>
                    <a:pt x="1429" y="331"/>
                    <a:pt x="1422" y="360"/>
                    <a:pt x="1400" y="369"/>
                  </a:cubicBezTo>
                  <a:cubicBezTo>
                    <a:pt x="1398" y="370"/>
                    <a:pt x="1395" y="369"/>
                    <a:pt x="1395" y="370"/>
                  </a:cubicBezTo>
                  <a:cubicBezTo>
                    <a:pt x="1384" y="391"/>
                    <a:pt x="1358" y="400"/>
                    <a:pt x="1348" y="422"/>
                  </a:cubicBezTo>
                  <a:cubicBezTo>
                    <a:pt x="1347" y="423"/>
                    <a:pt x="1348" y="426"/>
                    <a:pt x="1347" y="426"/>
                  </a:cubicBezTo>
                  <a:cubicBezTo>
                    <a:pt x="1326" y="439"/>
                    <a:pt x="1317" y="464"/>
                    <a:pt x="1295" y="474"/>
                  </a:cubicBezTo>
                  <a:cubicBezTo>
                    <a:pt x="1285" y="478"/>
                    <a:pt x="1281" y="486"/>
                    <a:pt x="1275" y="491"/>
                  </a:cubicBezTo>
                  <a:cubicBezTo>
                    <a:pt x="1255" y="508"/>
                    <a:pt x="1245" y="533"/>
                    <a:pt x="1222" y="547"/>
                  </a:cubicBezTo>
                  <a:cubicBezTo>
                    <a:pt x="1222" y="547"/>
                    <a:pt x="1220" y="547"/>
                    <a:pt x="1220" y="547"/>
                  </a:cubicBezTo>
                  <a:cubicBezTo>
                    <a:pt x="1213" y="575"/>
                    <a:pt x="1184" y="581"/>
                    <a:pt x="1168" y="599"/>
                  </a:cubicBezTo>
                  <a:cubicBezTo>
                    <a:pt x="1152" y="617"/>
                    <a:pt x="1136" y="636"/>
                    <a:pt x="1119" y="653"/>
                  </a:cubicBezTo>
                  <a:cubicBezTo>
                    <a:pt x="1101" y="671"/>
                    <a:pt x="1080" y="684"/>
                    <a:pt x="1063" y="704"/>
                  </a:cubicBezTo>
                  <a:cubicBezTo>
                    <a:pt x="1049" y="722"/>
                    <a:pt x="1033" y="738"/>
                    <a:pt x="1018" y="755"/>
                  </a:cubicBezTo>
                  <a:cubicBezTo>
                    <a:pt x="1011" y="763"/>
                    <a:pt x="1002" y="770"/>
                    <a:pt x="994" y="779"/>
                  </a:cubicBezTo>
                  <a:cubicBezTo>
                    <a:pt x="981" y="795"/>
                    <a:pt x="958" y="801"/>
                    <a:pt x="947" y="823"/>
                  </a:cubicBezTo>
                  <a:cubicBezTo>
                    <a:pt x="943" y="829"/>
                    <a:pt x="927" y="824"/>
                    <a:pt x="926" y="810"/>
                  </a:cubicBezTo>
                  <a:cubicBezTo>
                    <a:pt x="925" y="797"/>
                    <a:pt x="918" y="791"/>
                    <a:pt x="905" y="791"/>
                  </a:cubicBezTo>
                  <a:cubicBezTo>
                    <a:pt x="903" y="791"/>
                    <a:pt x="899" y="791"/>
                    <a:pt x="899" y="790"/>
                  </a:cubicBezTo>
                  <a:cubicBezTo>
                    <a:pt x="892" y="765"/>
                    <a:pt x="862" y="759"/>
                    <a:pt x="853" y="736"/>
                  </a:cubicBezTo>
                  <a:cubicBezTo>
                    <a:pt x="853" y="735"/>
                    <a:pt x="853" y="734"/>
                    <a:pt x="853" y="734"/>
                  </a:cubicBezTo>
                  <a:cubicBezTo>
                    <a:pt x="830" y="723"/>
                    <a:pt x="820" y="698"/>
                    <a:pt x="799" y="685"/>
                  </a:cubicBezTo>
                  <a:cubicBezTo>
                    <a:pt x="780" y="672"/>
                    <a:pt x="764" y="652"/>
                    <a:pt x="748" y="634"/>
                  </a:cubicBezTo>
                  <a:cubicBezTo>
                    <a:pt x="744" y="630"/>
                    <a:pt x="748" y="619"/>
                    <a:pt x="741" y="617"/>
                  </a:cubicBezTo>
                  <a:cubicBezTo>
                    <a:pt x="721" y="614"/>
                    <a:pt x="704" y="610"/>
                    <a:pt x="698" y="585"/>
                  </a:cubicBezTo>
                  <a:cubicBezTo>
                    <a:pt x="696" y="577"/>
                    <a:pt x="682" y="583"/>
                    <a:pt x="681" y="594"/>
                  </a:cubicBezTo>
                  <a:cubicBezTo>
                    <a:pt x="680" y="611"/>
                    <a:pt x="673" y="619"/>
                    <a:pt x="656" y="619"/>
                  </a:cubicBezTo>
                  <a:cubicBezTo>
                    <a:pt x="655" y="619"/>
                    <a:pt x="654" y="619"/>
                    <a:pt x="654" y="619"/>
                  </a:cubicBezTo>
                  <a:cubicBezTo>
                    <a:pt x="646" y="643"/>
                    <a:pt x="621" y="650"/>
                    <a:pt x="609" y="668"/>
                  </a:cubicBezTo>
                  <a:cubicBezTo>
                    <a:pt x="608" y="670"/>
                    <a:pt x="609" y="673"/>
                    <a:pt x="608" y="673"/>
                  </a:cubicBezTo>
                  <a:cubicBezTo>
                    <a:pt x="584" y="683"/>
                    <a:pt x="573" y="707"/>
                    <a:pt x="557" y="725"/>
                  </a:cubicBezTo>
                  <a:cubicBezTo>
                    <a:pt x="540" y="744"/>
                    <a:pt x="513" y="754"/>
                    <a:pt x="502" y="779"/>
                  </a:cubicBezTo>
                  <a:cubicBezTo>
                    <a:pt x="502" y="780"/>
                    <a:pt x="502" y="781"/>
                    <a:pt x="502" y="781"/>
                  </a:cubicBezTo>
                  <a:cubicBezTo>
                    <a:pt x="474" y="785"/>
                    <a:pt x="474" y="820"/>
                    <a:pt x="450" y="827"/>
                  </a:cubicBezTo>
                  <a:cubicBezTo>
                    <a:pt x="440" y="831"/>
                    <a:pt x="432" y="835"/>
                    <a:pt x="431" y="846"/>
                  </a:cubicBezTo>
                  <a:cubicBezTo>
                    <a:pt x="431" y="857"/>
                    <a:pt x="425" y="862"/>
                    <a:pt x="415" y="863"/>
                  </a:cubicBezTo>
                  <a:cubicBezTo>
                    <a:pt x="412" y="864"/>
                    <a:pt x="408" y="864"/>
                    <a:pt x="408" y="865"/>
                  </a:cubicBezTo>
                  <a:cubicBezTo>
                    <a:pt x="404" y="891"/>
                    <a:pt x="375" y="896"/>
                    <a:pt x="361" y="915"/>
                  </a:cubicBezTo>
                  <a:cubicBezTo>
                    <a:pt x="348" y="934"/>
                    <a:pt x="327" y="950"/>
                    <a:pt x="310" y="968"/>
                  </a:cubicBezTo>
                  <a:cubicBezTo>
                    <a:pt x="304" y="974"/>
                    <a:pt x="291" y="975"/>
                    <a:pt x="291" y="988"/>
                  </a:cubicBezTo>
                  <a:cubicBezTo>
                    <a:pt x="291" y="989"/>
                    <a:pt x="291" y="990"/>
                    <a:pt x="291" y="990"/>
                  </a:cubicBezTo>
                  <a:cubicBezTo>
                    <a:pt x="267" y="999"/>
                    <a:pt x="262" y="1031"/>
                    <a:pt x="236" y="1037"/>
                  </a:cubicBezTo>
                  <a:cubicBezTo>
                    <a:pt x="233" y="1038"/>
                    <a:pt x="227" y="1039"/>
                    <a:pt x="227" y="1039"/>
                  </a:cubicBezTo>
                  <a:cubicBezTo>
                    <a:pt x="229" y="1070"/>
                    <a:pt x="189" y="1070"/>
                    <a:pt x="185" y="1097"/>
                  </a:cubicBezTo>
                  <a:cubicBezTo>
                    <a:pt x="184" y="1103"/>
                    <a:pt x="180" y="1107"/>
                    <a:pt x="174" y="1107"/>
                  </a:cubicBezTo>
                  <a:cubicBezTo>
                    <a:pt x="160" y="1108"/>
                    <a:pt x="152" y="1114"/>
                    <a:pt x="151" y="1129"/>
                  </a:cubicBezTo>
                  <a:cubicBezTo>
                    <a:pt x="151" y="1138"/>
                    <a:pt x="144" y="1142"/>
                    <a:pt x="136" y="1142"/>
                  </a:cubicBezTo>
                  <a:cubicBezTo>
                    <a:pt x="120" y="1141"/>
                    <a:pt x="119" y="1153"/>
                    <a:pt x="112" y="1165"/>
                  </a:cubicBezTo>
                  <a:cubicBezTo>
                    <a:pt x="102" y="1184"/>
                    <a:pt x="79" y="1193"/>
                    <a:pt x="67" y="1213"/>
                  </a:cubicBezTo>
                  <a:cubicBezTo>
                    <a:pt x="65" y="1214"/>
                    <a:pt x="59" y="1214"/>
                    <a:pt x="55" y="1213"/>
                  </a:cubicBezTo>
                  <a:cubicBezTo>
                    <a:pt x="51" y="1212"/>
                    <a:pt x="45" y="1209"/>
                    <a:pt x="45" y="1208"/>
                  </a:cubicBezTo>
                  <a:cubicBezTo>
                    <a:pt x="51" y="1177"/>
                    <a:pt x="0" y="1186"/>
                    <a:pt x="7" y="1153"/>
                  </a:cubicBezTo>
                  <a:cubicBezTo>
                    <a:pt x="9" y="1143"/>
                    <a:pt x="8" y="1133"/>
                    <a:pt x="8" y="1122"/>
                  </a:cubicBezTo>
                  <a:cubicBezTo>
                    <a:pt x="8" y="1113"/>
                    <a:pt x="10" y="1105"/>
                    <a:pt x="20" y="1105"/>
                  </a:cubicBezTo>
                  <a:cubicBezTo>
                    <a:pt x="35" y="1104"/>
                    <a:pt x="42" y="1097"/>
                    <a:pt x="42" y="1082"/>
                  </a:cubicBezTo>
                  <a:cubicBezTo>
                    <a:pt x="43" y="1077"/>
                    <a:pt x="46" y="1072"/>
                    <a:pt x="51" y="1072"/>
                  </a:cubicBezTo>
                  <a:cubicBezTo>
                    <a:pt x="69" y="1071"/>
                    <a:pt x="70" y="1052"/>
                    <a:pt x="79" y="1047"/>
                  </a:cubicBezTo>
                  <a:cubicBezTo>
                    <a:pt x="98" y="1034"/>
                    <a:pt x="111" y="1020"/>
                    <a:pt x="124" y="1001"/>
                  </a:cubicBezTo>
                  <a:cubicBezTo>
                    <a:pt x="130" y="993"/>
                    <a:pt x="142" y="981"/>
                    <a:pt x="150" y="975"/>
                  </a:cubicBezTo>
                  <a:cubicBezTo>
                    <a:pt x="169" y="962"/>
                    <a:pt x="183" y="948"/>
                    <a:pt x="198" y="932"/>
                  </a:cubicBezTo>
                  <a:cubicBezTo>
                    <a:pt x="205" y="925"/>
                    <a:pt x="213" y="920"/>
                    <a:pt x="221" y="911"/>
                  </a:cubicBezTo>
                  <a:cubicBezTo>
                    <a:pt x="235" y="894"/>
                    <a:pt x="251" y="878"/>
                    <a:pt x="265" y="861"/>
                  </a:cubicBezTo>
                  <a:cubicBezTo>
                    <a:pt x="272" y="853"/>
                    <a:pt x="292" y="853"/>
                    <a:pt x="293" y="834"/>
                  </a:cubicBezTo>
                  <a:cubicBezTo>
                    <a:pt x="293" y="829"/>
                    <a:pt x="298" y="826"/>
                    <a:pt x="303" y="826"/>
                  </a:cubicBezTo>
                  <a:cubicBezTo>
                    <a:pt x="318" y="825"/>
                    <a:pt x="319" y="812"/>
                    <a:pt x="327" y="805"/>
                  </a:cubicBezTo>
                  <a:cubicBezTo>
                    <a:pt x="342" y="789"/>
                    <a:pt x="356" y="771"/>
                    <a:pt x="372" y="756"/>
                  </a:cubicBezTo>
                  <a:cubicBezTo>
                    <a:pt x="381" y="748"/>
                    <a:pt x="398" y="748"/>
                    <a:pt x="398" y="729"/>
                  </a:cubicBezTo>
                  <a:cubicBezTo>
                    <a:pt x="398" y="726"/>
                    <a:pt x="403" y="721"/>
                    <a:pt x="405" y="721"/>
                  </a:cubicBezTo>
                  <a:cubicBezTo>
                    <a:pt x="423" y="720"/>
                    <a:pt x="431" y="712"/>
                    <a:pt x="432" y="694"/>
                  </a:cubicBezTo>
                  <a:cubicBezTo>
                    <a:pt x="432" y="692"/>
                    <a:pt x="437" y="687"/>
                    <a:pt x="440" y="687"/>
                  </a:cubicBezTo>
                  <a:cubicBezTo>
                    <a:pt x="459" y="687"/>
                    <a:pt x="459" y="669"/>
                    <a:pt x="467" y="661"/>
                  </a:cubicBezTo>
                  <a:cubicBezTo>
                    <a:pt x="484" y="645"/>
                    <a:pt x="500" y="629"/>
                    <a:pt x="518" y="615"/>
                  </a:cubicBezTo>
                  <a:cubicBezTo>
                    <a:pt x="526" y="609"/>
                    <a:pt x="531" y="600"/>
                    <a:pt x="537" y="596"/>
                  </a:cubicBezTo>
                  <a:cubicBezTo>
                    <a:pt x="558" y="580"/>
                    <a:pt x="567" y="553"/>
                    <a:pt x="591" y="542"/>
                  </a:cubicBezTo>
                  <a:cubicBezTo>
                    <a:pt x="593" y="541"/>
                    <a:pt x="595" y="542"/>
                    <a:pt x="596" y="541"/>
                  </a:cubicBezTo>
                  <a:cubicBezTo>
                    <a:pt x="606" y="521"/>
                    <a:pt x="624" y="508"/>
                    <a:pt x="641" y="495"/>
                  </a:cubicBezTo>
                  <a:cubicBezTo>
                    <a:pt x="642" y="494"/>
                    <a:pt x="641" y="492"/>
                    <a:pt x="642" y="490"/>
                  </a:cubicBezTo>
                  <a:cubicBezTo>
                    <a:pt x="643" y="467"/>
                    <a:pt x="675" y="477"/>
                    <a:pt x="680" y="449"/>
                  </a:cubicBezTo>
                  <a:cubicBezTo>
                    <a:pt x="683" y="422"/>
                    <a:pt x="715" y="445"/>
                    <a:pt x="734" y="442"/>
                  </a:cubicBezTo>
                  <a:cubicBezTo>
                    <a:pt x="735" y="442"/>
                    <a:pt x="736" y="442"/>
                    <a:pt x="736" y="442"/>
                  </a:cubicBezTo>
                  <a:cubicBezTo>
                    <a:pt x="741" y="468"/>
                    <a:pt x="774" y="470"/>
                    <a:pt x="781" y="494"/>
                  </a:cubicBezTo>
                  <a:cubicBezTo>
                    <a:pt x="782" y="501"/>
                    <a:pt x="783" y="509"/>
                    <a:pt x="790" y="510"/>
                  </a:cubicBezTo>
                  <a:cubicBezTo>
                    <a:pt x="817" y="512"/>
                    <a:pt x="817" y="534"/>
                    <a:pt x="819" y="552"/>
                  </a:cubicBezTo>
                  <a:cubicBezTo>
                    <a:pt x="821" y="567"/>
                    <a:pt x="826" y="576"/>
                    <a:pt x="842" y="576"/>
                  </a:cubicBezTo>
                  <a:cubicBezTo>
                    <a:pt x="850" y="576"/>
                    <a:pt x="858" y="580"/>
                    <a:pt x="866" y="580"/>
                  </a:cubicBezTo>
                  <a:cubicBezTo>
                    <a:pt x="879" y="581"/>
                    <a:pt x="887" y="586"/>
                    <a:pt x="887" y="600"/>
                  </a:cubicBezTo>
                  <a:cubicBezTo>
                    <a:pt x="887" y="601"/>
                    <a:pt x="887" y="602"/>
                    <a:pt x="887" y="603"/>
                  </a:cubicBezTo>
                  <a:cubicBezTo>
                    <a:pt x="895" y="646"/>
                    <a:pt x="910" y="657"/>
                    <a:pt x="954" y="650"/>
                  </a:cubicBezTo>
                  <a:cubicBezTo>
                    <a:pt x="972" y="647"/>
                    <a:pt x="994" y="649"/>
                    <a:pt x="995" y="621"/>
                  </a:cubicBezTo>
                  <a:cubicBezTo>
                    <a:pt x="995" y="615"/>
                    <a:pt x="1005" y="616"/>
                    <a:pt x="1008" y="613"/>
                  </a:cubicBezTo>
                  <a:cubicBezTo>
                    <a:pt x="1027" y="595"/>
                    <a:pt x="1045" y="576"/>
                    <a:pt x="1064" y="558"/>
                  </a:cubicBezTo>
                  <a:cubicBezTo>
                    <a:pt x="1065" y="557"/>
                    <a:pt x="1064" y="553"/>
                    <a:pt x="1065" y="553"/>
                  </a:cubicBezTo>
                  <a:cubicBezTo>
                    <a:pt x="1089" y="546"/>
                    <a:pt x="1097" y="521"/>
                    <a:pt x="1115" y="506"/>
                  </a:cubicBezTo>
                  <a:cubicBezTo>
                    <a:pt x="1135" y="491"/>
                    <a:pt x="1149" y="470"/>
                    <a:pt x="1169" y="454"/>
                  </a:cubicBezTo>
                  <a:cubicBezTo>
                    <a:pt x="1171" y="453"/>
                    <a:pt x="1169" y="446"/>
                    <a:pt x="1171" y="445"/>
                  </a:cubicBezTo>
                  <a:cubicBezTo>
                    <a:pt x="1191" y="437"/>
                    <a:pt x="1201" y="421"/>
                    <a:pt x="1214" y="405"/>
                  </a:cubicBezTo>
                  <a:cubicBezTo>
                    <a:pt x="1220" y="397"/>
                    <a:pt x="1229" y="384"/>
                    <a:pt x="1234" y="381"/>
                  </a:cubicBezTo>
                  <a:cubicBezTo>
                    <a:pt x="1260" y="370"/>
                    <a:pt x="1273" y="348"/>
                    <a:pt x="1292" y="331"/>
                  </a:cubicBezTo>
                  <a:cubicBezTo>
                    <a:pt x="1299" y="325"/>
                    <a:pt x="1308" y="323"/>
                    <a:pt x="1309" y="312"/>
                  </a:cubicBezTo>
                  <a:cubicBezTo>
                    <a:pt x="1310" y="304"/>
                    <a:pt x="1314" y="297"/>
                    <a:pt x="1322" y="297"/>
                  </a:cubicBezTo>
                  <a:cubicBezTo>
                    <a:pt x="1345" y="298"/>
                    <a:pt x="1349" y="284"/>
                    <a:pt x="1347" y="266"/>
                  </a:cubicBezTo>
                  <a:cubicBezTo>
                    <a:pt x="1344" y="239"/>
                    <a:pt x="1356" y="226"/>
                    <a:pt x="1383" y="227"/>
                  </a:cubicBezTo>
                  <a:cubicBezTo>
                    <a:pt x="1405" y="227"/>
                    <a:pt x="1416" y="217"/>
                    <a:pt x="1417" y="194"/>
                  </a:cubicBezTo>
                  <a:cubicBezTo>
                    <a:pt x="1418" y="165"/>
                    <a:pt x="1441" y="160"/>
                    <a:pt x="1464" y="157"/>
                  </a:cubicBezTo>
                  <a:cubicBezTo>
                    <a:pt x="1475" y="156"/>
                    <a:pt x="1485" y="156"/>
                    <a:pt x="1486" y="141"/>
                  </a:cubicBezTo>
                  <a:cubicBezTo>
                    <a:pt x="1486" y="125"/>
                    <a:pt x="1474" y="125"/>
                    <a:pt x="1462" y="124"/>
                  </a:cubicBezTo>
                  <a:cubicBezTo>
                    <a:pt x="1442" y="124"/>
                    <a:pt x="1422" y="124"/>
                    <a:pt x="1402" y="124"/>
                  </a:cubicBezTo>
                  <a:cubicBezTo>
                    <a:pt x="1387" y="124"/>
                    <a:pt x="1380" y="117"/>
                    <a:pt x="1381" y="102"/>
                  </a:cubicBezTo>
                  <a:cubicBezTo>
                    <a:pt x="1381" y="102"/>
                    <a:pt x="1381" y="101"/>
                    <a:pt x="1381" y="100"/>
                  </a:cubicBezTo>
                  <a:cubicBezTo>
                    <a:pt x="1382" y="0"/>
                    <a:pt x="1368" y="21"/>
                    <a:pt x="1458" y="18"/>
                  </a:cubicBezTo>
                  <a:cubicBezTo>
                    <a:pt x="1479" y="17"/>
                    <a:pt x="1501" y="18"/>
                    <a:pt x="1522" y="18"/>
                  </a:cubicBezTo>
                  <a:cubicBezTo>
                    <a:pt x="1522" y="18"/>
                    <a:pt x="1522" y="18"/>
                    <a:pt x="152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grpSp>
      <p:sp>
        <p:nvSpPr>
          <p:cNvPr id="741" name="Retângulo: Cantos Diagonais Arredondados 342">
            <a:extLst>
              <a:ext uri="{FF2B5EF4-FFF2-40B4-BE49-F238E27FC236}">
                <a16:creationId xmlns:a16="http://schemas.microsoft.com/office/drawing/2014/main" id="{E9C19F70-5E9D-32CC-B7CB-921076659FBE}"/>
              </a:ext>
            </a:extLst>
          </p:cNvPr>
          <p:cNvSpPr/>
          <p:nvPr/>
        </p:nvSpPr>
        <p:spPr>
          <a:xfrm rot="16200000">
            <a:off x="765121" y="755987"/>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sp>
        <p:nvSpPr>
          <p:cNvPr id="743" name="Retângulo: Cantos Diagonais Arredondados 345">
            <a:extLst>
              <a:ext uri="{FF2B5EF4-FFF2-40B4-BE49-F238E27FC236}">
                <a16:creationId xmlns:a16="http://schemas.microsoft.com/office/drawing/2014/main" id="{C8488989-35C2-BE93-6C9D-0DC2ABDB888D}"/>
              </a:ext>
            </a:extLst>
          </p:cNvPr>
          <p:cNvSpPr/>
          <p:nvPr/>
        </p:nvSpPr>
        <p:spPr>
          <a:xfrm rot="16200000">
            <a:off x="3712238" y="3216546"/>
            <a:ext cx="2313990" cy="2617064"/>
          </a:xfrm>
          <a:prstGeom prst="round2DiagRect">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mn-cs"/>
              <a:sym typeface="Arial"/>
            </a:endParaRPr>
          </a:p>
        </p:txBody>
      </p:sp>
      <p:sp>
        <p:nvSpPr>
          <p:cNvPr id="745" name="TextBox 1">
            <a:extLst>
              <a:ext uri="{FF2B5EF4-FFF2-40B4-BE49-F238E27FC236}">
                <a16:creationId xmlns:a16="http://schemas.microsoft.com/office/drawing/2014/main" id="{20608401-E04A-9F85-6EC8-CEA5385103A7}"/>
              </a:ext>
            </a:extLst>
          </p:cNvPr>
          <p:cNvSpPr txBox="1"/>
          <p:nvPr/>
        </p:nvSpPr>
        <p:spPr>
          <a:xfrm>
            <a:off x="6710564" y="4732322"/>
            <a:ext cx="2291285" cy="837152"/>
          </a:xfrm>
          <a:prstGeom prst="rect">
            <a:avLst/>
          </a:prstGeom>
          <a:noFill/>
        </p:spPr>
        <p:txBody>
          <a:bodyPr wrap="square" lIns="0" tIns="0" rIns="0" bIns="0" rtlCol="0" anchor="t">
            <a:spAutoFit/>
          </a:bodyPr>
          <a:lstStyle>
            <a:defPPr>
              <a:defRPr lang="es-ES"/>
            </a:defPPr>
            <a:lvl1pPr>
              <a:defRPr sz="2800" b="1">
                <a:solidFill>
                  <a:srgbClr val="01426A"/>
                </a:solidFill>
                <a:latin typeface="Calibri" panose="020F0502020204030204" pitchFamily="34" charset="0"/>
              </a:defRPr>
            </a:lvl1pPr>
          </a:lstStyle>
          <a:p>
            <a:pPr algn="ctr">
              <a:lnSpc>
                <a:spcPct val="80000"/>
              </a:lnSpc>
              <a:defRPr/>
            </a:pPr>
            <a:r>
              <a:rPr lang="pt">
                <a:solidFill>
                  <a:srgbClr val="7F7F7F"/>
                </a:solidFill>
                <a:latin typeface="+mn-lt"/>
                <a:cs typeface="Calibri"/>
              </a:rPr>
              <a:t>Top player</a:t>
            </a:r>
            <a:endParaRPr lang="pt" kern="0">
              <a:solidFill>
                <a:srgbClr val="7F7F7F"/>
              </a:solidFill>
              <a:latin typeface="+mn-lt"/>
              <a:cs typeface="Calibri" panose="020F0502020204030204" pitchFamily="34" charset="0"/>
            </a:endParaRPr>
          </a:p>
          <a:p>
            <a:pPr algn="ctr">
              <a:defRPr/>
            </a:pPr>
            <a:r>
              <a:rPr lang="pt" sz="1600" b="0">
                <a:solidFill>
                  <a:srgbClr val="000000">
                    <a:lumMod val="50000"/>
                    <a:lumOff val="50000"/>
                  </a:srgbClr>
                </a:solidFill>
                <a:latin typeface="+mn-lt"/>
                <a:cs typeface="Calibri" panose="020F0502020204030204" pitchFamily="34" charset="0"/>
              </a:rPr>
              <a:t>em CX no mundo e líder LATAM e Espanha</a:t>
            </a:r>
          </a:p>
        </p:txBody>
      </p:sp>
      <p:pic>
        <p:nvPicPr>
          <p:cNvPr id="746" name="Imagen 745" descr="Imagen que contiene tapa, estructuras metálicas, equipo, tabla&#10;&#10;Descripción generada automáticamente">
            <a:extLst>
              <a:ext uri="{FF2B5EF4-FFF2-40B4-BE49-F238E27FC236}">
                <a16:creationId xmlns:a16="http://schemas.microsoft.com/office/drawing/2014/main" id="{A83973C7-6B10-4550-6F13-AFB96F06F71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91932" y="3506946"/>
            <a:ext cx="1105055" cy="1105055"/>
          </a:xfrm>
          <a:prstGeom prst="rect">
            <a:avLst/>
          </a:prstGeom>
        </p:spPr>
      </p:pic>
      <p:grpSp>
        <p:nvGrpSpPr>
          <p:cNvPr id="747" name="Gráfico 1">
            <a:extLst>
              <a:ext uri="{FF2B5EF4-FFF2-40B4-BE49-F238E27FC236}">
                <a16:creationId xmlns:a16="http://schemas.microsoft.com/office/drawing/2014/main" id="{28F9D970-9C27-F9FD-B369-FACA57603730}"/>
              </a:ext>
            </a:extLst>
          </p:cNvPr>
          <p:cNvGrpSpPr/>
          <p:nvPr/>
        </p:nvGrpSpPr>
        <p:grpSpPr>
          <a:xfrm>
            <a:off x="4554406" y="3539789"/>
            <a:ext cx="695117" cy="600474"/>
            <a:chOff x="6823154" y="1003260"/>
            <a:chExt cx="249878" cy="218916"/>
          </a:xfrm>
          <a:solidFill>
            <a:srgbClr val="00A3E0"/>
          </a:solidFill>
        </p:grpSpPr>
        <p:sp>
          <p:nvSpPr>
            <p:cNvPr id="748" name="Forma libre: forma 747">
              <a:extLst>
                <a:ext uri="{FF2B5EF4-FFF2-40B4-BE49-F238E27FC236}">
                  <a16:creationId xmlns:a16="http://schemas.microsoft.com/office/drawing/2014/main" id="{BCD06091-8B54-E2F5-AC0A-EFD51171CFED}"/>
                </a:ext>
              </a:extLst>
            </p:cNvPr>
            <p:cNvSpPr/>
            <p:nvPr/>
          </p:nvSpPr>
          <p:spPr>
            <a:xfrm>
              <a:off x="6942238" y="1027694"/>
              <a:ext cx="130794" cy="184004"/>
            </a:xfrm>
            <a:custGeom>
              <a:avLst/>
              <a:gdLst>
                <a:gd name="connsiteX0" fmla="*/ 126502 w 130794"/>
                <a:gd name="connsiteY0" fmla="*/ 50853 h 184004"/>
                <a:gd name="connsiteX1" fmla="*/ 108325 w 130794"/>
                <a:gd name="connsiteY1" fmla="*/ 3863 h 184004"/>
                <a:gd name="connsiteX2" fmla="*/ 98761 w 130794"/>
                <a:gd name="connsiteY2" fmla="*/ 529 h 184004"/>
                <a:gd name="connsiteX3" fmla="*/ 93839 w 130794"/>
                <a:gd name="connsiteY3" fmla="*/ 9379 h 184004"/>
                <a:gd name="connsiteX4" fmla="*/ 72964 w 130794"/>
                <a:gd name="connsiteY4" fmla="*/ 31723 h 184004"/>
                <a:gd name="connsiteX5" fmla="*/ 23990 w 130794"/>
                <a:gd name="connsiteY5" fmla="*/ 65497 h 184004"/>
                <a:gd name="connsiteX6" fmla="*/ 11647 w 130794"/>
                <a:gd name="connsiteY6" fmla="*/ 162573 h 184004"/>
                <a:gd name="connsiteX7" fmla="*/ 22442 w 130794"/>
                <a:gd name="connsiteY7" fmla="*/ 165073 h 184004"/>
                <a:gd name="connsiteX8" fmla="*/ 24982 w 130794"/>
                <a:gd name="connsiteY8" fmla="*/ 154278 h 184004"/>
                <a:gd name="connsiteX9" fmla="*/ 34784 w 130794"/>
                <a:gd name="connsiteY9" fmla="*/ 76888 h 184004"/>
                <a:gd name="connsiteX10" fmla="*/ 80385 w 130794"/>
                <a:gd name="connsiteY10" fmla="*/ 45574 h 184004"/>
                <a:gd name="connsiteX11" fmla="*/ 103404 w 130794"/>
                <a:gd name="connsiteY11" fmla="*/ 30136 h 184004"/>
                <a:gd name="connsiteX12" fmla="*/ 100547 w 130794"/>
                <a:gd name="connsiteY12" fmla="*/ 136379 h 184004"/>
                <a:gd name="connsiteX13" fmla="*/ 63598 w 130794"/>
                <a:gd name="connsiteY13" fmla="*/ 168923 h 184004"/>
                <a:gd name="connsiteX14" fmla="*/ 59430 w 130794"/>
                <a:gd name="connsiteY14" fmla="*/ 179202 h 184004"/>
                <a:gd name="connsiteX15" fmla="*/ 66654 w 130794"/>
                <a:gd name="connsiteY15" fmla="*/ 184004 h 184004"/>
                <a:gd name="connsiteX16" fmla="*/ 69710 w 130794"/>
                <a:gd name="connsiteY16" fmla="*/ 183369 h 184004"/>
                <a:gd name="connsiteX17" fmla="*/ 113564 w 130794"/>
                <a:gd name="connsiteY17" fmla="*/ 145150 h 184004"/>
                <a:gd name="connsiteX18" fmla="*/ 126502 w 130794"/>
                <a:gd name="connsiteY18" fmla="*/ 50853 h 18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794" h="184004">
                  <a:moveTo>
                    <a:pt x="126502" y="50853"/>
                  </a:moveTo>
                  <a:cubicBezTo>
                    <a:pt x="120073" y="23984"/>
                    <a:pt x="108802" y="4696"/>
                    <a:pt x="108325" y="3863"/>
                  </a:cubicBezTo>
                  <a:cubicBezTo>
                    <a:pt x="106381" y="568"/>
                    <a:pt x="102372" y="-860"/>
                    <a:pt x="98761" y="529"/>
                  </a:cubicBezTo>
                  <a:cubicBezTo>
                    <a:pt x="95189" y="1878"/>
                    <a:pt x="93125" y="5648"/>
                    <a:pt x="93839" y="9379"/>
                  </a:cubicBezTo>
                  <a:cubicBezTo>
                    <a:pt x="95665" y="18626"/>
                    <a:pt x="91815" y="21643"/>
                    <a:pt x="72964" y="31723"/>
                  </a:cubicBezTo>
                  <a:cubicBezTo>
                    <a:pt x="60026" y="38629"/>
                    <a:pt x="42325" y="48074"/>
                    <a:pt x="23990" y="65497"/>
                  </a:cubicBezTo>
                  <a:cubicBezTo>
                    <a:pt x="-21254" y="108399"/>
                    <a:pt x="11329" y="162057"/>
                    <a:pt x="11647" y="162573"/>
                  </a:cubicBezTo>
                  <a:cubicBezTo>
                    <a:pt x="13909" y="166224"/>
                    <a:pt x="18750" y="167375"/>
                    <a:pt x="22442" y="165073"/>
                  </a:cubicBezTo>
                  <a:cubicBezTo>
                    <a:pt x="26133" y="162811"/>
                    <a:pt x="27244" y="157969"/>
                    <a:pt x="24982" y="154278"/>
                  </a:cubicBezTo>
                  <a:cubicBezTo>
                    <a:pt x="23910" y="152532"/>
                    <a:pt x="-1054" y="110860"/>
                    <a:pt x="34784" y="76888"/>
                  </a:cubicBezTo>
                  <a:cubicBezTo>
                    <a:pt x="51572" y="60973"/>
                    <a:pt x="67566" y="52440"/>
                    <a:pt x="80385" y="45574"/>
                  </a:cubicBezTo>
                  <a:cubicBezTo>
                    <a:pt x="89434" y="40732"/>
                    <a:pt x="97848" y="36248"/>
                    <a:pt x="103404" y="30136"/>
                  </a:cubicBezTo>
                  <a:cubicBezTo>
                    <a:pt x="113247" y="54821"/>
                    <a:pt x="125073" y="99906"/>
                    <a:pt x="100547" y="136379"/>
                  </a:cubicBezTo>
                  <a:cubicBezTo>
                    <a:pt x="90030" y="152016"/>
                    <a:pt x="77607" y="162970"/>
                    <a:pt x="63598" y="168923"/>
                  </a:cubicBezTo>
                  <a:cubicBezTo>
                    <a:pt x="59589" y="170629"/>
                    <a:pt x="57764" y="175233"/>
                    <a:pt x="59430" y="179202"/>
                  </a:cubicBezTo>
                  <a:cubicBezTo>
                    <a:pt x="60700" y="182179"/>
                    <a:pt x="63598" y="184004"/>
                    <a:pt x="66654" y="184004"/>
                  </a:cubicBezTo>
                  <a:cubicBezTo>
                    <a:pt x="67685" y="184004"/>
                    <a:pt x="68717" y="183806"/>
                    <a:pt x="69710" y="183369"/>
                  </a:cubicBezTo>
                  <a:cubicBezTo>
                    <a:pt x="86577" y="176225"/>
                    <a:pt x="101340" y="163367"/>
                    <a:pt x="113564" y="145150"/>
                  </a:cubicBezTo>
                  <a:cubicBezTo>
                    <a:pt x="130670" y="119671"/>
                    <a:pt x="135154" y="87048"/>
                    <a:pt x="126502" y="50853"/>
                  </a:cubicBezTo>
                  <a:close/>
                </a:path>
              </a:pathLst>
            </a:custGeom>
            <a:grpFill/>
            <a:ln w="3969" cap="flat">
              <a:noFill/>
              <a:prstDash val="solid"/>
              <a:miter/>
            </a:ln>
          </p:spPr>
          <p:txBody>
            <a:bodyPr rtlCol="0" anchor="ctr"/>
            <a:lstStyle/>
            <a:p>
              <a:endParaRPr lang="es-ES">
                <a:latin typeface="+mn-lt"/>
              </a:endParaRPr>
            </a:p>
          </p:txBody>
        </p:sp>
        <p:sp>
          <p:nvSpPr>
            <p:cNvPr id="749" name="Forma libre: forma 748">
              <a:extLst>
                <a:ext uri="{FF2B5EF4-FFF2-40B4-BE49-F238E27FC236}">
                  <a16:creationId xmlns:a16="http://schemas.microsoft.com/office/drawing/2014/main" id="{A85E3731-1127-AC33-961B-B43CEA1396F9}"/>
                </a:ext>
              </a:extLst>
            </p:cNvPr>
            <p:cNvSpPr/>
            <p:nvPr/>
          </p:nvSpPr>
          <p:spPr>
            <a:xfrm>
              <a:off x="6823154" y="1003260"/>
              <a:ext cx="218240" cy="218916"/>
            </a:xfrm>
            <a:custGeom>
              <a:avLst/>
              <a:gdLst>
                <a:gd name="connsiteX0" fmla="*/ 217726 w 218240"/>
                <a:gd name="connsiteY0" fmla="*/ 122793 h 218916"/>
                <a:gd name="connsiteX1" fmla="*/ 213162 w 218240"/>
                <a:gd name="connsiteY1" fmla="*/ 112673 h 218916"/>
                <a:gd name="connsiteX2" fmla="*/ 203041 w 218240"/>
                <a:gd name="connsiteY2" fmla="*/ 117237 h 218916"/>
                <a:gd name="connsiteX3" fmla="*/ 94615 w 218240"/>
                <a:gd name="connsiteY3" fmla="*/ 202962 h 218916"/>
                <a:gd name="connsiteX4" fmla="*/ 50840 w 218240"/>
                <a:gd name="connsiteY4" fmla="*/ 184229 h 218916"/>
                <a:gd name="connsiteX5" fmla="*/ 51197 w 218240"/>
                <a:gd name="connsiteY5" fmla="*/ 184309 h 218916"/>
                <a:gd name="connsiteX6" fmla="*/ 43974 w 218240"/>
                <a:gd name="connsiteY6" fmla="*/ 177840 h 218916"/>
                <a:gd name="connsiteX7" fmla="*/ 35441 w 218240"/>
                <a:gd name="connsiteY7" fmla="*/ 168037 h 218916"/>
                <a:gd name="connsiteX8" fmla="*/ 61992 w 218240"/>
                <a:gd name="connsiteY8" fmla="*/ 168037 h 218916"/>
                <a:gd name="connsiteX9" fmla="*/ 71517 w 218240"/>
                <a:gd name="connsiteY9" fmla="*/ 187682 h 218916"/>
                <a:gd name="connsiteX10" fmla="*/ 87709 w 218240"/>
                <a:gd name="connsiteY10" fmla="*/ 188635 h 218916"/>
                <a:gd name="connsiteX11" fmla="*/ 75605 w 218240"/>
                <a:gd name="connsiteY11" fmla="*/ 168037 h 218916"/>
                <a:gd name="connsiteX12" fmla="*/ 104140 w 218240"/>
                <a:gd name="connsiteY12" fmla="*/ 168037 h 218916"/>
                <a:gd name="connsiteX13" fmla="*/ 104140 w 218240"/>
                <a:gd name="connsiteY13" fmla="*/ 187643 h 218916"/>
                <a:gd name="connsiteX14" fmla="*/ 116681 w 218240"/>
                <a:gd name="connsiteY14" fmla="*/ 185261 h 218916"/>
                <a:gd name="connsiteX15" fmla="*/ 116681 w 218240"/>
                <a:gd name="connsiteY15" fmla="*/ 180935 h 218916"/>
                <a:gd name="connsiteX16" fmla="*/ 119459 w 218240"/>
                <a:gd name="connsiteY16" fmla="*/ 104180 h 218916"/>
                <a:gd name="connsiteX17" fmla="*/ 116681 w 218240"/>
                <a:gd name="connsiteY17" fmla="*/ 104180 h 218916"/>
                <a:gd name="connsiteX18" fmla="*/ 116681 w 218240"/>
                <a:gd name="connsiteY18" fmla="*/ 65445 h 218916"/>
                <a:gd name="connsiteX19" fmla="*/ 149622 w 218240"/>
                <a:gd name="connsiteY19" fmla="*/ 65445 h 218916"/>
                <a:gd name="connsiteX20" fmla="*/ 150852 w 218240"/>
                <a:gd name="connsiteY20" fmla="*/ 70287 h 218916"/>
                <a:gd name="connsiteX21" fmla="*/ 177482 w 218240"/>
                <a:gd name="connsiteY21" fmla="*/ 52864 h 218916"/>
                <a:gd name="connsiteX22" fmla="*/ 158829 w 218240"/>
                <a:gd name="connsiteY22" fmla="*/ 52864 h 218916"/>
                <a:gd name="connsiteX23" fmla="*/ 139065 w 218240"/>
                <a:gd name="connsiteY23" fmla="*/ 20161 h 218916"/>
                <a:gd name="connsiteX24" fmla="*/ 183039 w 218240"/>
                <a:gd name="connsiteY24" fmla="*/ 49808 h 218916"/>
                <a:gd name="connsiteX25" fmla="*/ 187444 w 218240"/>
                <a:gd name="connsiteY25" fmla="*/ 47427 h 218916"/>
                <a:gd name="connsiteX26" fmla="*/ 197088 w 218240"/>
                <a:gd name="connsiteY26" fmla="*/ 42108 h 218916"/>
                <a:gd name="connsiteX27" fmla="*/ 110411 w 218240"/>
                <a:gd name="connsiteY27" fmla="*/ 0 h 218916"/>
                <a:gd name="connsiteX28" fmla="*/ 0 w 218240"/>
                <a:gd name="connsiteY28" fmla="*/ 110411 h 218916"/>
                <a:gd name="connsiteX29" fmla="*/ 12938 w 218240"/>
                <a:gd name="connsiteY29" fmla="*/ 162084 h 218916"/>
                <a:gd name="connsiteX30" fmla="*/ 13295 w 218240"/>
                <a:gd name="connsiteY30" fmla="*/ 162957 h 218916"/>
                <a:gd name="connsiteX31" fmla="*/ 20598 w 218240"/>
                <a:gd name="connsiteY31" fmla="*/ 174466 h 218916"/>
                <a:gd name="connsiteX32" fmla="*/ 21074 w 218240"/>
                <a:gd name="connsiteY32" fmla="*/ 175141 h 218916"/>
                <a:gd name="connsiteX33" fmla="*/ 21114 w 218240"/>
                <a:gd name="connsiteY33" fmla="*/ 175181 h 218916"/>
                <a:gd name="connsiteX34" fmla="*/ 93662 w 218240"/>
                <a:gd name="connsiteY34" fmla="*/ 218599 h 218916"/>
                <a:gd name="connsiteX35" fmla="*/ 103664 w 218240"/>
                <a:gd name="connsiteY35" fmla="*/ 218916 h 218916"/>
                <a:gd name="connsiteX36" fmla="*/ 217726 w 218240"/>
                <a:gd name="connsiteY36" fmla="*/ 122793 h 218916"/>
                <a:gd name="connsiteX37" fmla="*/ 116681 w 218240"/>
                <a:gd name="connsiteY37" fmla="*/ 20558 h 218916"/>
                <a:gd name="connsiteX38" fmla="*/ 145217 w 218240"/>
                <a:gd name="connsiteY38" fmla="*/ 52903 h 218916"/>
                <a:gd name="connsiteX39" fmla="*/ 116681 w 218240"/>
                <a:gd name="connsiteY39" fmla="*/ 52903 h 218916"/>
                <a:gd name="connsiteX40" fmla="*/ 116681 w 218240"/>
                <a:gd name="connsiteY40" fmla="*/ 20558 h 218916"/>
                <a:gd name="connsiteX41" fmla="*/ 104100 w 218240"/>
                <a:gd name="connsiteY41" fmla="*/ 155496 h 218916"/>
                <a:gd name="connsiteX42" fmla="*/ 71160 w 218240"/>
                <a:gd name="connsiteY42" fmla="*/ 155496 h 218916"/>
                <a:gd name="connsiteX43" fmla="*/ 65088 w 218240"/>
                <a:gd name="connsiteY43" fmla="*/ 116761 h 218916"/>
                <a:gd name="connsiteX44" fmla="*/ 104061 w 218240"/>
                <a:gd name="connsiteY44" fmla="*/ 116761 h 218916"/>
                <a:gd name="connsiteX45" fmla="*/ 104061 w 218240"/>
                <a:gd name="connsiteY45" fmla="*/ 155496 h 218916"/>
                <a:gd name="connsiteX46" fmla="*/ 104100 w 218240"/>
                <a:gd name="connsiteY46" fmla="*/ 104219 h 218916"/>
                <a:gd name="connsiteX47" fmla="*/ 65127 w 218240"/>
                <a:gd name="connsiteY47" fmla="*/ 104219 h 218916"/>
                <a:gd name="connsiteX48" fmla="*/ 71200 w 218240"/>
                <a:gd name="connsiteY48" fmla="*/ 65484 h 218916"/>
                <a:gd name="connsiteX49" fmla="*/ 104140 w 218240"/>
                <a:gd name="connsiteY49" fmla="*/ 65484 h 218916"/>
                <a:gd name="connsiteX50" fmla="*/ 104140 w 218240"/>
                <a:gd name="connsiteY50" fmla="*/ 104219 h 218916"/>
                <a:gd name="connsiteX51" fmla="*/ 104100 w 218240"/>
                <a:gd name="connsiteY51" fmla="*/ 20558 h 218916"/>
                <a:gd name="connsiteX52" fmla="*/ 104100 w 218240"/>
                <a:gd name="connsiteY52" fmla="*/ 52903 h 218916"/>
                <a:gd name="connsiteX53" fmla="*/ 75565 w 218240"/>
                <a:gd name="connsiteY53" fmla="*/ 52903 h 218916"/>
                <a:gd name="connsiteX54" fmla="*/ 104100 w 218240"/>
                <a:gd name="connsiteY54" fmla="*/ 20558 h 218916"/>
                <a:gd name="connsiteX55" fmla="*/ 81717 w 218240"/>
                <a:gd name="connsiteY55" fmla="*/ 20201 h 218916"/>
                <a:gd name="connsiteX56" fmla="*/ 61952 w 218240"/>
                <a:gd name="connsiteY56" fmla="*/ 52903 h 218916"/>
                <a:gd name="connsiteX57" fmla="*/ 35203 w 218240"/>
                <a:gd name="connsiteY57" fmla="*/ 52903 h 218916"/>
                <a:gd name="connsiteX58" fmla="*/ 81717 w 218240"/>
                <a:gd name="connsiteY58" fmla="*/ 20201 h 218916"/>
                <a:gd name="connsiteX59" fmla="*/ 27067 w 218240"/>
                <a:gd name="connsiteY59" fmla="*/ 65484 h 218916"/>
                <a:gd name="connsiteX60" fmla="*/ 58023 w 218240"/>
                <a:gd name="connsiteY60" fmla="*/ 65484 h 218916"/>
                <a:gd name="connsiteX61" fmla="*/ 52546 w 218240"/>
                <a:gd name="connsiteY61" fmla="*/ 104219 h 218916"/>
                <a:gd name="connsiteX62" fmla="*/ 15915 w 218240"/>
                <a:gd name="connsiteY62" fmla="*/ 104219 h 218916"/>
                <a:gd name="connsiteX63" fmla="*/ 27067 w 218240"/>
                <a:gd name="connsiteY63" fmla="*/ 65484 h 218916"/>
                <a:gd name="connsiteX64" fmla="*/ 52546 w 218240"/>
                <a:gd name="connsiteY64" fmla="*/ 116761 h 218916"/>
                <a:gd name="connsiteX65" fmla="*/ 58023 w 218240"/>
                <a:gd name="connsiteY65" fmla="*/ 155496 h 218916"/>
                <a:gd name="connsiteX66" fmla="*/ 27067 w 218240"/>
                <a:gd name="connsiteY66" fmla="*/ 155496 h 218916"/>
                <a:gd name="connsiteX67" fmla="*/ 15915 w 218240"/>
                <a:gd name="connsiteY67" fmla="*/ 116761 h 218916"/>
                <a:gd name="connsiteX68" fmla="*/ 52546 w 218240"/>
                <a:gd name="connsiteY68" fmla="*/ 116761 h 21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8240" h="218916">
                  <a:moveTo>
                    <a:pt x="217726" y="122793"/>
                  </a:moveTo>
                  <a:cubicBezTo>
                    <a:pt x="219273" y="118745"/>
                    <a:pt x="217210" y="114221"/>
                    <a:pt x="213162" y="112673"/>
                  </a:cubicBezTo>
                  <a:cubicBezTo>
                    <a:pt x="209114" y="111125"/>
                    <a:pt x="204589" y="113189"/>
                    <a:pt x="203041" y="117237"/>
                  </a:cubicBezTo>
                  <a:cubicBezTo>
                    <a:pt x="172800" y="197048"/>
                    <a:pt x="131247" y="205383"/>
                    <a:pt x="94615" y="202962"/>
                  </a:cubicBezTo>
                  <a:cubicBezTo>
                    <a:pt x="76438" y="201771"/>
                    <a:pt x="61794" y="193516"/>
                    <a:pt x="50840" y="184229"/>
                  </a:cubicBezTo>
                  <a:cubicBezTo>
                    <a:pt x="50959" y="184269"/>
                    <a:pt x="51078" y="184269"/>
                    <a:pt x="51197" y="184309"/>
                  </a:cubicBezTo>
                  <a:cubicBezTo>
                    <a:pt x="48657" y="182285"/>
                    <a:pt x="46276" y="180102"/>
                    <a:pt x="43974" y="177840"/>
                  </a:cubicBezTo>
                  <a:cubicBezTo>
                    <a:pt x="40640" y="174427"/>
                    <a:pt x="37783" y="171093"/>
                    <a:pt x="35441" y="168037"/>
                  </a:cubicBezTo>
                  <a:lnTo>
                    <a:pt x="61992" y="168037"/>
                  </a:lnTo>
                  <a:cubicBezTo>
                    <a:pt x="64691" y="175300"/>
                    <a:pt x="67905" y="181888"/>
                    <a:pt x="71517" y="187682"/>
                  </a:cubicBezTo>
                  <a:cubicBezTo>
                    <a:pt x="76795" y="188238"/>
                    <a:pt x="82193" y="188595"/>
                    <a:pt x="87709" y="188635"/>
                  </a:cubicBezTo>
                  <a:cubicBezTo>
                    <a:pt x="83106" y="183198"/>
                    <a:pt x="79018" y="176213"/>
                    <a:pt x="75605" y="168037"/>
                  </a:cubicBezTo>
                  <a:lnTo>
                    <a:pt x="104140" y="168037"/>
                  </a:lnTo>
                  <a:lnTo>
                    <a:pt x="104140" y="187643"/>
                  </a:lnTo>
                  <a:cubicBezTo>
                    <a:pt x="108466" y="187087"/>
                    <a:pt x="112633" y="186253"/>
                    <a:pt x="116681" y="185261"/>
                  </a:cubicBezTo>
                  <a:lnTo>
                    <a:pt x="116681" y="180935"/>
                  </a:lnTo>
                  <a:cubicBezTo>
                    <a:pt x="108585" y="161647"/>
                    <a:pt x="103902" y="132040"/>
                    <a:pt x="119459" y="104180"/>
                  </a:cubicBezTo>
                  <a:lnTo>
                    <a:pt x="116681" y="104180"/>
                  </a:lnTo>
                  <a:lnTo>
                    <a:pt x="116681" y="65445"/>
                  </a:lnTo>
                  <a:lnTo>
                    <a:pt x="149622" y="65445"/>
                  </a:lnTo>
                  <a:cubicBezTo>
                    <a:pt x="150098" y="67032"/>
                    <a:pt x="150455" y="68659"/>
                    <a:pt x="150852" y="70287"/>
                  </a:cubicBezTo>
                  <a:cubicBezTo>
                    <a:pt x="160417" y="62865"/>
                    <a:pt x="169466" y="57348"/>
                    <a:pt x="177482" y="52864"/>
                  </a:cubicBezTo>
                  <a:lnTo>
                    <a:pt x="158829" y="52864"/>
                  </a:lnTo>
                  <a:cubicBezTo>
                    <a:pt x="153829" y="39330"/>
                    <a:pt x="147042" y="28099"/>
                    <a:pt x="139065" y="20161"/>
                  </a:cubicBezTo>
                  <a:cubicBezTo>
                    <a:pt x="156448" y="25678"/>
                    <a:pt x="171609" y="36155"/>
                    <a:pt x="183039" y="49808"/>
                  </a:cubicBezTo>
                  <a:cubicBezTo>
                    <a:pt x="184547" y="48974"/>
                    <a:pt x="186055" y="48181"/>
                    <a:pt x="187444" y="47427"/>
                  </a:cubicBezTo>
                  <a:cubicBezTo>
                    <a:pt x="190460" y="45799"/>
                    <a:pt x="194032" y="43894"/>
                    <a:pt x="197088" y="42108"/>
                  </a:cubicBezTo>
                  <a:cubicBezTo>
                    <a:pt x="176848" y="16470"/>
                    <a:pt x="145534" y="0"/>
                    <a:pt x="110411" y="0"/>
                  </a:cubicBezTo>
                  <a:cubicBezTo>
                    <a:pt x="49530" y="0"/>
                    <a:pt x="0" y="49530"/>
                    <a:pt x="0" y="110411"/>
                  </a:cubicBezTo>
                  <a:cubicBezTo>
                    <a:pt x="0" y="129064"/>
                    <a:pt x="4723" y="146645"/>
                    <a:pt x="12938" y="162084"/>
                  </a:cubicBezTo>
                  <a:cubicBezTo>
                    <a:pt x="13057" y="162362"/>
                    <a:pt x="13137" y="162679"/>
                    <a:pt x="13295" y="162957"/>
                  </a:cubicBezTo>
                  <a:cubicBezTo>
                    <a:pt x="13613" y="163552"/>
                    <a:pt x="16034" y="168156"/>
                    <a:pt x="20598" y="174466"/>
                  </a:cubicBezTo>
                  <a:cubicBezTo>
                    <a:pt x="20756" y="174704"/>
                    <a:pt x="20876" y="174943"/>
                    <a:pt x="21074" y="175141"/>
                  </a:cubicBezTo>
                  <a:cubicBezTo>
                    <a:pt x="21074" y="175141"/>
                    <a:pt x="21114" y="175141"/>
                    <a:pt x="21114" y="175181"/>
                  </a:cubicBezTo>
                  <a:cubicBezTo>
                    <a:pt x="32584" y="190857"/>
                    <a:pt x="56674" y="216178"/>
                    <a:pt x="93662" y="218599"/>
                  </a:cubicBezTo>
                  <a:cubicBezTo>
                    <a:pt x="97076" y="218837"/>
                    <a:pt x="100410" y="218916"/>
                    <a:pt x="103664" y="218916"/>
                  </a:cubicBezTo>
                  <a:cubicBezTo>
                    <a:pt x="157202" y="218996"/>
                    <a:pt x="192683" y="188913"/>
                    <a:pt x="217726" y="122793"/>
                  </a:cubicBezTo>
                  <a:close/>
                  <a:moveTo>
                    <a:pt x="116681" y="20558"/>
                  </a:moveTo>
                  <a:cubicBezTo>
                    <a:pt x="127992" y="23852"/>
                    <a:pt x="138113" y="35838"/>
                    <a:pt x="145217" y="52903"/>
                  </a:cubicBezTo>
                  <a:lnTo>
                    <a:pt x="116681" y="52903"/>
                  </a:lnTo>
                  <a:lnTo>
                    <a:pt x="116681" y="20558"/>
                  </a:lnTo>
                  <a:close/>
                  <a:moveTo>
                    <a:pt x="104100" y="155496"/>
                  </a:moveTo>
                  <a:lnTo>
                    <a:pt x="71160" y="155496"/>
                  </a:lnTo>
                  <a:cubicBezTo>
                    <a:pt x="67747" y="143867"/>
                    <a:pt x="65604" y="130691"/>
                    <a:pt x="65088" y="116761"/>
                  </a:cubicBezTo>
                  <a:lnTo>
                    <a:pt x="104061" y="116761"/>
                  </a:lnTo>
                  <a:lnTo>
                    <a:pt x="104061" y="155496"/>
                  </a:lnTo>
                  <a:close/>
                  <a:moveTo>
                    <a:pt x="104100" y="104219"/>
                  </a:moveTo>
                  <a:lnTo>
                    <a:pt x="65127" y="104219"/>
                  </a:lnTo>
                  <a:cubicBezTo>
                    <a:pt x="65643" y="90289"/>
                    <a:pt x="67787" y="77113"/>
                    <a:pt x="71200" y="65484"/>
                  </a:cubicBezTo>
                  <a:lnTo>
                    <a:pt x="104140" y="65484"/>
                  </a:lnTo>
                  <a:lnTo>
                    <a:pt x="104140" y="104219"/>
                  </a:lnTo>
                  <a:close/>
                  <a:moveTo>
                    <a:pt x="104100" y="20558"/>
                  </a:moveTo>
                  <a:lnTo>
                    <a:pt x="104100" y="52903"/>
                  </a:lnTo>
                  <a:lnTo>
                    <a:pt x="75565" y="52903"/>
                  </a:lnTo>
                  <a:cubicBezTo>
                    <a:pt x="82709" y="35838"/>
                    <a:pt x="92789" y="23852"/>
                    <a:pt x="104100" y="20558"/>
                  </a:cubicBezTo>
                  <a:close/>
                  <a:moveTo>
                    <a:pt x="81717" y="20201"/>
                  </a:moveTo>
                  <a:cubicBezTo>
                    <a:pt x="73740" y="28138"/>
                    <a:pt x="66953" y="39370"/>
                    <a:pt x="61952" y="52903"/>
                  </a:cubicBezTo>
                  <a:lnTo>
                    <a:pt x="35203" y="52903"/>
                  </a:lnTo>
                  <a:cubicBezTo>
                    <a:pt x="46911" y="37743"/>
                    <a:pt x="63063" y="26154"/>
                    <a:pt x="81717" y="20201"/>
                  </a:cubicBezTo>
                  <a:close/>
                  <a:moveTo>
                    <a:pt x="27067" y="65484"/>
                  </a:moveTo>
                  <a:lnTo>
                    <a:pt x="58023" y="65484"/>
                  </a:lnTo>
                  <a:cubicBezTo>
                    <a:pt x="54888" y="77272"/>
                    <a:pt x="52983" y="90329"/>
                    <a:pt x="52546" y="104219"/>
                  </a:cubicBezTo>
                  <a:lnTo>
                    <a:pt x="15915" y="104219"/>
                  </a:lnTo>
                  <a:cubicBezTo>
                    <a:pt x="16827" y="90289"/>
                    <a:pt x="20756" y="77153"/>
                    <a:pt x="27067" y="65484"/>
                  </a:cubicBezTo>
                  <a:close/>
                  <a:moveTo>
                    <a:pt x="52546" y="116761"/>
                  </a:moveTo>
                  <a:cubicBezTo>
                    <a:pt x="52983" y="130651"/>
                    <a:pt x="54888" y="143708"/>
                    <a:pt x="58023" y="155496"/>
                  </a:cubicBezTo>
                  <a:lnTo>
                    <a:pt x="27067" y="155496"/>
                  </a:lnTo>
                  <a:cubicBezTo>
                    <a:pt x="20756" y="143828"/>
                    <a:pt x="16827" y="130691"/>
                    <a:pt x="15915" y="116761"/>
                  </a:cubicBezTo>
                  <a:lnTo>
                    <a:pt x="52546" y="116761"/>
                  </a:lnTo>
                  <a:close/>
                </a:path>
              </a:pathLst>
            </a:custGeom>
            <a:grpFill/>
            <a:ln w="3969" cap="flat">
              <a:noFill/>
              <a:prstDash val="solid"/>
              <a:miter/>
            </a:ln>
          </p:spPr>
          <p:txBody>
            <a:bodyPr rtlCol="0" anchor="ctr"/>
            <a:lstStyle/>
            <a:p>
              <a:endParaRPr lang="es-ES">
                <a:latin typeface="+mn-lt"/>
              </a:endParaRPr>
            </a:p>
          </p:txBody>
        </p:sp>
      </p:grpSp>
      <p:sp>
        <p:nvSpPr>
          <p:cNvPr id="750" name="CuadroTexto 749">
            <a:extLst>
              <a:ext uri="{FF2B5EF4-FFF2-40B4-BE49-F238E27FC236}">
                <a16:creationId xmlns:a16="http://schemas.microsoft.com/office/drawing/2014/main" id="{9F8F724E-C784-ABAA-7947-D0222DF9375C}"/>
              </a:ext>
            </a:extLst>
          </p:cNvPr>
          <p:cNvSpPr txBox="1"/>
          <p:nvPr/>
        </p:nvSpPr>
        <p:spPr>
          <a:xfrm>
            <a:off x="3572463" y="4241443"/>
            <a:ext cx="2534864" cy="1352529"/>
          </a:xfrm>
          <a:prstGeom prst="rect">
            <a:avLst/>
          </a:prstGeom>
          <a:noFill/>
        </p:spPr>
        <p:txBody>
          <a:bodyPr wrap="square">
            <a:spAutoFit/>
          </a:bodyPr>
          <a:lstStyle/>
          <a:p>
            <a:pPr algn="ctr">
              <a:lnSpc>
                <a:spcPct val="120000"/>
              </a:lnSpc>
            </a:pPr>
            <a:r>
              <a:rPr lang="pt" sz="1600" kern="0">
                <a:solidFill>
                  <a:srgbClr val="000000">
                    <a:lumMod val="50000"/>
                    <a:lumOff val="50000"/>
                  </a:srgbClr>
                </a:solidFill>
                <a:latin typeface="+mn-lt"/>
                <a:cs typeface="Calibri" panose="020F0502020204030204" pitchFamily="34" charset="0"/>
              </a:rPr>
              <a:t>Classificação de risco ESG</a:t>
            </a:r>
          </a:p>
          <a:p>
            <a:pPr algn="ctr">
              <a:lnSpc>
                <a:spcPct val="120000"/>
              </a:lnSpc>
            </a:pPr>
            <a:endParaRPr lang="en-US" sz="1600" kern="0">
              <a:solidFill>
                <a:srgbClr val="000000">
                  <a:lumMod val="50000"/>
                  <a:lumOff val="50000"/>
                </a:srgbClr>
              </a:solidFill>
              <a:latin typeface="+mn-lt"/>
              <a:cs typeface="Calibri" panose="020F0502020204030204" pitchFamily="34" charset="0"/>
            </a:endParaRPr>
          </a:p>
          <a:p>
            <a:pPr algn="ctr">
              <a:lnSpc>
                <a:spcPct val="120000"/>
              </a:lnSpc>
            </a:pPr>
            <a:endParaRPr lang="en-US" sz="1400" kern="0">
              <a:solidFill>
                <a:srgbClr val="000000">
                  <a:lumMod val="50000"/>
                  <a:lumOff val="50000"/>
                </a:srgbClr>
              </a:solidFill>
              <a:latin typeface="+mn-lt"/>
              <a:cs typeface="Calibri" panose="020F0502020204030204" pitchFamily="34" charset="0"/>
            </a:endParaRPr>
          </a:p>
          <a:p>
            <a:pPr algn="ctr">
              <a:lnSpc>
                <a:spcPct val="80000"/>
              </a:lnSpc>
            </a:pPr>
            <a:r>
              <a:rPr lang="pt" sz="1600" kern="0">
                <a:solidFill>
                  <a:srgbClr val="000000">
                    <a:lumMod val="50000"/>
                    <a:lumOff val="50000"/>
                  </a:srgbClr>
                </a:solidFill>
                <a:latin typeface="+mn-lt"/>
                <a:cs typeface="Calibri" panose="020F0502020204030204" pitchFamily="34" charset="0"/>
              </a:rPr>
              <a:t>A melhor pontuação do setor</a:t>
            </a:r>
          </a:p>
        </p:txBody>
      </p:sp>
      <p:sp>
        <p:nvSpPr>
          <p:cNvPr id="752" name="CuadroTexto 751">
            <a:extLst>
              <a:ext uri="{FF2B5EF4-FFF2-40B4-BE49-F238E27FC236}">
                <a16:creationId xmlns:a16="http://schemas.microsoft.com/office/drawing/2014/main" id="{34884088-BE96-4481-8233-B597DB485ACC}"/>
              </a:ext>
            </a:extLst>
          </p:cNvPr>
          <p:cNvSpPr txBox="1"/>
          <p:nvPr/>
        </p:nvSpPr>
        <p:spPr>
          <a:xfrm>
            <a:off x="4985915" y="4609330"/>
            <a:ext cx="648514" cy="461665"/>
          </a:xfrm>
          <a:prstGeom prst="rect">
            <a:avLst/>
          </a:prstGeom>
          <a:noFill/>
        </p:spPr>
        <p:txBody>
          <a:bodyPr wrap="square">
            <a:spAutoFit/>
          </a:bodyPr>
          <a:lstStyle/>
          <a:p>
            <a:r>
              <a:rPr lang="pt" sz="1200" kern="0">
                <a:solidFill>
                  <a:srgbClr val="00A3E0"/>
                </a:solidFill>
                <a:latin typeface="+mn-lt"/>
                <a:cs typeface="Calibri" panose="020F0502020204030204" pitchFamily="34" charset="0"/>
              </a:rPr>
              <a:t>Baixo Risco</a:t>
            </a:r>
            <a:endParaRPr lang="en-US" sz="1200">
              <a:solidFill>
                <a:srgbClr val="00A3E0"/>
              </a:solidFill>
              <a:latin typeface="+mn-lt"/>
            </a:endParaRPr>
          </a:p>
        </p:txBody>
      </p:sp>
      <p:sp>
        <p:nvSpPr>
          <p:cNvPr id="753" name="CuadroTexto 752">
            <a:extLst>
              <a:ext uri="{FF2B5EF4-FFF2-40B4-BE49-F238E27FC236}">
                <a16:creationId xmlns:a16="http://schemas.microsoft.com/office/drawing/2014/main" id="{39A09922-6199-DA93-447B-3C8D0ABACE52}"/>
              </a:ext>
            </a:extLst>
          </p:cNvPr>
          <p:cNvSpPr txBox="1"/>
          <p:nvPr/>
        </p:nvSpPr>
        <p:spPr>
          <a:xfrm>
            <a:off x="4106064" y="4535464"/>
            <a:ext cx="979914" cy="574901"/>
          </a:xfrm>
          <a:prstGeom prst="rect">
            <a:avLst/>
          </a:prstGeom>
          <a:noFill/>
        </p:spPr>
        <p:txBody>
          <a:bodyPr wrap="square" lIns="91440" tIns="45720" rIns="91440" bIns="45720" anchor="t">
            <a:spAutoFit/>
          </a:bodyPr>
          <a:lstStyle/>
          <a:p>
            <a:pPr algn="ctr">
              <a:lnSpc>
                <a:spcPct val="120000"/>
              </a:lnSpc>
            </a:pPr>
            <a:r>
              <a:rPr lang="pt" sz="2800" dirty="0">
                <a:solidFill>
                  <a:srgbClr val="00A3E0"/>
                </a:solidFill>
                <a:latin typeface="+mn-lt"/>
              </a:rPr>
              <a:t>10,5</a:t>
            </a:r>
            <a:endParaRPr lang="pt" sz="2800" b="0" i="0" u="none" strike="noStrike" baseline="0" dirty="0">
              <a:solidFill>
                <a:srgbClr val="00A3E0"/>
              </a:solidFill>
              <a:latin typeface="+mn-lt"/>
            </a:endParaRPr>
          </a:p>
        </p:txBody>
      </p:sp>
      <p:pic>
        <p:nvPicPr>
          <p:cNvPr id="3" name="Imagem 2">
            <a:extLst>
              <a:ext uri="{FF2B5EF4-FFF2-40B4-BE49-F238E27FC236}">
                <a16:creationId xmlns:a16="http://schemas.microsoft.com/office/drawing/2014/main" id="{B9204830-9C61-1323-53FD-6F7EDE9EDA9A}"/>
              </a:ext>
            </a:extLst>
          </p:cNvPr>
          <p:cNvPicPr>
            <a:picLocks noChangeAspect="1"/>
          </p:cNvPicPr>
          <p:nvPr/>
        </p:nvPicPr>
        <p:blipFill>
          <a:blip r:embed="rId8"/>
          <a:stretch>
            <a:fillRect/>
          </a:stretch>
        </p:blipFill>
        <p:spPr>
          <a:xfrm>
            <a:off x="3401718" y="5699532"/>
            <a:ext cx="3181350" cy="371475"/>
          </a:xfrm>
          <a:prstGeom prst="rect">
            <a:avLst/>
          </a:prstGeom>
        </p:spPr>
      </p:pic>
      <p:sp>
        <p:nvSpPr>
          <p:cNvPr id="4" name="CaixaDeTexto 3">
            <a:extLst>
              <a:ext uri="{FF2B5EF4-FFF2-40B4-BE49-F238E27FC236}">
                <a16:creationId xmlns:a16="http://schemas.microsoft.com/office/drawing/2014/main" id="{7A334E19-4372-74FE-0BAF-8D6B642C7EC7}"/>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Quem Somos</a:t>
            </a:r>
          </a:p>
        </p:txBody>
      </p:sp>
    </p:spTree>
    <p:extLst>
      <p:ext uri="{BB962C8B-B14F-4D97-AF65-F5344CB8AC3E}">
        <p14:creationId xmlns:p14="http://schemas.microsoft.com/office/powerpoint/2010/main" val="3536699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diagonales redondeadas 1">
            <a:extLst>
              <a:ext uri="{FF2B5EF4-FFF2-40B4-BE49-F238E27FC236}">
                <a16:creationId xmlns:a16="http://schemas.microsoft.com/office/drawing/2014/main" id="{185738F0-B13A-BCD2-9EF4-5F6C46F066C9}"/>
              </a:ext>
            </a:extLst>
          </p:cNvPr>
          <p:cNvSpPr/>
          <p:nvPr/>
        </p:nvSpPr>
        <p:spPr>
          <a:xfrm>
            <a:off x="1026791" y="1395557"/>
            <a:ext cx="4720866" cy="1317784"/>
          </a:xfrm>
          <a:prstGeom prst="round2DiagRect">
            <a:avLst/>
          </a:prstGeom>
          <a:solidFill>
            <a:schemeClr val="bg1"/>
          </a:solidFill>
          <a:ln>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 sz="1600">
                <a:solidFill>
                  <a:srgbClr val="595959"/>
                </a:solidFill>
              </a:rPr>
              <a:t>Nos tornamos uma extensão das marcas que atendemos, permitindo conexões significativas com seus clientes em todos os pontos de contato, ao mesmo tempo em que impulsionamos a receita de longo prazo e a eficiência de custos</a:t>
            </a:r>
            <a:endParaRPr lang="es-ES" sz="1600">
              <a:solidFill>
                <a:srgbClr val="595959"/>
              </a:solidFill>
            </a:endParaRPr>
          </a:p>
        </p:txBody>
      </p:sp>
      <p:sp>
        <p:nvSpPr>
          <p:cNvPr id="6" name="CuadroTexto 5">
            <a:extLst>
              <a:ext uri="{FF2B5EF4-FFF2-40B4-BE49-F238E27FC236}">
                <a16:creationId xmlns:a16="http://schemas.microsoft.com/office/drawing/2014/main" id="{D0E8E703-7C97-04BD-1256-A569B3B3FDCA}"/>
              </a:ext>
            </a:extLst>
          </p:cNvPr>
          <p:cNvSpPr txBox="1"/>
          <p:nvPr/>
        </p:nvSpPr>
        <p:spPr>
          <a:xfrm>
            <a:off x="390105" y="4974031"/>
            <a:ext cx="1952462" cy="461665"/>
          </a:xfrm>
          <a:prstGeom prst="rect">
            <a:avLst/>
          </a:prstGeom>
          <a:noFill/>
        </p:spPr>
        <p:txBody>
          <a:bodyPr wrap="square" lIns="91440" tIns="45720" rIns="91440" bIns="45720" anchor="t">
            <a:spAutoFit/>
          </a:bodyPr>
          <a:lstStyle/>
          <a:p>
            <a:pPr algn="ctr"/>
            <a:r>
              <a:rPr lang="pt" sz="1200" b="1">
                <a:solidFill>
                  <a:srgbClr val="595959"/>
                </a:solidFill>
                <a:latin typeface="+mn-lt"/>
              </a:rPr>
              <a:t>Vemos o</a:t>
            </a:r>
            <a:r>
              <a:rPr lang="pt" sz="1200" b="1" i="0">
                <a:solidFill>
                  <a:srgbClr val="595959"/>
                </a:solidFill>
                <a:effectLst/>
                <a:latin typeface="+mn-lt"/>
              </a:rPr>
              <a:t> mundo através dos olhos dos clientes</a:t>
            </a:r>
          </a:p>
        </p:txBody>
      </p:sp>
      <p:sp>
        <p:nvSpPr>
          <p:cNvPr id="13" name="CuadroTexto 12">
            <a:extLst>
              <a:ext uri="{FF2B5EF4-FFF2-40B4-BE49-F238E27FC236}">
                <a16:creationId xmlns:a16="http://schemas.microsoft.com/office/drawing/2014/main" id="{708F8693-E2E0-79D5-2792-3F7940FE1B8E}"/>
              </a:ext>
            </a:extLst>
          </p:cNvPr>
          <p:cNvSpPr txBox="1"/>
          <p:nvPr/>
        </p:nvSpPr>
        <p:spPr>
          <a:xfrm>
            <a:off x="664266" y="4308082"/>
            <a:ext cx="1404141" cy="523220"/>
          </a:xfrm>
          <a:prstGeom prst="rect">
            <a:avLst/>
          </a:prstGeom>
          <a:noFill/>
        </p:spPr>
        <p:txBody>
          <a:bodyPr wrap="square">
            <a:spAutoFit/>
          </a:bodyPr>
          <a:lstStyle/>
          <a:p>
            <a:pPr algn="ctr"/>
            <a:r>
              <a:rPr lang="pt" b="1" i="0" dirty="0">
                <a:solidFill>
                  <a:srgbClr val="00B2A9"/>
                </a:solidFill>
                <a:effectLst/>
                <a:latin typeface="+mn-lt"/>
              </a:rPr>
              <a:t>Parcerias Estratégicas</a:t>
            </a:r>
          </a:p>
        </p:txBody>
      </p:sp>
      <p:sp>
        <p:nvSpPr>
          <p:cNvPr id="15" name="CuadroTexto 14">
            <a:extLst>
              <a:ext uri="{FF2B5EF4-FFF2-40B4-BE49-F238E27FC236}">
                <a16:creationId xmlns:a16="http://schemas.microsoft.com/office/drawing/2014/main" id="{2A3A8FD7-3B48-B6F7-CE91-C8BEC1330DCA}"/>
              </a:ext>
            </a:extLst>
          </p:cNvPr>
          <p:cNvSpPr txBox="1"/>
          <p:nvPr/>
        </p:nvSpPr>
        <p:spPr>
          <a:xfrm>
            <a:off x="2324634" y="4974031"/>
            <a:ext cx="1952462" cy="276999"/>
          </a:xfrm>
          <a:prstGeom prst="rect">
            <a:avLst/>
          </a:prstGeom>
          <a:noFill/>
        </p:spPr>
        <p:txBody>
          <a:bodyPr wrap="square" lIns="91440" tIns="45720" rIns="91440" bIns="45720" anchor="t">
            <a:spAutoFit/>
          </a:bodyPr>
          <a:lstStyle/>
          <a:p>
            <a:pPr algn="ctr"/>
            <a:r>
              <a:rPr lang="pt" sz="1200" b="1" i="0">
                <a:solidFill>
                  <a:srgbClr val="595959"/>
                </a:solidFill>
                <a:effectLst/>
                <a:latin typeface="+mn-lt"/>
              </a:rPr>
              <a:t>Talento </a:t>
            </a:r>
            <a:r>
              <a:rPr lang="pt" sz="1200" b="1">
                <a:solidFill>
                  <a:srgbClr val="595959"/>
                </a:solidFill>
                <a:latin typeface="+mn-lt"/>
              </a:rPr>
              <a:t>que faz</a:t>
            </a:r>
            <a:r>
              <a:rPr lang="pt" sz="1200" b="1" i="0">
                <a:solidFill>
                  <a:srgbClr val="595959"/>
                </a:solidFill>
                <a:effectLst/>
                <a:latin typeface="+mn-lt"/>
              </a:rPr>
              <a:t> a diferença</a:t>
            </a:r>
          </a:p>
        </p:txBody>
      </p:sp>
      <p:sp>
        <p:nvSpPr>
          <p:cNvPr id="16" name="CuadroTexto 15">
            <a:extLst>
              <a:ext uri="{FF2B5EF4-FFF2-40B4-BE49-F238E27FC236}">
                <a16:creationId xmlns:a16="http://schemas.microsoft.com/office/drawing/2014/main" id="{5B9C7081-0C4E-F62A-95FD-D02D34D41068}"/>
              </a:ext>
            </a:extLst>
          </p:cNvPr>
          <p:cNvSpPr txBox="1"/>
          <p:nvPr/>
        </p:nvSpPr>
        <p:spPr>
          <a:xfrm>
            <a:off x="2324635" y="4308082"/>
            <a:ext cx="1952461" cy="738664"/>
          </a:xfrm>
          <a:prstGeom prst="rect">
            <a:avLst/>
          </a:prstGeom>
          <a:noFill/>
        </p:spPr>
        <p:txBody>
          <a:bodyPr wrap="square">
            <a:spAutoFit/>
          </a:bodyPr>
          <a:lstStyle/>
          <a:p>
            <a:pPr algn="ctr"/>
            <a:r>
              <a:rPr lang="pt" b="1" i="0" dirty="0">
                <a:solidFill>
                  <a:srgbClr val="B7BF10"/>
                </a:solidFill>
                <a:effectLst/>
                <a:latin typeface="+mn-lt"/>
              </a:rPr>
              <a:t>Cuidamos das </a:t>
            </a:r>
          </a:p>
          <a:p>
            <a:pPr algn="ctr"/>
            <a:r>
              <a:rPr lang="pt" b="1" i="0" dirty="0">
                <a:solidFill>
                  <a:srgbClr val="B7BF10"/>
                </a:solidFill>
                <a:effectLst/>
                <a:latin typeface="+mn-lt"/>
              </a:rPr>
              <a:t>nossas pessoas</a:t>
            </a:r>
          </a:p>
          <a:p>
            <a:pPr algn="ctr"/>
            <a:endParaRPr lang="en-US" i="0" dirty="0">
              <a:solidFill>
                <a:srgbClr val="00A3E0"/>
              </a:solidFill>
              <a:effectLst/>
              <a:latin typeface="+mn-lt"/>
            </a:endParaRPr>
          </a:p>
        </p:txBody>
      </p:sp>
      <p:sp>
        <p:nvSpPr>
          <p:cNvPr id="19" name="CuadroTexto 18">
            <a:extLst>
              <a:ext uri="{FF2B5EF4-FFF2-40B4-BE49-F238E27FC236}">
                <a16:creationId xmlns:a16="http://schemas.microsoft.com/office/drawing/2014/main" id="{395F3FD4-191F-ADCC-9653-206374F19731}"/>
              </a:ext>
            </a:extLst>
          </p:cNvPr>
          <p:cNvSpPr txBox="1"/>
          <p:nvPr/>
        </p:nvSpPr>
        <p:spPr>
          <a:xfrm>
            <a:off x="4355061" y="4974031"/>
            <a:ext cx="1825611" cy="461665"/>
          </a:xfrm>
          <a:prstGeom prst="rect">
            <a:avLst/>
          </a:prstGeom>
          <a:noFill/>
        </p:spPr>
        <p:txBody>
          <a:bodyPr wrap="square" lIns="91440" tIns="45720" rIns="91440" bIns="45720" anchor="t">
            <a:spAutoFit/>
          </a:bodyPr>
          <a:lstStyle/>
          <a:p>
            <a:pPr algn="ctr"/>
            <a:r>
              <a:rPr lang="pt" sz="1200" b="1" i="0">
                <a:solidFill>
                  <a:srgbClr val="595959"/>
                </a:solidFill>
                <a:effectLst/>
                <a:latin typeface="+mn-lt"/>
              </a:rPr>
              <a:t>Aprendemos e </a:t>
            </a:r>
            <a:r>
              <a:rPr lang="pt" sz="1200" b="1">
                <a:solidFill>
                  <a:srgbClr val="595959"/>
                </a:solidFill>
                <a:latin typeface="+mn-lt"/>
              </a:rPr>
              <a:t>nos </a:t>
            </a:r>
            <a:r>
              <a:rPr lang="pt" sz="1200" b="1" i="0">
                <a:solidFill>
                  <a:srgbClr val="595959"/>
                </a:solidFill>
                <a:effectLst/>
                <a:latin typeface="+mn-lt"/>
              </a:rPr>
              <a:t>transformamos</a:t>
            </a:r>
          </a:p>
        </p:txBody>
      </p:sp>
      <p:sp>
        <p:nvSpPr>
          <p:cNvPr id="21" name="CuadroTexto 20">
            <a:extLst>
              <a:ext uri="{FF2B5EF4-FFF2-40B4-BE49-F238E27FC236}">
                <a16:creationId xmlns:a16="http://schemas.microsoft.com/office/drawing/2014/main" id="{EA135E87-BDA7-13E7-0218-E79B91474CE9}"/>
              </a:ext>
            </a:extLst>
          </p:cNvPr>
          <p:cNvSpPr txBox="1"/>
          <p:nvPr/>
        </p:nvSpPr>
        <p:spPr>
          <a:xfrm>
            <a:off x="4632629" y="4322150"/>
            <a:ext cx="1270474" cy="307777"/>
          </a:xfrm>
          <a:prstGeom prst="rect">
            <a:avLst/>
          </a:prstGeom>
          <a:noFill/>
        </p:spPr>
        <p:txBody>
          <a:bodyPr wrap="square">
            <a:spAutoFit/>
          </a:bodyPr>
          <a:lstStyle/>
          <a:p>
            <a:pPr algn="ctr"/>
            <a:r>
              <a:rPr lang="pt" b="1" i="0" dirty="0">
                <a:solidFill>
                  <a:srgbClr val="00A3E0"/>
                </a:solidFill>
                <a:effectLst/>
                <a:latin typeface="+mn-lt"/>
              </a:rPr>
              <a:t>Ágil e simples</a:t>
            </a:r>
          </a:p>
        </p:txBody>
      </p:sp>
      <p:sp>
        <p:nvSpPr>
          <p:cNvPr id="26" name="CuadroTexto 25">
            <a:extLst>
              <a:ext uri="{FF2B5EF4-FFF2-40B4-BE49-F238E27FC236}">
                <a16:creationId xmlns:a16="http://schemas.microsoft.com/office/drawing/2014/main" id="{EC11E931-2B75-FD45-7976-2DB79E747CF0}"/>
              </a:ext>
            </a:extLst>
          </p:cNvPr>
          <p:cNvSpPr txBox="1"/>
          <p:nvPr/>
        </p:nvSpPr>
        <p:spPr>
          <a:xfrm>
            <a:off x="6130637" y="4974031"/>
            <a:ext cx="2056445" cy="461665"/>
          </a:xfrm>
          <a:prstGeom prst="rect">
            <a:avLst/>
          </a:prstGeom>
          <a:noFill/>
        </p:spPr>
        <p:txBody>
          <a:bodyPr wrap="square" lIns="91440" tIns="45720" rIns="91440" bIns="45720" anchor="t">
            <a:spAutoFit/>
          </a:bodyPr>
          <a:lstStyle/>
          <a:p>
            <a:pPr algn="ctr"/>
            <a:r>
              <a:rPr lang="pt" sz="1200" b="1">
                <a:solidFill>
                  <a:srgbClr val="595959"/>
                </a:solidFill>
                <a:latin typeface="+mn-lt"/>
              </a:rPr>
              <a:t>Sempre há mais</a:t>
            </a:r>
            <a:r>
              <a:rPr lang="pt" sz="1200" b="1" i="0">
                <a:solidFill>
                  <a:srgbClr val="595959"/>
                </a:solidFill>
                <a:effectLst/>
                <a:latin typeface="+mn-lt"/>
              </a:rPr>
              <a:t> para descobrir</a:t>
            </a:r>
          </a:p>
        </p:txBody>
      </p:sp>
      <p:sp>
        <p:nvSpPr>
          <p:cNvPr id="27" name="CuadroTexto 26">
            <a:extLst>
              <a:ext uri="{FF2B5EF4-FFF2-40B4-BE49-F238E27FC236}">
                <a16:creationId xmlns:a16="http://schemas.microsoft.com/office/drawing/2014/main" id="{488714BB-EF76-9A85-A7BC-E262DE1FC3CC}"/>
              </a:ext>
            </a:extLst>
          </p:cNvPr>
          <p:cNvSpPr txBox="1"/>
          <p:nvPr/>
        </p:nvSpPr>
        <p:spPr>
          <a:xfrm>
            <a:off x="6624869" y="4308082"/>
            <a:ext cx="1067981" cy="523220"/>
          </a:xfrm>
          <a:prstGeom prst="rect">
            <a:avLst/>
          </a:prstGeom>
          <a:noFill/>
        </p:spPr>
        <p:txBody>
          <a:bodyPr wrap="square">
            <a:spAutoFit/>
          </a:bodyPr>
          <a:lstStyle/>
          <a:p>
            <a:pPr algn="ctr"/>
            <a:r>
              <a:rPr lang="pt" b="1" i="0" dirty="0">
                <a:solidFill>
                  <a:srgbClr val="A40CE8"/>
                </a:solidFill>
                <a:effectLst/>
                <a:latin typeface="+mn-lt"/>
              </a:rPr>
              <a:t>Mentes abertas</a:t>
            </a:r>
          </a:p>
        </p:txBody>
      </p:sp>
      <p:sp>
        <p:nvSpPr>
          <p:cNvPr id="30" name="CuadroTexto 29">
            <a:extLst>
              <a:ext uri="{FF2B5EF4-FFF2-40B4-BE49-F238E27FC236}">
                <a16:creationId xmlns:a16="http://schemas.microsoft.com/office/drawing/2014/main" id="{9D7CB1F0-51D9-FA94-7A7F-2BE48E4E66FA}"/>
              </a:ext>
            </a:extLst>
          </p:cNvPr>
          <p:cNvSpPr txBox="1"/>
          <p:nvPr/>
        </p:nvSpPr>
        <p:spPr>
          <a:xfrm>
            <a:off x="8024721" y="4974031"/>
            <a:ext cx="2056445" cy="461665"/>
          </a:xfrm>
          <a:prstGeom prst="rect">
            <a:avLst/>
          </a:prstGeom>
          <a:noFill/>
        </p:spPr>
        <p:txBody>
          <a:bodyPr wrap="square" lIns="91440" tIns="45720" rIns="91440" bIns="45720" anchor="t">
            <a:spAutoFit/>
          </a:bodyPr>
          <a:lstStyle/>
          <a:p>
            <a:pPr algn="ctr"/>
            <a:r>
              <a:rPr lang="pt" sz="1200" b="1">
                <a:solidFill>
                  <a:srgbClr val="595959"/>
                </a:solidFill>
                <a:latin typeface="+mn-lt"/>
              </a:rPr>
              <a:t>Trabalhando juntos, vamos mais longe</a:t>
            </a:r>
            <a:endParaRPr lang="pt" sz="1200" b="1" dirty="0">
              <a:solidFill>
                <a:srgbClr val="595959"/>
              </a:solidFill>
              <a:latin typeface="+mn-lt"/>
            </a:endParaRPr>
          </a:p>
        </p:txBody>
      </p:sp>
      <p:sp>
        <p:nvSpPr>
          <p:cNvPr id="31" name="CuadroTexto 30">
            <a:extLst>
              <a:ext uri="{FF2B5EF4-FFF2-40B4-BE49-F238E27FC236}">
                <a16:creationId xmlns:a16="http://schemas.microsoft.com/office/drawing/2014/main" id="{5F494A96-DB99-EFD8-D6FF-7A7E881B05A6}"/>
              </a:ext>
            </a:extLst>
          </p:cNvPr>
          <p:cNvSpPr txBox="1"/>
          <p:nvPr/>
        </p:nvSpPr>
        <p:spPr>
          <a:xfrm>
            <a:off x="8280330" y="4308082"/>
            <a:ext cx="1461882" cy="523220"/>
          </a:xfrm>
          <a:prstGeom prst="rect">
            <a:avLst/>
          </a:prstGeom>
          <a:noFill/>
        </p:spPr>
        <p:txBody>
          <a:bodyPr wrap="square" lIns="91440" tIns="45720" rIns="91440" bIns="45720" anchor="t">
            <a:spAutoFit/>
          </a:bodyPr>
          <a:lstStyle/>
          <a:p>
            <a:pPr algn="ctr"/>
            <a:r>
              <a:rPr lang="pt" b="1" dirty="0">
                <a:solidFill>
                  <a:srgbClr val="4619FF"/>
                </a:solidFill>
                <a:latin typeface="+mn-lt"/>
              </a:rPr>
              <a:t>Em equipe, vencemos</a:t>
            </a:r>
            <a:endParaRPr lang="pt" b="1" i="0" dirty="0">
              <a:solidFill>
                <a:srgbClr val="4619FF"/>
              </a:solidFill>
              <a:effectLst/>
              <a:latin typeface="+mn-lt"/>
            </a:endParaRPr>
          </a:p>
        </p:txBody>
      </p:sp>
      <p:pic>
        <p:nvPicPr>
          <p:cNvPr id="7" name="Imagen 26" descr="Logotipo&#10;&#10;Descripción generada automáticamente con confianza baja">
            <a:extLst>
              <a:ext uri="{FF2B5EF4-FFF2-40B4-BE49-F238E27FC236}">
                <a16:creationId xmlns:a16="http://schemas.microsoft.com/office/drawing/2014/main" id="{B19C425F-5FE8-54CA-4707-097FC4A24F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0637" y="1395557"/>
            <a:ext cx="2594123" cy="1317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uadroTexto 9">
            <a:extLst>
              <a:ext uri="{FF2B5EF4-FFF2-40B4-BE49-F238E27FC236}">
                <a16:creationId xmlns:a16="http://schemas.microsoft.com/office/drawing/2014/main" id="{09653942-18E4-D89E-9140-D0A44B5D58D9}"/>
              </a:ext>
            </a:extLst>
          </p:cNvPr>
          <p:cNvSpPr txBox="1"/>
          <p:nvPr/>
        </p:nvSpPr>
        <p:spPr>
          <a:xfrm>
            <a:off x="10030290" y="4974031"/>
            <a:ext cx="1825611" cy="461665"/>
          </a:xfrm>
          <a:prstGeom prst="rect">
            <a:avLst/>
          </a:prstGeom>
          <a:noFill/>
        </p:spPr>
        <p:txBody>
          <a:bodyPr wrap="square" lIns="91440" tIns="45720" rIns="91440" bIns="45720" anchor="t">
            <a:spAutoFit/>
          </a:bodyPr>
          <a:lstStyle/>
          <a:p>
            <a:pPr algn="ctr"/>
            <a:r>
              <a:rPr lang="pt" sz="1200" b="1">
                <a:solidFill>
                  <a:srgbClr val="595959"/>
                </a:solidFill>
                <a:latin typeface="+mn-lt"/>
              </a:rPr>
              <a:t>Cumprimos com compromissos</a:t>
            </a:r>
            <a:endParaRPr lang="pt" sz="1200" b="1" i="0">
              <a:solidFill>
                <a:srgbClr val="595959"/>
              </a:solidFill>
              <a:effectLst/>
              <a:latin typeface="+mn-lt"/>
            </a:endParaRPr>
          </a:p>
        </p:txBody>
      </p:sp>
      <p:sp>
        <p:nvSpPr>
          <p:cNvPr id="12" name="CuadroTexto 11">
            <a:extLst>
              <a:ext uri="{FF2B5EF4-FFF2-40B4-BE49-F238E27FC236}">
                <a16:creationId xmlns:a16="http://schemas.microsoft.com/office/drawing/2014/main" id="{53903A15-0278-E89F-AC3E-25BC11B05D09}"/>
              </a:ext>
            </a:extLst>
          </p:cNvPr>
          <p:cNvSpPr txBox="1"/>
          <p:nvPr/>
        </p:nvSpPr>
        <p:spPr>
          <a:xfrm>
            <a:off x="10381362" y="4322150"/>
            <a:ext cx="1123466" cy="523220"/>
          </a:xfrm>
          <a:prstGeom prst="rect">
            <a:avLst/>
          </a:prstGeom>
          <a:noFill/>
        </p:spPr>
        <p:txBody>
          <a:bodyPr wrap="square">
            <a:spAutoFit/>
          </a:bodyPr>
          <a:lstStyle/>
          <a:p>
            <a:pPr lvl="1" algn="ctr"/>
            <a:r>
              <a:rPr lang="pt" b="1" i="0" dirty="0">
                <a:solidFill>
                  <a:srgbClr val="01426A"/>
                </a:solidFill>
                <a:effectLst/>
                <a:latin typeface="+mn-lt"/>
              </a:rPr>
              <a:t>Foco em Resultados</a:t>
            </a:r>
          </a:p>
        </p:txBody>
      </p:sp>
      <p:pic>
        <p:nvPicPr>
          <p:cNvPr id="4" name="Imagen 10">
            <a:extLst>
              <a:ext uri="{FF2B5EF4-FFF2-40B4-BE49-F238E27FC236}">
                <a16:creationId xmlns:a16="http://schemas.microsoft.com/office/drawing/2014/main" id="{93596CD8-A10A-C0B2-6D6B-1B4854A0BF09}"/>
              </a:ext>
            </a:extLst>
          </p:cNvPr>
          <p:cNvPicPr>
            <a:picLocks noChangeAspect="1"/>
          </p:cNvPicPr>
          <p:nvPr/>
        </p:nvPicPr>
        <p:blipFill>
          <a:blip r:embed="rId4"/>
          <a:srcRect l="7092" r="7092"/>
          <a:stretch/>
        </p:blipFill>
        <p:spPr>
          <a:xfrm>
            <a:off x="541765" y="3231922"/>
            <a:ext cx="1649143" cy="1080000"/>
          </a:xfrm>
          <a:prstGeom prst="round2DiagRect">
            <a:avLst/>
          </a:prstGeom>
          <a:ln w="28575">
            <a:solidFill>
              <a:srgbClr val="00B2A9"/>
            </a:solidFill>
          </a:ln>
        </p:spPr>
      </p:pic>
      <p:pic>
        <p:nvPicPr>
          <p:cNvPr id="5" name="Imagen 16">
            <a:extLst>
              <a:ext uri="{FF2B5EF4-FFF2-40B4-BE49-F238E27FC236}">
                <a16:creationId xmlns:a16="http://schemas.microsoft.com/office/drawing/2014/main" id="{FB858DA8-E88F-1D54-9CDE-F5F31783712A}"/>
              </a:ext>
            </a:extLst>
          </p:cNvPr>
          <p:cNvPicPr>
            <a:picLocks noChangeAspect="1"/>
          </p:cNvPicPr>
          <p:nvPr/>
        </p:nvPicPr>
        <p:blipFill>
          <a:blip r:embed="rId5"/>
          <a:srcRect l="5656" r="5656"/>
          <a:stretch/>
        </p:blipFill>
        <p:spPr>
          <a:xfrm>
            <a:off x="2448705" y="3231922"/>
            <a:ext cx="1704320" cy="1080000"/>
          </a:xfrm>
          <a:prstGeom prst="round2DiagRect">
            <a:avLst/>
          </a:prstGeom>
          <a:ln w="28575">
            <a:solidFill>
              <a:srgbClr val="B7BF10"/>
            </a:solidFill>
          </a:ln>
        </p:spPr>
      </p:pic>
      <p:pic>
        <p:nvPicPr>
          <p:cNvPr id="9" name="Imagen 22">
            <a:extLst>
              <a:ext uri="{FF2B5EF4-FFF2-40B4-BE49-F238E27FC236}">
                <a16:creationId xmlns:a16="http://schemas.microsoft.com/office/drawing/2014/main" id="{B7E4B247-1188-1E4C-E26B-347C2F404EE4}"/>
              </a:ext>
            </a:extLst>
          </p:cNvPr>
          <p:cNvPicPr>
            <a:picLocks noChangeAspect="1"/>
          </p:cNvPicPr>
          <p:nvPr/>
        </p:nvPicPr>
        <p:blipFill>
          <a:blip r:embed="rId6"/>
          <a:srcRect l="6481" r="6481"/>
          <a:stretch/>
        </p:blipFill>
        <p:spPr>
          <a:xfrm>
            <a:off x="4431567" y="3231922"/>
            <a:ext cx="1672598" cy="1080000"/>
          </a:xfrm>
          <a:prstGeom prst="round2DiagRect">
            <a:avLst/>
          </a:prstGeom>
          <a:ln w="28575">
            <a:solidFill>
              <a:srgbClr val="00A3E0"/>
            </a:solidFill>
          </a:ln>
        </p:spPr>
      </p:pic>
      <p:pic>
        <p:nvPicPr>
          <p:cNvPr id="14" name="Imagen 27">
            <a:extLst>
              <a:ext uri="{FF2B5EF4-FFF2-40B4-BE49-F238E27FC236}">
                <a16:creationId xmlns:a16="http://schemas.microsoft.com/office/drawing/2014/main" id="{8667EC31-4333-15B1-00ED-B52C166381AA}"/>
              </a:ext>
            </a:extLst>
          </p:cNvPr>
          <p:cNvPicPr>
            <a:picLocks noChangeAspect="1"/>
          </p:cNvPicPr>
          <p:nvPr/>
        </p:nvPicPr>
        <p:blipFill>
          <a:blip r:embed="rId7"/>
          <a:srcRect l="6440" r="6440"/>
          <a:stretch/>
        </p:blipFill>
        <p:spPr>
          <a:xfrm>
            <a:off x="6321772" y="3231922"/>
            <a:ext cx="1674175" cy="1080000"/>
          </a:xfrm>
          <a:prstGeom prst="round2DiagRect">
            <a:avLst/>
          </a:prstGeom>
          <a:ln w="28575">
            <a:solidFill>
              <a:srgbClr val="A40CE8"/>
            </a:solidFill>
          </a:ln>
        </p:spPr>
      </p:pic>
      <p:pic>
        <p:nvPicPr>
          <p:cNvPr id="18" name="Imagen 31">
            <a:extLst>
              <a:ext uri="{FF2B5EF4-FFF2-40B4-BE49-F238E27FC236}">
                <a16:creationId xmlns:a16="http://schemas.microsoft.com/office/drawing/2014/main" id="{84D3CDF8-BFDB-8983-0BD1-7EA86F5E85FE}"/>
              </a:ext>
            </a:extLst>
          </p:cNvPr>
          <p:cNvPicPr>
            <a:picLocks noChangeAspect="1"/>
          </p:cNvPicPr>
          <p:nvPr/>
        </p:nvPicPr>
        <p:blipFill>
          <a:blip r:embed="rId8"/>
          <a:srcRect l="4314" r="4314"/>
          <a:stretch/>
        </p:blipFill>
        <p:spPr>
          <a:xfrm>
            <a:off x="8174984" y="3231922"/>
            <a:ext cx="1755918" cy="1080000"/>
          </a:xfrm>
          <a:prstGeom prst="round2DiagRect">
            <a:avLst/>
          </a:prstGeom>
          <a:ln w="28575">
            <a:solidFill>
              <a:srgbClr val="4619FF"/>
            </a:solidFill>
          </a:ln>
        </p:spPr>
      </p:pic>
      <p:pic>
        <p:nvPicPr>
          <p:cNvPr id="22" name="Imagen 19">
            <a:extLst>
              <a:ext uri="{FF2B5EF4-FFF2-40B4-BE49-F238E27FC236}">
                <a16:creationId xmlns:a16="http://schemas.microsoft.com/office/drawing/2014/main" id="{1AFC23EE-ED76-8441-BC3C-FA55D0D11D62}"/>
              </a:ext>
            </a:extLst>
          </p:cNvPr>
          <p:cNvPicPr>
            <a:picLocks noChangeAspect="1"/>
          </p:cNvPicPr>
          <p:nvPr/>
        </p:nvPicPr>
        <p:blipFill>
          <a:blip r:embed="rId9"/>
          <a:srcRect l="6481" r="6481"/>
          <a:stretch/>
        </p:blipFill>
        <p:spPr>
          <a:xfrm>
            <a:off x="10106796" y="3231922"/>
            <a:ext cx="1672598" cy="1080000"/>
          </a:xfrm>
          <a:prstGeom prst="round2DiagRect">
            <a:avLst/>
          </a:prstGeom>
          <a:ln w="28575">
            <a:solidFill>
              <a:srgbClr val="01426A"/>
            </a:solidFill>
          </a:ln>
        </p:spPr>
      </p:pic>
      <p:sp>
        <p:nvSpPr>
          <p:cNvPr id="11" name="Título 10">
            <a:extLst>
              <a:ext uri="{FF2B5EF4-FFF2-40B4-BE49-F238E27FC236}">
                <a16:creationId xmlns:a16="http://schemas.microsoft.com/office/drawing/2014/main" id="{DAD1D0D7-4E40-943C-3557-5BB2B4FCE9BA}"/>
              </a:ext>
            </a:extLst>
          </p:cNvPr>
          <p:cNvSpPr>
            <a:spLocks noGrp="1"/>
          </p:cNvSpPr>
          <p:nvPr>
            <p:ph type="title"/>
          </p:nvPr>
        </p:nvSpPr>
        <p:spPr/>
        <p:txBody>
          <a:bodyPr>
            <a:normAutofit/>
          </a:bodyPr>
          <a:lstStyle/>
          <a:p>
            <a:r>
              <a:rPr lang="pt-BR" sz="2800" b="1" dirty="0">
                <a:latin typeface="Omnes" panose="02000606040000020004" pitchFamily="50" charset="0"/>
              </a:rPr>
              <a:t>Missão e Valores</a:t>
            </a:r>
          </a:p>
        </p:txBody>
      </p:sp>
      <p:sp>
        <p:nvSpPr>
          <p:cNvPr id="3" name="CaixaDeTexto 2">
            <a:extLst>
              <a:ext uri="{FF2B5EF4-FFF2-40B4-BE49-F238E27FC236}">
                <a16:creationId xmlns:a16="http://schemas.microsoft.com/office/drawing/2014/main" id="{BEC8161D-B35C-D043-4B12-9F87194B4408}"/>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Quem Somos</a:t>
            </a:r>
          </a:p>
        </p:txBody>
      </p:sp>
    </p:spTree>
    <p:extLst>
      <p:ext uri="{BB962C8B-B14F-4D97-AF65-F5344CB8AC3E}">
        <p14:creationId xmlns:p14="http://schemas.microsoft.com/office/powerpoint/2010/main" val="374547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E5004033-102D-0807-4945-F206C2CC2F17}"/>
              </a:ext>
            </a:extLst>
          </p:cNvPr>
          <p:cNvSpPr txBox="1"/>
          <p:nvPr/>
        </p:nvSpPr>
        <p:spPr>
          <a:xfrm>
            <a:off x="697160" y="657633"/>
            <a:ext cx="9827455" cy="514599"/>
          </a:xfrm>
          <a:prstGeom prst="rect">
            <a:avLst/>
          </a:prstGeom>
          <a:noFill/>
          <a:ln>
            <a:noFill/>
          </a:ln>
        </p:spPr>
        <p:txBody>
          <a:bodyPr spcFirstLastPara="1" wrap="square" lIns="88659" tIns="44318" rIns="88659" bIns="44318" anchor="t" anchorCtr="0">
            <a:noAutofit/>
          </a:bodyPr>
          <a:lstStyle>
            <a:defPPr>
              <a:defRPr lang="es-ES"/>
            </a:defPPr>
            <a:lvl1pPr defTabSz="886688">
              <a:lnSpc>
                <a:spcPct val="90000"/>
              </a:lnSpc>
              <a:buClr>
                <a:srgbClr val="00B2BA"/>
              </a:buClr>
              <a:buSzPts val="3000"/>
              <a:defRPr sz="2800" b="1" kern="0">
                <a:solidFill>
                  <a:srgbClr val="01426A"/>
                </a:solidFill>
                <a:latin typeface="Omnes SemiBold" charset="0"/>
                <a:ea typeface="Omnes SemiBold" charset="0"/>
                <a:cs typeface="Omnes SemiBold" charset="0"/>
              </a:defRPr>
            </a:lvl1pPr>
          </a:lstStyle>
          <a:p>
            <a:pPr defTabSz="914400">
              <a:lnSpc>
                <a:spcPct val="100000"/>
              </a:lnSpc>
              <a:buClrTx/>
              <a:buSzTx/>
              <a:defRPr/>
            </a:pPr>
            <a:r>
              <a:rPr kumimoji="0" lang="pt" sz="1400" b="0" i="0" u="none" strike="noStrike" kern="0" cap="none" spc="10" normalizeH="0" baseline="0" noProof="0" dirty="0">
                <a:ln>
                  <a:noFill/>
                </a:ln>
                <a:solidFill>
                  <a:srgbClr val="636363"/>
                </a:solidFill>
                <a:effectLst/>
                <a:uLnTx/>
                <a:uFillTx/>
                <a:latin typeface="+mn-lt"/>
                <a:cs typeface="Calibri"/>
                <a:sym typeface="Arial"/>
              </a:rPr>
              <a:t>Essas certificações fornecem um selo de aprovação de terceiros</a:t>
            </a:r>
            <a:r>
              <a:rPr lang="pt" sz="1400" b="0" spc="10" dirty="0">
                <a:solidFill>
                  <a:srgbClr val="636363"/>
                </a:solidFill>
                <a:latin typeface="+mn-lt"/>
                <a:cs typeface="Calibri"/>
              </a:rPr>
              <a:t>,</a:t>
            </a:r>
            <a:r>
              <a:rPr kumimoji="0" lang="pt" sz="1400" b="0" i="0" u="none" strike="noStrike" kern="0" cap="none" spc="10" normalizeH="0" baseline="0" noProof="0" dirty="0">
                <a:ln>
                  <a:noFill/>
                </a:ln>
                <a:solidFill>
                  <a:srgbClr val="636363"/>
                </a:solidFill>
                <a:effectLst/>
                <a:uLnTx/>
                <a:uFillTx/>
                <a:latin typeface="+mn-lt"/>
                <a:cs typeface="Calibri"/>
                <a:sym typeface="Arial"/>
              </a:rPr>
              <a:t> sujeito aos mais altos padrões da indústria</a:t>
            </a:r>
          </a:p>
        </p:txBody>
      </p:sp>
      <p:sp>
        <p:nvSpPr>
          <p:cNvPr id="16" name="CaixaDeTexto 32">
            <a:extLst>
              <a:ext uri="{FF2B5EF4-FFF2-40B4-BE49-F238E27FC236}">
                <a16:creationId xmlns:a16="http://schemas.microsoft.com/office/drawing/2014/main" id="{E07ED096-030A-C627-92D7-A33BA8922B76}"/>
              </a:ext>
            </a:extLst>
          </p:cNvPr>
          <p:cNvSpPr txBox="1"/>
          <p:nvPr/>
        </p:nvSpPr>
        <p:spPr>
          <a:xfrm>
            <a:off x="757103" y="5221137"/>
            <a:ext cx="10676319" cy="307777"/>
          </a:xfrm>
          <a:prstGeom prst="rect">
            <a:avLst/>
          </a:prstGeom>
          <a:noFill/>
        </p:spPr>
        <p:txBody>
          <a:bodyPr wrap="square" lIns="91440" tIns="45720" rIns="91440" bIns="45720" rtlCol="0" anchor="t">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pt" sz="1400" b="0" i="0" u="none" strike="noStrike" kern="0" cap="none" spc="0" normalizeH="0" baseline="0" noProof="0" dirty="0">
                <a:ln>
                  <a:noFill/>
                </a:ln>
                <a:solidFill>
                  <a:srgbClr val="636363"/>
                </a:solidFill>
                <a:effectLst/>
                <a:uLnTx/>
                <a:uFillTx/>
                <a:latin typeface="+mn-lt"/>
                <a:cs typeface="Calibri"/>
                <a:sym typeface="Arial"/>
              </a:rPr>
              <a:t>Também temos um número significativo de </a:t>
            </a:r>
            <a:r>
              <a:rPr lang="pt" dirty="0">
                <a:solidFill>
                  <a:srgbClr val="636363"/>
                </a:solidFill>
                <a:latin typeface="+mn-lt"/>
                <a:cs typeface="Calibri"/>
              </a:rPr>
              <a:t>colaboradores certificados</a:t>
            </a:r>
            <a:r>
              <a:rPr kumimoji="0" lang="pt" sz="1400" b="0" i="0" u="none" strike="noStrike" kern="0" cap="none" spc="0" normalizeH="0" baseline="0" noProof="0" dirty="0">
                <a:ln>
                  <a:noFill/>
                </a:ln>
                <a:solidFill>
                  <a:srgbClr val="636363"/>
                </a:solidFill>
                <a:effectLst/>
                <a:uLnTx/>
                <a:uFillTx/>
                <a:latin typeface="+mn-lt"/>
                <a:cs typeface="Calibri"/>
                <a:sym typeface="Arial"/>
              </a:rPr>
              <a:t> que podem projetar, transformar e executar programas complexos.</a:t>
            </a:r>
            <a:endParaRPr kumimoji="0" lang="en-US" sz="1400" b="0" i="0" u="none" strike="noStrike" kern="1200" cap="none" spc="0" normalizeH="0" baseline="0" noProof="0" dirty="0">
              <a:ln>
                <a:noFill/>
              </a:ln>
              <a:solidFill>
                <a:srgbClr val="636363"/>
              </a:solidFill>
              <a:effectLst/>
              <a:uLnTx/>
              <a:uFillTx/>
              <a:latin typeface="+mn-lt"/>
              <a:cs typeface="Calibri"/>
              <a:sym typeface="Arial"/>
            </a:endParaRPr>
          </a:p>
        </p:txBody>
      </p:sp>
      <p:grpSp>
        <p:nvGrpSpPr>
          <p:cNvPr id="17" name="Grupo 16">
            <a:extLst>
              <a:ext uri="{FF2B5EF4-FFF2-40B4-BE49-F238E27FC236}">
                <a16:creationId xmlns:a16="http://schemas.microsoft.com/office/drawing/2014/main" id="{14EACADF-65C9-1FD9-6F44-5C0728676F58}"/>
              </a:ext>
            </a:extLst>
          </p:cNvPr>
          <p:cNvGrpSpPr/>
          <p:nvPr/>
        </p:nvGrpSpPr>
        <p:grpSpPr>
          <a:xfrm>
            <a:off x="2123141" y="1490159"/>
            <a:ext cx="1954107" cy="1883600"/>
            <a:chOff x="2303253" y="1961519"/>
            <a:chExt cx="1954107" cy="1883600"/>
          </a:xfrm>
        </p:grpSpPr>
        <p:pic>
          <p:nvPicPr>
            <p:cNvPr id="18" name="Imagem 3">
              <a:extLst>
                <a:ext uri="{FF2B5EF4-FFF2-40B4-BE49-F238E27FC236}">
                  <a16:creationId xmlns:a16="http://schemas.microsoft.com/office/drawing/2014/main" id="{27042AA3-7ABC-3F48-AABB-91CD642546B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885134" y="2646610"/>
              <a:ext cx="790344" cy="884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aixaDeTexto 38">
              <a:extLst>
                <a:ext uri="{FF2B5EF4-FFF2-40B4-BE49-F238E27FC236}">
                  <a16:creationId xmlns:a16="http://schemas.microsoft.com/office/drawing/2014/main" id="{A98E19F9-4876-2B0F-CCB0-DED896C594CA}"/>
                </a:ext>
              </a:extLst>
            </p:cNvPr>
            <p:cNvSpPr txBox="1"/>
            <p:nvPr/>
          </p:nvSpPr>
          <p:spPr>
            <a:xfrm>
              <a:off x="2525286" y="1961519"/>
              <a:ext cx="1510042" cy="584775"/>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100" b="1" i="0" u="none" strike="noStrike" kern="1200" cap="none" spc="0" normalizeH="0" baseline="0" noProof="0" dirty="0">
                  <a:ln>
                    <a:noFill/>
                  </a:ln>
                  <a:solidFill>
                    <a:srgbClr val="6E7073"/>
                  </a:solidFill>
                  <a:effectLst/>
                  <a:uLnTx/>
                  <a:uFillTx/>
                  <a:latin typeface="+mn-lt"/>
                  <a:cs typeface="Calibri" panose="020F0502020204030204" pitchFamily="34" charset="0"/>
                  <a:sym typeface="Arial"/>
                </a:rPr>
                <a:t>PROBAR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0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t>Código de Ética e Maturidade da Gestão</a:t>
              </a:r>
              <a:endParaRPr kumimoji="0" lang="en-US" sz="1000" b="0" i="0" u="none" strike="noStrike" kern="1200" cap="none" spc="0" normalizeH="0" baseline="0" noProof="0" dirty="0">
                <a:ln>
                  <a:noFill/>
                </a:ln>
                <a:solidFill>
                  <a:srgbClr val="6E7073"/>
                </a:solidFill>
                <a:effectLst/>
                <a:uLnTx/>
                <a:uFillTx/>
                <a:latin typeface="+mn-lt"/>
                <a:cs typeface="Calibri" panose="020F0502020204030204" pitchFamily="34" charset="0"/>
                <a:sym typeface="Arial"/>
              </a:endParaRPr>
            </a:p>
          </p:txBody>
        </p:sp>
        <p:sp>
          <p:nvSpPr>
            <p:cNvPr id="20" name="CaixaDeTexto 44">
              <a:extLst>
                <a:ext uri="{FF2B5EF4-FFF2-40B4-BE49-F238E27FC236}">
                  <a16:creationId xmlns:a16="http://schemas.microsoft.com/office/drawing/2014/main" id="{DF35EB11-2E65-CF16-BEA3-00E8966D38EC}"/>
                </a:ext>
              </a:extLst>
            </p:cNvPr>
            <p:cNvSpPr txBox="1"/>
            <p:nvPr/>
          </p:nvSpPr>
          <p:spPr>
            <a:xfrm>
              <a:off x="2303253" y="3583509"/>
              <a:ext cx="1954107"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desde 2005</a:t>
              </a:r>
            </a:p>
          </p:txBody>
        </p:sp>
      </p:grpSp>
      <p:grpSp>
        <p:nvGrpSpPr>
          <p:cNvPr id="21" name="Grupo 20">
            <a:extLst>
              <a:ext uri="{FF2B5EF4-FFF2-40B4-BE49-F238E27FC236}">
                <a16:creationId xmlns:a16="http://schemas.microsoft.com/office/drawing/2014/main" id="{50F98B87-6701-70BA-914D-5D9B5E0921BD}"/>
              </a:ext>
            </a:extLst>
          </p:cNvPr>
          <p:cNvGrpSpPr/>
          <p:nvPr/>
        </p:nvGrpSpPr>
        <p:grpSpPr>
          <a:xfrm>
            <a:off x="3859300" y="1490159"/>
            <a:ext cx="1820246" cy="1883600"/>
            <a:chOff x="4326534" y="1961519"/>
            <a:chExt cx="1820246" cy="1883600"/>
          </a:xfrm>
        </p:grpSpPr>
        <p:pic>
          <p:nvPicPr>
            <p:cNvPr id="22" name="Imagem 1">
              <a:extLst>
                <a:ext uri="{FF2B5EF4-FFF2-40B4-BE49-F238E27FC236}">
                  <a16:creationId xmlns:a16="http://schemas.microsoft.com/office/drawing/2014/main" id="{D9D5AB9E-976E-AEB7-0744-3C0C1DCC388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00206" y="2770269"/>
              <a:ext cx="1272902" cy="78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CaixaDeTexto 40">
              <a:extLst>
                <a:ext uri="{FF2B5EF4-FFF2-40B4-BE49-F238E27FC236}">
                  <a16:creationId xmlns:a16="http://schemas.microsoft.com/office/drawing/2014/main" id="{F173DE35-3812-998D-26C2-65DBFBA48280}"/>
                </a:ext>
              </a:extLst>
            </p:cNvPr>
            <p:cNvSpPr txBox="1"/>
            <p:nvPr/>
          </p:nvSpPr>
          <p:spPr>
            <a:xfrm>
              <a:off x="4326534" y="1961519"/>
              <a:ext cx="1820246" cy="59247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100" b="1" i="0" u="none" strike="noStrike" kern="1200" cap="none" spc="0" normalizeH="0" baseline="0" noProof="0" dirty="0">
                  <a:ln>
                    <a:noFill/>
                  </a:ln>
                  <a:solidFill>
                    <a:srgbClr val="6E7073"/>
                  </a:solidFill>
                  <a:effectLst/>
                  <a:uLnTx/>
                  <a:uFillTx/>
                  <a:latin typeface="+mn-lt"/>
                  <a:cs typeface="Calibri" panose="020F0502020204030204" pitchFamily="34" charset="0"/>
                  <a:sym typeface="Arial"/>
                </a:rPr>
                <a:t>Certificação ISO 20000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t>Gestão de TI </a:t>
              </a:r>
              <a:br>
                <a:rPr kumimoji="0" lang="en-US" sz="105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br>
              <a:r>
                <a:rPr kumimoji="0" lang="pt" sz="105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t>(HD1, Monitoramento e CPCs</a:t>
              </a:r>
              <a:r>
                <a:rPr kumimoji="0" lang="pt" sz="1100" b="0" i="0" u="none" strike="noStrike" kern="1200" cap="none" spc="0" normalizeH="0" baseline="0" noProof="0" dirty="0">
                  <a:ln>
                    <a:noFill/>
                  </a:ln>
                  <a:solidFill>
                    <a:srgbClr val="6E7073"/>
                  </a:solidFill>
                  <a:effectLst/>
                  <a:uLnTx/>
                  <a:uFillTx/>
                  <a:latin typeface="+mn-lt"/>
                  <a:cs typeface="Calibri" panose="020F0502020204030204" pitchFamily="34" charset="0"/>
                  <a:sym typeface="Arial"/>
                </a:rPr>
                <a:t>)</a:t>
              </a:r>
            </a:p>
          </p:txBody>
        </p:sp>
        <p:sp>
          <p:nvSpPr>
            <p:cNvPr id="24" name="CaixaDeTexto 45">
              <a:extLst>
                <a:ext uri="{FF2B5EF4-FFF2-40B4-BE49-F238E27FC236}">
                  <a16:creationId xmlns:a16="http://schemas.microsoft.com/office/drawing/2014/main" id="{089A09E6-F493-1669-650D-3E7FA1824936}"/>
                </a:ext>
              </a:extLst>
            </p:cNvPr>
            <p:cNvSpPr txBox="1"/>
            <p:nvPr/>
          </p:nvSpPr>
          <p:spPr>
            <a:xfrm>
              <a:off x="4360520" y="3583509"/>
              <a:ext cx="1752274"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desde 2013</a:t>
              </a:r>
            </a:p>
          </p:txBody>
        </p:sp>
      </p:grpSp>
      <p:grpSp>
        <p:nvGrpSpPr>
          <p:cNvPr id="25" name="Grupo 24">
            <a:extLst>
              <a:ext uri="{FF2B5EF4-FFF2-40B4-BE49-F238E27FC236}">
                <a16:creationId xmlns:a16="http://schemas.microsoft.com/office/drawing/2014/main" id="{278335EF-9CA1-2562-79A7-C253944AC74B}"/>
              </a:ext>
            </a:extLst>
          </p:cNvPr>
          <p:cNvGrpSpPr/>
          <p:nvPr/>
        </p:nvGrpSpPr>
        <p:grpSpPr>
          <a:xfrm>
            <a:off x="5567580" y="1490159"/>
            <a:ext cx="1752274" cy="1883600"/>
            <a:chOff x="6332528" y="1961519"/>
            <a:chExt cx="1752274" cy="1883600"/>
          </a:xfrm>
        </p:grpSpPr>
        <p:pic>
          <p:nvPicPr>
            <p:cNvPr id="35" name="Imagem 1">
              <a:extLst>
                <a:ext uri="{FF2B5EF4-FFF2-40B4-BE49-F238E27FC236}">
                  <a16:creationId xmlns:a16="http://schemas.microsoft.com/office/drawing/2014/main" id="{4767061E-793F-577E-7B02-7BDFFCFF910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649381" y="2751219"/>
              <a:ext cx="1118569" cy="797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aixaDeTexto 42">
              <a:extLst>
                <a:ext uri="{FF2B5EF4-FFF2-40B4-BE49-F238E27FC236}">
                  <a16:creationId xmlns:a16="http://schemas.microsoft.com/office/drawing/2014/main" id="{9C14EAC3-4DB1-197D-0D15-49FA762B2AD1}"/>
                </a:ext>
              </a:extLst>
            </p:cNvPr>
            <p:cNvSpPr txBox="1"/>
            <p:nvPr/>
          </p:nvSpPr>
          <p:spPr>
            <a:xfrm>
              <a:off x="6413777" y="1961519"/>
              <a:ext cx="1589778" cy="584775"/>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100" b="1" i="0" u="none" strike="noStrike" kern="1200" cap="none" spc="0" normalizeH="0" baseline="0" noProof="0" dirty="0">
                  <a:ln>
                    <a:noFill/>
                  </a:ln>
                  <a:solidFill>
                    <a:srgbClr val="6E7073"/>
                  </a:solidFill>
                  <a:effectLst/>
                  <a:uLnTx/>
                  <a:uFillTx/>
                  <a:latin typeface="+mn-lt"/>
                  <a:cs typeface="Calibri" panose="020F0502020204030204" pitchFamily="34" charset="0"/>
                  <a:sym typeface="Arial"/>
                </a:rPr>
                <a:t>Certificação ISO 27001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t>Gestão da Segurança da Informação (CPCs)</a:t>
              </a:r>
            </a:p>
          </p:txBody>
        </p:sp>
        <p:sp>
          <p:nvSpPr>
            <p:cNvPr id="48" name="CaixaDeTexto 46">
              <a:extLst>
                <a:ext uri="{FF2B5EF4-FFF2-40B4-BE49-F238E27FC236}">
                  <a16:creationId xmlns:a16="http://schemas.microsoft.com/office/drawing/2014/main" id="{C86EC102-71E0-0014-31AD-154FE3DA06C0}"/>
                </a:ext>
              </a:extLst>
            </p:cNvPr>
            <p:cNvSpPr txBox="1"/>
            <p:nvPr/>
          </p:nvSpPr>
          <p:spPr>
            <a:xfrm>
              <a:off x="6332528" y="3583509"/>
              <a:ext cx="1752274"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desde 2014</a:t>
              </a:r>
            </a:p>
          </p:txBody>
        </p:sp>
      </p:grpSp>
      <p:grpSp>
        <p:nvGrpSpPr>
          <p:cNvPr id="49" name="Grupo 48">
            <a:extLst>
              <a:ext uri="{FF2B5EF4-FFF2-40B4-BE49-F238E27FC236}">
                <a16:creationId xmlns:a16="http://schemas.microsoft.com/office/drawing/2014/main" id="{B275ACAC-0E21-8C2D-0FF9-362888D14B18}"/>
              </a:ext>
            </a:extLst>
          </p:cNvPr>
          <p:cNvGrpSpPr/>
          <p:nvPr/>
        </p:nvGrpSpPr>
        <p:grpSpPr>
          <a:xfrm>
            <a:off x="8734038" y="1490159"/>
            <a:ext cx="1752274" cy="1883600"/>
            <a:chOff x="9988083" y="1961519"/>
            <a:chExt cx="1752274" cy="1883600"/>
          </a:xfrm>
        </p:grpSpPr>
        <p:pic>
          <p:nvPicPr>
            <p:cNvPr id="50" name="Imagem 33">
              <a:extLst>
                <a:ext uri="{FF2B5EF4-FFF2-40B4-BE49-F238E27FC236}">
                  <a16:creationId xmlns:a16="http://schemas.microsoft.com/office/drawing/2014/main" id="{CFEAF018-1487-1718-4699-70CB76A05806}"/>
                </a:ext>
              </a:extLst>
            </p:cNvPr>
            <p:cNvPicPr>
              <a:picLocks noChangeAspect="1"/>
            </p:cNvPicPr>
            <p:nvPr/>
          </p:nvPicPr>
          <p:blipFill>
            <a:blip r:embed="rId6"/>
            <a:stretch>
              <a:fillRect/>
            </a:stretch>
          </p:blipFill>
          <p:spPr>
            <a:xfrm>
              <a:off x="10294705" y="2468691"/>
              <a:ext cx="1139030" cy="1056555"/>
            </a:xfrm>
            <a:prstGeom prst="rect">
              <a:avLst/>
            </a:prstGeom>
          </p:spPr>
        </p:pic>
        <p:sp>
          <p:nvSpPr>
            <p:cNvPr id="53" name="CaixaDeTexto 50">
              <a:extLst>
                <a:ext uri="{FF2B5EF4-FFF2-40B4-BE49-F238E27FC236}">
                  <a16:creationId xmlns:a16="http://schemas.microsoft.com/office/drawing/2014/main" id="{74E88278-6EBD-C306-DE5B-A8892F6A1C3C}"/>
                </a:ext>
              </a:extLst>
            </p:cNvPr>
            <p:cNvSpPr txBox="1"/>
            <p:nvPr/>
          </p:nvSpPr>
          <p:spPr>
            <a:xfrm>
              <a:off x="9988083" y="1961519"/>
              <a:ext cx="1752274" cy="430887"/>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100" b="1" i="0" u="none" strike="noStrike" kern="1200" cap="none" spc="0" normalizeH="0" baseline="0" noProof="0">
                  <a:ln>
                    <a:noFill/>
                  </a:ln>
                  <a:solidFill>
                    <a:srgbClr val="6E7073"/>
                  </a:solidFill>
                  <a:effectLst/>
                  <a:uLnTx/>
                  <a:uFillTx/>
                  <a:latin typeface="+mn-lt"/>
                  <a:cs typeface="Calibri" panose="020F0502020204030204" pitchFamily="34" charset="0"/>
                  <a:sym typeface="Arial"/>
                </a:rPr>
                <a:t>Certificação ISO 56002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Gestão da Inovação</a:t>
              </a:r>
              <a:endParaRPr kumimoji="0" lang="en-US" sz="1050" b="0" i="0" u="none" strike="noStrike" kern="1200" cap="none" spc="0" normalizeH="0" baseline="0" noProof="0">
                <a:ln>
                  <a:noFill/>
                </a:ln>
                <a:solidFill>
                  <a:srgbClr val="6E7073"/>
                </a:solidFill>
                <a:effectLst/>
                <a:uLnTx/>
                <a:uFillTx/>
                <a:latin typeface="+mn-lt"/>
                <a:cs typeface="Calibri" panose="020F0502020204030204" pitchFamily="34" charset="0"/>
                <a:sym typeface="Arial"/>
              </a:endParaRPr>
            </a:p>
          </p:txBody>
        </p:sp>
        <p:sp>
          <p:nvSpPr>
            <p:cNvPr id="54" name="CaixaDeTexto 51">
              <a:extLst>
                <a:ext uri="{FF2B5EF4-FFF2-40B4-BE49-F238E27FC236}">
                  <a16:creationId xmlns:a16="http://schemas.microsoft.com/office/drawing/2014/main" id="{6892406A-7FA8-0B8F-99F0-C8E09D5E53D4}"/>
                </a:ext>
              </a:extLst>
            </p:cNvPr>
            <p:cNvSpPr txBox="1"/>
            <p:nvPr/>
          </p:nvSpPr>
          <p:spPr>
            <a:xfrm>
              <a:off x="9988083" y="3583509"/>
              <a:ext cx="1752274"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desde 2020</a:t>
              </a:r>
            </a:p>
          </p:txBody>
        </p:sp>
      </p:grpSp>
      <p:cxnSp>
        <p:nvCxnSpPr>
          <p:cNvPr id="55" name="Conector reto 13">
            <a:extLst>
              <a:ext uri="{FF2B5EF4-FFF2-40B4-BE49-F238E27FC236}">
                <a16:creationId xmlns:a16="http://schemas.microsoft.com/office/drawing/2014/main" id="{E6294B8C-FAD0-9FC7-528B-2CFB90CDEE22}"/>
              </a:ext>
            </a:extLst>
          </p:cNvPr>
          <p:cNvCxnSpPr>
            <a:cxnSpLocks/>
          </p:cNvCxnSpPr>
          <p:nvPr/>
        </p:nvCxnSpPr>
        <p:spPr>
          <a:xfrm>
            <a:off x="3857913" y="1475340"/>
            <a:ext cx="0" cy="18432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Conector reto 13">
            <a:extLst>
              <a:ext uri="{FF2B5EF4-FFF2-40B4-BE49-F238E27FC236}">
                <a16:creationId xmlns:a16="http://schemas.microsoft.com/office/drawing/2014/main" id="{52D6E6D9-4B31-E28C-6B55-2B95D5A29A36}"/>
              </a:ext>
            </a:extLst>
          </p:cNvPr>
          <p:cNvCxnSpPr>
            <a:cxnSpLocks/>
          </p:cNvCxnSpPr>
          <p:nvPr/>
        </p:nvCxnSpPr>
        <p:spPr>
          <a:xfrm>
            <a:off x="5679546" y="1475340"/>
            <a:ext cx="0" cy="18432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Conector reto 13">
            <a:extLst>
              <a:ext uri="{FF2B5EF4-FFF2-40B4-BE49-F238E27FC236}">
                <a16:creationId xmlns:a16="http://schemas.microsoft.com/office/drawing/2014/main" id="{9CC88DFB-4BA1-4434-A6D3-7D2B42AAC591}"/>
              </a:ext>
            </a:extLst>
          </p:cNvPr>
          <p:cNvCxnSpPr>
            <a:cxnSpLocks/>
          </p:cNvCxnSpPr>
          <p:nvPr/>
        </p:nvCxnSpPr>
        <p:spPr>
          <a:xfrm>
            <a:off x="7177175" y="1475340"/>
            <a:ext cx="0" cy="18432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5" name="Conector reto 13">
            <a:extLst>
              <a:ext uri="{FF2B5EF4-FFF2-40B4-BE49-F238E27FC236}">
                <a16:creationId xmlns:a16="http://schemas.microsoft.com/office/drawing/2014/main" id="{CA3E6FFC-E8D9-D293-55A1-CD619F0B9B81}"/>
              </a:ext>
            </a:extLst>
          </p:cNvPr>
          <p:cNvCxnSpPr>
            <a:cxnSpLocks/>
          </p:cNvCxnSpPr>
          <p:nvPr/>
        </p:nvCxnSpPr>
        <p:spPr>
          <a:xfrm>
            <a:off x="8726112" y="1475340"/>
            <a:ext cx="0" cy="18432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6" name="Grupo 65">
            <a:extLst>
              <a:ext uri="{FF2B5EF4-FFF2-40B4-BE49-F238E27FC236}">
                <a16:creationId xmlns:a16="http://schemas.microsoft.com/office/drawing/2014/main" id="{AE72745E-BF45-482F-1DAE-A1611CDFBB3E}"/>
              </a:ext>
            </a:extLst>
          </p:cNvPr>
          <p:cNvGrpSpPr/>
          <p:nvPr/>
        </p:nvGrpSpPr>
        <p:grpSpPr>
          <a:xfrm>
            <a:off x="552012" y="1475340"/>
            <a:ext cx="1954107" cy="1893207"/>
            <a:chOff x="346902" y="1946700"/>
            <a:chExt cx="1954107" cy="1893207"/>
          </a:xfrm>
        </p:grpSpPr>
        <p:sp>
          <p:nvSpPr>
            <p:cNvPr id="67" name="CaixaDeTexto 36">
              <a:extLst>
                <a:ext uri="{FF2B5EF4-FFF2-40B4-BE49-F238E27FC236}">
                  <a16:creationId xmlns:a16="http://schemas.microsoft.com/office/drawing/2014/main" id="{ED850802-E161-BA86-7D9D-4AE4B631D2BF}"/>
                </a:ext>
              </a:extLst>
            </p:cNvPr>
            <p:cNvSpPr txBox="1"/>
            <p:nvPr/>
          </p:nvSpPr>
          <p:spPr>
            <a:xfrm>
              <a:off x="346902" y="1961519"/>
              <a:ext cx="1954107" cy="430887"/>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100" b="1" i="0" u="none" strike="noStrike" kern="1200" cap="none" spc="0" normalizeH="0" baseline="0" noProof="0">
                  <a:ln>
                    <a:noFill/>
                  </a:ln>
                  <a:solidFill>
                    <a:srgbClr val="6E7073"/>
                  </a:solidFill>
                  <a:effectLst/>
                  <a:uLnTx/>
                  <a:uFillTx/>
                  <a:latin typeface="+mn-lt"/>
                  <a:cs typeface="Calibri" panose="020F0502020204030204" pitchFamily="34" charset="0"/>
                  <a:sym typeface="Arial"/>
                </a:rPr>
                <a:t>Certificação ISO 9001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Gestão da Qualidade</a:t>
              </a:r>
              <a:endParaRPr kumimoji="0" lang="en-US" sz="1050" b="0" i="0" u="none" strike="noStrike" kern="1200" cap="none" spc="0" normalizeH="0" baseline="0" noProof="0">
                <a:ln>
                  <a:noFill/>
                </a:ln>
                <a:solidFill>
                  <a:srgbClr val="6E7073"/>
                </a:solidFill>
                <a:effectLst/>
                <a:uLnTx/>
                <a:uFillTx/>
                <a:latin typeface="+mn-lt"/>
                <a:cs typeface="Calibri" panose="020F0502020204030204" pitchFamily="34" charset="0"/>
                <a:sym typeface="Arial"/>
              </a:endParaRPr>
            </a:p>
          </p:txBody>
        </p:sp>
        <p:sp>
          <p:nvSpPr>
            <p:cNvPr id="68" name="CaixaDeTexto 43">
              <a:extLst>
                <a:ext uri="{FF2B5EF4-FFF2-40B4-BE49-F238E27FC236}">
                  <a16:creationId xmlns:a16="http://schemas.microsoft.com/office/drawing/2014/main" id="{97C16595-7CCE-0197-6CC5-5F96328365F8}"/>
                </a:ext>
              </a:extLst>
            </p:cNvPr>
            <p:cNvSpPr txBox="1"/>
            <p:nvPr/>
          </p:nvSpPr>
          <p:spPr>
            <a:xfrm>
              <a:off x="346902" y="3578297"/>
              <a:ext cx="1954107"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desde 2000</a:t>
              </a:r>
            </a:p>
          </p:txBody>
        </p:sp>
        <p:cxnSp>
          <p:nvCxnSpPr>
            <p:cNvPr id="69" name="Conector reto 13">
              <a:extLst>
                <a:ext uri="{FF2B5EF4-FFF2-40B4-BE49-F238E27FC236}">
                  <a16:creationId xmlns:a16="http://schemas.microsoft.com/office/drawing/2014/main" id="{FCE0F97A-A519-5A89-57DB-44E3B797787C}"/>
                </a:ext>
              </a:extLst>
            </p:cNvPr>
            <p:cNvCxnSpPr>
              <a:cxnSpLocks/>
            </p:cNvCxnSpPr>
            <p:nvPr/>
          </p:nvCxnSpPr>
          <p:spPr>
            <a:xfrm>
              <a:off x="2153575" y="1946700"/>
              <a:ext cx="0" cy="18432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70" name="Picture 2" descr="imagem">
              <a:extLst>
                <a:ext uri="{FF2B5EF4-FFF2-40B4-BE49-F238E27FC236}">
                  <a16:creationId xmlns:a16="http://schemas.microsoft.com/office/drawing/2014/main" id="{1BE5C7F4-B4CC-D620-5E22-010C25E290F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30427" y="2647163"/>
              <a:ext cx="1225567" cy="9014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 name="Grupo 70">
            <a:extLst>
              <a:ext uri="{FF2B5EF4-FFF2-40B4-BE49-F238E27FC236}">
                <a16:creationId xmlns:a16="http://schemas.microsoft.com/office/drawing/2014/main" id="{72708CF5-6485-27F6-7237-1A6A32FEDB8F}"/>
              </a:ext>
            </a:extLst>
          </p:cNvPr>
          <p:cNvGrpSpPr/>
          <p:nvPr/>
        </p:nvGrpSpPr>
        <p:grpSpPr>
          <a:xfrm>
            <a:off x="7105642" y="1490159"/>
            <a:ext cx="1752274" cy="1883600"/>
            <a:chOff x="8189564" y="1961519"/>
            <a:chExt cx="1752274" cy="1883600"/>
          </a:xfrm>
        </p:grpSpPr>
        <p:sp>
          <p:nvSpPr>
            <p:cNvPr id="72" name="CaixaDeTexto 57">
              <a:extLst>
                <a:ext uri="{FF2B5EF4-FFF2-40B4-BE49-F238E27FC236}">
                  <a16:creationId xmlns:a16="http://schemas.microsoft.com/office/drawing/2014/main" id="{8B0BB89E-445A-8EE9-CE9F-AC4B803CBB33}"/>
                </a:ext>
              </a:extLst>
            </p:cNvPr>
            <p:cNvSpPr txBox="1"/>
            <p:nvPr/>
          </p:nvSpPr>
          <p:spPr>
            <a:xfrm>
              <a:off x="8189564" y="3583509"/>
              <a:ext cx="1752274"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a:ln>
                    <a:noFill/>
                  </a:ln>
                  <a:solidFill>
                    <a:srgbClr val="6E7073"/>
                  </a:solidFill>
                  <a:effectLst/>
                  <a:uLnTx/>
                  <a:uFillTx/>
                  <a:latin typeface="+mn-lt"/>
                  <a:cs typeface="Calibri" panose="020F0502020204030204" pitchFamily="34" charset="0"/>
                  <a:sym typeface="Arial"/>
                </a:rPr>
                <a:t>desde 2019</a:t>
              </a:r>
            </a:p>
          </p:txBody>
        </p:sp>
        <p:sp>
          <p:nvSpPr>
            <p:cNvPr id="73" name="CaixaDeTexto 58">
              <a:extLst>
                <a:ext uri="{FF2B5EF4-FFF2-40B4-BE49-F238E27FC236}">
                  <a16:creationId xmlns:a16="http://schemas.microsoft.com/office/drawing/2014/main" id="{C56E02F1-D2AE-B66B-67E8-98E445D08416}"/>
                </a:ext>
              </a:extLst>
            </p:cNvPr>
            <p:cNvSpPr txBox="1"/>
            <p:nvPr/>
          </p:nvSpPr>
          <p:spPr>
            <a:xfrm>
              <a:off x="8275689" y="1961519"/>
              <a:ext cx="1580026" cy="584775"/>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100" b="1" i="0" u="none" strike="noStrike" kern="1200" cap="none" spc="0" normalizeH="0" baseline="0" noProof="0" dirty="0">
                  <a:ln>
                    <a:noFill/>
                  </a:ln>
                  <a:solidFill>
                    <a:srgbClr val="6E7073"/>
                  </a:solidFill>
                  <a:effectLst/>
                  <a:uLnTx/>
                  <a:uFillTx/>
                  <a:latin typeface="+mn-lt"/>
                  <a:cs typeface="Calibri" panose="020F0502020204030204" pitchFamily="34" charset="0"/>
                  <a:sym typeface="Arial"/>
                </a:rPr>
                <a:t>Certificação NBR 16001</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05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t>Gestão de Responsabilidade Social</a:t>
              </a:r>
              <a:endParaRPr kumimoji="0" lang="en-US" sz="1050" b="0" i="0" u="none" strike="noStrike" kern="1200" cap="none" spc="0" normalizeH="0" baseline="0" noProof="0" dirty="0">
                <a:ln>
                  <a:noFill/>
                </a:ln>
                <a:solidFill>
                  <a:srgbClr val="6E7073"/>
                </a:solidFill>
                <a:effectLst/>
                <a:uLnTx/>
                <a:uFillTx/>
                <a:latin typeface="+mn-lt"/>
                <a:cs typeface="Calibri" panose="020F0502020204030204" pitchFamily="34" charset="0"/>
                <a:sym typeface="Arial"/>
              </a:endParaRPr>
            </a:p>
          </p:txBody>
        </p:sp>
        <p:pic>
          <p:nvPicPr>
            <p:cNvPr id="74" name="Picture 4" descr="imagem">
              <a:extLst>
                <a:ext uri="{FF2B5EF4-FFF2-40B4-BE49-F238E27FC236}">
                  <a16:creationId xmlns:a16="http://schemas.microsoft.com/office/drawing/2014/main" id="{288CBC4E-89A0-9D05-9EAB-42FD44E37985}"/>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510591" y="2741694"/>
              <a:ext cx="1110220" cy="771091"/>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Rounded Corners 2">
            <a:extLst>
              <a:ext uri="{FF2B5EF4-FFF2-40B4-BE49-F238E27FC236}">
                <a16:creationId xmlns:a16="http://schemas.microsoft.com/office/drawing/2014/main" id="{BF51E4D9-A189-D178-D455-B308E6B69AE3}"/>
              </a:ext>
            </a:extLst>
          </p:cNvPr>
          <p:cNvSpPr/>
          <p:nvPr/>
        </p:nvSpPr>
        <p:spPr>
          <a:xfrm>
            <a:off x="582860" y="1372857"/>
            <a:ext cx="11393455" cy="2099914"/>
          </a:xfrm>
          <a:prstGeom prst="roundRect">
            <a:avLst/>
          </a:prstGeom>
          <a:noFill/>
          <a:ln w="19050" cap="rnd">
            <a:solidFill>
              <a:srgbClr val="9D9D9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a:ln>
                <a:noFill/>
              </a:ln>
              <a:solidFill>
                <a:srgbClr val="FFFFFF"/>
              </a:solidFill>
              <a:effectLst/>
              <a:uLnTx/>
              <a:uFillTx/>
              <a:cs typeface="Calibri" panose="020F0502020204030204" pitchFamily="34" charset="0"/>
              <a:sym typeface="Arial"/>
            </a:endParaRPr>
          </a:p>
        </p:txBody>
      </p:sp>
      <p:pic>
        <p:nvPicPr>
          <p:cNvPr id="76" name="Picture 2" descr="ISO 26000, ¿en qué consiste esta norma? - Geoinnova">
            <a:extLst>
              <a:ext uri="{FF2B5EF4-FFF2-40B4-BE49-F238E27FC236}">
                <a16:creationId xmlns:a16="http://schemas.microsoft.com/office/drawing/2014/main" id="{0852A78E-85BA-B4C4-4365-DF693EA66C4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443" r="20590"/>
          <a:stretch/>
        </p:blipFill>
        <p:spPr bwMode="auto">
          <a:xfrm>
            <a:off x="1833858" y="4406027"/>
            <a:ext cx="936515" cy="403895"/>
          </a:xfrm>
          <a:prstGeom prst="rect">
            <a:avLst/>
          </a:prstGeom>
          <a:noFill/>
          <a:extLst>
            <a:ext uri="{909E8E84-426E-40DD-AFC4-6F175D3DCCD1}">
              <a14:hiddenFill xmlns:a14="http://schemas.microsoft.com/office/drawing/2010/main">
                <a:solidFill>
                  <a:srgbClr val="FFFFFF"/>
                </a:solidFill>
              </a14:hiddenFill>
            </a:ext>
          </a:extLst>
        </p:spPr>
      </p:pic>
      <p:pic>
        <p:nvPicPr>
          <p:cNvPr id="77" name="Imagen 82">
            <a:extLst>
              <a:ext uri="{FF2B5EF4-FFF2-40B4-BE49-F238E27FC236}">
                <a16:creationId xmlns:a16="http://schemas.microsoft.com/office/drawing/2014/main" id="{AF38CEFA-3F89-B61A-6A53-AD95ACE97A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78771" y="4268880"/>
            <a:ext cx="686763" cy="699137"/>
          </a:xfrm>
          <a:prstGeom prst="rect">
            <a:avLst/>
          </a:prstGeom>
        </p:spPr>
      </p:pic>
      <p:pic>
        <p:nvPicPr>
          <p:cNvPr id="78" name="Picture 6" descr="ISO 14001 - SGA (Sistema de Gestão Ambiental) na Área Industrial, 3M Management Consultants | Identificação: 10978936533">
            <a:extLst>
              <a:ext uri="{FF2B5EF4-FFF2-40B4-BE49-F238E27FC236}">
                <a16:creationId xmlns:a16="http://schemas.microsoft.com/office/drawing/2014/main" id="{AEAD8966-D732-8A33-B4C7-CCF40786FED7}"/>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2848" t="13028" r="11038" b="12914"/>
          <a:stretch/>
        </p:blipFill>
        <p:spPr bwMode="auto">
          <a:xfrm>
            <a:off x="5192508" y="4304072"/>
            <a:ext cx="860623" cy="736374"/>
          </a:xfrm>
          <a:prstGeom prst="rect">
            <a:avLst/>
          </a:prstGeom>
          <a:noFill/>
          <a:extLst>
            <a:ext uri="{909E8E84-426E-40DD-AFC4-6F175D3DCCD1}">
              <a14:hiddenFill xmlns:a14="http://schemas.microsoft.com/office/drawing/2010/main">
                <a:solidFill>
                  <a:srgbClr val="FFFFFF"/>
                </a:solidFill>
              </a14:hiddenFill>
            </a:ext>
          </a:extLst>
        </p:spPr>
      </p:pic>
      <p:sp>
        <p:nvSpPr>
          <p:cNvPr id="79" name="object 19">
            <a:extLst>
              <a:ext uri="{FF2B5EF4-FFF2-40B4-BE49-F238E27FC236}">
                <a16:creationId xmlns:a16="http://schemas.microsoft.com/office/drawing/2014/main" id="{A4E0999F-9B57-58C9-7C4E-7F4B3EBBE52F}"/>
              </a:ext>
            </a:extLst>
          </p:cNvPr>
          <p:cNvSpPr/>
          <p:nvPr/>
        </p:nvSpPr>
        <p:spPr>
          <a:xfrm>
            <a:off x="8089811" y="4345434"/>
            <a:ext cx="669241" cy="691544"/>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mn-lt"/>
              <a:ea typeface="+mn-ea"/>
              <a:cs typeface="+mn-cs"/>
            </a:endParaRPr>
          </a:p>
        </p:txBody>
      </p:sp>
      <p:pic>
        <p:nvPicPr>
          <p:cNvPr id="80" name="Imagen 116">
            <a:extLst>
              <a:ext uri="{FF2B5EF4-FFF2-40B4-BE49-F238E27FC236}">
                <a16:creationId xmlns:a16="http://schemas.microsoft.com/office/drawing/2014/main" id="{BF82294C-A0A8-2930-7815-A9FFC0AE9BC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10282" y="4340761"/>
            <a:ext cx="548285" cy="619562"/>
          </a:xfrm>
          <a:prstGeom prst="rect">
            <a:avLst/>
          </a:prstGeom>
        </p:spPr>
      </p:pic>
      <p:pic>
        <p:nvPicPr>
          <p:cNvPr id="81" name="Imagen 34">
            <a:extLst>
              <a:ext uri="{FF2B5EF4-FFF2-40B4-BE49-F238E27FC236}">
                <a16:creationId xmlns:a16="http://schemas.microsoft.com/office/drawing/2014/main" id="{96ACECCB-44C2-4495-E813-22F4E96E3B7B}"/>
              </a:ext>
            </a:extLst>
          </p:cNvPr>
          <p:cNvPicPr>
            <a:picLocks noChangeAspect="1"/>
          </p:cNvPicPr>
          <p:nvPr/>
        </p:nvPicPr>
        <p:blipFill>
          <a:blip r:embed="rId14"/>
          <a:stretch>
            <a:fillRect/>
          </a:stretch>
        </p:blipFill>
        <p:spPr>
          <a:xfrm>
            <a:off x="7248994" y="4276473"/>
            <a:ext cx="558731" cy="691544"/>
          </a:xfrm>
          <a:prstGeom prst="rect">
            <a:avLst/>
          </a:prstGeom>
        </p:spPr>
      </p:pic>
      <p:pic>
        <p:nvPicPr>
          <p:cNvPr id="82" name="Imagen 26">
            <a:extLst>
              <a:ext uri="{FF2B5EF4-FFF2-40B4-BE49-F238E27FC236}">
                <a16:creationId xmlns:a16="http://schemas.microsoft.com/office/drawing/2014/main" id="{5F5A760C-C8DF-90AC-BCDD-431B54B49DE4}"/>
              </a:ext>
            </a:extLst>
          </p:cNvPr>
          <p:cNvPicPr>
            <a:picLocks noChangeAspect="1"/>
          </p:cNvPicPr>
          <p:nvPr/>
        </p:nvPicPr>
        <p:blipFill>
          <a:blip r:embed="rId15"/>
          <a:stretch>
            <a:fillRect/>
          </a:stretch>
        </p:blipFill>
        <p:spPr>
          <a:xfrm>
            <a:off x="3141771" y="4191035"/>
            <a:ext cx="846793" cy="782275"/>
          </a:xfrm>
          <a:prstGeom prst="rect">
            <a:avLst/>
          </a:prstGeom>
        </p:spPr>
      </p:pic>
      <p:pic>
        <p:nvPicPr>
          <p:cNvPr id="84" name="Picture 6" descr="Certificação ISO 27701 | Roadmap de auditoria de certificação">
            <a:extLst>
              <a:ext uri="{FF2B5EF4-FFF2-40B4-BE49-F238E27FC236}">
                <a16:creationId xmlns:a16="http://schemas.microsoft.com/office/drawing/2014/main" id="{105CAA32-3D68-F072-F476-3CD3C4DE921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77257" y="4320592"/>
            <a:ext cx="669241" cy="6692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SO 26000, ¿en qué consiste esta norma? - Geoinnova">
            <a:extLst>
              <a:ext uri="{FF2B5EF4-FFF2-40B4-BE49-F238E27FC236}">
                <a16:creationId xmlns:a16="http://schemas.microsoft.com/office/drawing/2014/main" id="{B87E711B-B164-FC3F-A249-C05F7606664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443" r="20590"/>
          <a:stretch/>
        </p:blipFill>
        <p:spPr bwMode="auto">
          <a:xfrm>
            <a:off x="10786583" y="2434115"/>
            <a:ext cx="989321" cy="426669"/>
          </a:xfrm>
          <a:prstGeom prst="rect">
            <a:avLst/>
          </a:prstGeom>
          <a:noFill/>
          <a:extLst>
            <a:ext uri="{909E8E84-426E-40DD-AFC4-6F175D3DCCD1}">
              <a14:hiddenFill xmlns:a14="http://schemas.microsoft.com/office/drawing/2010/main">
                <a:solidFill>
                  <a:srgbClr val="FFFFFF"/>
                </a:solidFill>
              </a14:hiddenFill>
            </a:ext>
          </a:extLst>
        </p:spPr>
      </p:pic>
      <p:cxnSp>
        <p:nvCxnSpPr>
          <p:cNvPr id="4" name="Conector reto 13">
            <a:extLst>
              <a:ext uri="{FF2B5EF4-FFF2-40B4-BE49-F238E27FC236}">
                <a16:creationId xmlns:a16="http://schemas.microsoft.com/office/drawing/2014/main" id="{51D8D993-F21A-AE3B-EDA1-6A845E85DF9E}"/>
              </a:ext>
            </a:extLst>
          </p:cNvPr>
          <p:cNvCxnSpPr>
            <a:cxnSpLocks/>
          </p:cNvCxnSpPr>
          <p:nvPr/>
        </p:nvCxnSpPr>
        <p:spPr>
          <a:xfrm>
            <a:off x="10488808" y="1468654"/>
            <a:ext cx="0" cy="184324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8" name="Agrupar 7">
            <a:extLst>
              <a:ext uri="{FF2B5EF4-FFF2-40B4-BE49-F238E27FC236}">
                <a16:creationId xmlns:a16="http://schemas.microsoft.com/office/drawing/2014/main" id="{538008F4-7B91-F0E7-0A42-D583A768A626}"/>
              </a:ext>
            </a:extLst>
          </p:cNvPr>
          <p:cNvGrpSpPr/>
          <p:nvPr/>
        </p:nvGrpSpPr>
        <p:grpSpPr>
          <a:xfrm>
            <a:off x="10410315" y="1475340"/>
            <a:ext cx="1752274" cy="1883600"/>
            <a:chOff x="10007060" y="2432455"/>
            <a:chExt cx="1752274" cy="1883600"/>
          </a:xfrm>
        </p:grpSpPr>
        <p:sp>
          <p:nvSpPr>
            <p:cNvPr id="9" name="CaixaDeTexto 50">
              <a:extLst>
                <a:ext uri="{FF2B5EF4-FFF2-40B4-BE49-F238E27FC236}">
                  <a16:creationId xmlns:a16="http://schemas.microsoft.com/office/drawing/2014/main" id="{E1F3347B-844F-BC43-0057-66EBEEC9C8CA}"/>
                </a:ext>
              </a:extLst>
            </p:cNvPr>
            <p:cNvSpPr txBox="1"/>
            <p:nvPr/>
          </p:nvSpPr>
          <p:spPr>
            <a:xfrm>
              <a:off x="10007060" y="2432455"/>
              <a:ext cx="1628021" cy="615553"/>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 sz="1200" b="1" i="0" u="none" strike="noStrike" kern="1200" cap="none" spc="0" normalizeH="0" baseline="0" noProof="0" dirty="0">
                  <a:ln>
                    <a:noFill/>
                  </a:ln>
                  <a:solidFill>
                    <a:srgbClr val="6E7073"/>
                  </a:solidFill>
                  <a:effectLst/>
                  <a:uLnTx/>
                  <a:uFillTx/>
                  <a:latin typeface="+mn-lt"/>
                  <a:cs typeface="Calibri" panose="020F0502020204030204" pitchFamily="34" charset="0"/>
                  <a:sym typeface="Arial"/>
                </a:rPr>
                <a:t>Certificação ISO 2600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100" b="0" i="0" u="none" strike="noStrike" kern="0" cap="none" spc="0" normalizeH="0" baseline="0" noProof="0" dirty="0">
                  <a:ln>
                    <a:noFill/>
                  </a:ln>
                  <a:solidFill>
                    <a:srgbClr val="6E7073"/>
                  </a:solidFill>
                  <a:effectLst/>
                  <a:uLnTx/>
                  <a:uFillTx/>
                  <a:latin typeface="+mn-lt"/>
                  <a:cs typeface="Calibri" panose="020F0502020204030204" pitchFamily="34" charset="0"/>
                  <a:sym typeface="Arial"/>
                </a:rPr>
                <a:t>Gestão Responsabilidade Social</a:t>
              </a:r>
              <a:endParaRPr kumimoji="0" lang="es-419" sz="1100" b="0" i="0" u="none" strike="noStrike" kern="1200" cap="none" spc="0" normalizeH="0" baseline="0" noProof="0" dirty="0">
                <a:ln>
                  <a:noFill/>
                </a:ln>
                <a:solidFill>
                  <a:srgbClr val="6E7073"/>
                </a:solidFill>
                <a:effectLst/>
                <a:uLnTx/>
                <a:uFillTx/>
                <a:latin typeface="+mn-lt"/>
                <a:cs typeface="Calibri" panose="020F0502020204030204" pitchFamily="34" charset="0"/>
                <a:sym typeface="Arial"/>
              </a:endParaRPr>
            </a:p>
          </p:txBody>
        </p:sp>
        <p:sp>
          <p:nvSpPr>
            <p:cNvPr id="10" name="CaixaDeTexto 51">
              <a:extLst>
                <a:ext uri="{FF2B5EF4-FFF2-40B4-BE49-F238E27FC236}">
                  <a16:creationId xmlns:a16="http://schemas.microsoft.com/office/drawing/2014/main" id="{02970C63-85E1-A70A-9A0C-D96A82CF1221}"/>
                </a:ext>
              </a:extLst>
            </p:cNvPr>
            <p:cNvSpPr txBox="1"/>
            <p:nvPr/>
          </p:nvSpPr>
          <p:spPr>
            <a:xfrm>
              <a:off x="10007060" y="4054445"/>
              <a:ext cx="1752274" cy="261610"/>
            </a:xfrm>
            <a:prstGeom prst="rect">
              <a:avLst/>
            </a:prstGeom>
            <a:noFill/>
          </p:spPr>
          <p:txBody>
            <a:bodyPr wrap="square" rtlCol="0">
              <a:spAutoFit/>
            </a:bodyPr>
            <a:lstStyle>
              <a:defPPr>
                <a:defRPr lang="pt-BR"/>
              </a:defPPr>
              <a:lvl1pPr>
                <a:defRPr>
                  <a:solidFill>
                    <a:schemeClr val="tx1">
                      <a:lumMod val="65000"/>
                      <a:lumOff val="35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t" sz="1100" b="0" i="0" u="none" strike="noStrike" kern="0" cap="none" spc="0" normalizeH="0" baseline="0" noProof="0" err="1">
                  <a:ln>
                    <a:noFill/>
                  </a:ln>
                  <a:solidFill>
                    <a:srgbClr val="6E7073"/>
                  </a:solidFill>
                  <a:effectLst/>
                  <a:uLnTx/>
                  <a:uFillTx/>
                  <a:latin typeface="+mn-lt"/>
                  <a:cs typeface="Calibri" panose="020F0502020204030204" pitchFamily="34" charset="0"/>
                  <a:sym typeface="Arial"/>
                </a:rPr>
                <a:t>Desde 2022</a:t>
              </a:r>
              <a:endParaRPr kumimoji="0" lang="es-419" sz="1100" b="0" i="0" u="none" strike="noStrike" kern="1200" cap="none" spc="0" normalizeH="0" baseline="0" noProof="0">
                <a:ln>
                  <a:noFill/>
                </a:ln>
                <a:solidFill>
                  <a:srgbClr val="6E7073"/>
                </a:solidFill>
                <a:effectLst/>
                <a:uLnTx/>
                <a:uFillTx/>
                <a:latin typeface="+mn-lt"/>
                <a:cs typeface="Calibri" panose="020F0502020204030204" pitchFamily="34" charset="0"/>
                <a:sym typeface="Arial"/>
              </a:endParaRPr>
            </a:p>
          </p:txBody>
        </p:sp>
      </p:grpSp>
      <p:sp>
        <p:nvSpPr>
          <p:cNvPr id="5" name="Título 4">
            <a:extLst>
              <a:ext uri="{FF2B5EF4-FFF2-40B4-BE49-F238E27FC236}">
                <a16:creationId xmlns:a16="http://schemas.microsoft.com/office/drawing/2014/main" id="{2A26D2CA-8067-F50E-2AB0-FD2B12AB3978}"/>
              </a:ext>
            </a:extLst>
          </p:cNvPr>
          <p:cNvSpPr>
            <a:spLocks noGrp="1"/>
          </p:cNvSpPr>
          <p:nvPr>
            <p:ph type="title"/>
          </p:nvPr>
        </p:nvSpPr>
        <p:spPr>
          <a:prstGeom prst="rect">
            <a:avLst/>
          </a:prstGeom>
        </p:spPr>
        <p:txBody>
          <a:bodyPr lIns="91440" tIns="45720" rIns="91440" bIns="45720" anchor="t">
            <a:noAutofit/>
          </a:bodyPr>
          <a:lstStyle/>
          <a:p>
            <a:r>
              <a:rPr lang="pt" sz="2800" b="1" dirty="0">
                <a:latin typeface="Omnes" panose="02000606040000020004" pitchFamily="50" charset="0"/>
                <a:cs typeface="Calibri"/>
              </a:rPr>
              <a:t>com várias certificações</a:t>
            </a:r>
            <a:br>
              <a:rPr lang="en-US" sz="2800" b="1" dirty="0">
                <a:latin typeface="Omnes" panose="02000606040000020004" pitchFamily="50" charset="0"/>
                <a:cs typeface="Calibri" panose="020F0502020204030204" pitchFamily="34" charset="0"/>
              </a:rPr>
            </a:br>
            <a:endParaRPr lang="en-US" sz="2800" b="1" dirty="0">
              <a:latin typeface="Omnes" panose="02000606040000020004" pitchFamily="50" charset="0"/>
            </a:endParaRPr>
          </a:p>
        </p:txBody>
      </p:sp>
      <p:sp>
        <p:nvSpPr>
          <p:cNvPr id="26" name="CaixaDeTexto 25">
            <a:extLst>
              <a:ext uri="{FF2B5EF4-FFF2-40B4-BE49-F238E27FC236}">
                <a16:creationId xmlns:a16="http://schemas.microsoft.com/office/drawing/2014/main" id="{6E05EE69-E746-65DE-401A-8246492B3947}"/>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Por que Atento?</a:t>
            </a:r>
          </a:p>
        </p:txBody>
      </p:sp>
    </p:spTree>
    <p:extLst>
      <p:ext uri="{BB962C8B-B14F-4D97-AF65-F5344CB8AC3E}">
        <p14:creationId xmlns:p14="http://schemas.microsoft.com/office/powerpoint/2010/main" val="620533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86043477-0D0A-124B-2095-6E77D95ECDAA}"/>
              </a:ext>
            </a:extLst>
          </p:cNvPr>
          <p:cNvSpPr>
            <a:spLocks noGrp="1"/>
          </p:cNvSpPr>
          <p:nvPr>
            <p:ph type="title"/>
          </p:nvPr>
        </p:nvSpPr>
        <p:spPr>
          <a:xfrm>
            <a:off x="624114" y="151440"/>
            <a:ext cx="11469292" cy="614684"/>
          </a:xfrm>
          <a:prstGeom prst="rect">
            <a:avLst/>
          </a:prstGeom>
        </p:spPr>
        <p:txBody>
          <a:bodyPr lIns="91440" tIns="45720" rIns="91440" bIns="45720" anchor="t">
            <a:noAutofit/>
          </a:bodyPr>
          <a:lstStyle/>
          <a:p>
            <a:r>
              <a:rPr lang="pt" sz="2800" b="1" dirty="0">
                <a:latin typeface="Omnes" panose="02000606040000020004" pitchFamily="50" charset="0"/>
              </a:rPr>
              <a:t>Globalmente, temos ampla experiência em importantes indústrias</a:t>
            </a:r>
            <a:br>
              <a:rPr lang="en-US" sz="2800" b="1" dirty="0">
                <a:latin typeface="Omnes" panose="02000606040000020004" pitchFamily="50" charset="0"/>
              </a:rPr>
            </a:br>
            <a:endParaRPr lang="en-US" b="1" dirty="0">
              <a:latin typeface="Omnes" panose="02000606040000020004" pitchFamily="50" charset="0"/>
            </a:endParaRPr>
          </a:p>
        </p:txBody>
      </p:sp>
      <p:sp>
        <p:nvSpPr>
          <p:cNvPr id="14" name="object 2">
            <a:extLst>
              <a:ext uri="{FF2B5EF4-FFF2-40B4-BE49-F238E27FC236}">
                <a16:creationId xmlns:a16="http://schemas.microsoft.com/office/drawing/2014/main" id="{9ADACA80-AB10-186C-B014-034D047DED77}"/>
              </a:ext>
            </a:extLst>
          </p:cNvPr>
          <p:cNvSpPr txBox="1">
            <a:spLocks/>
          </p:cNvSpPr>
          <p:nvPr/>
        </p:nvSpPr>
        <p:spPr>
          <a:xfrm>
            <a:off x="702420" y="681437"/>
            <a:ext cx="11194928" cy="279782"/>
          </a:xfrm>
          <a:prstGeom prst="rect">
            <a:avLst/>
          </a:prstGeom>
        </p:spPr>
        <p:txBody>
          <a:bodyPr vert="horz" wrap="square" lIns="0" tIns="33236" rIns="0" bIns="0" rtlCol="0" anchor="t">
            <a:spAutoFit/>
          </a:bodyPr>
          <a:lstStyle>
            <a:lvl1pPr>
              <a:defRPr>
                <a:latin typeface="+mj-lt"/>
                <a:ea typeface="+mj-ea"/>
                <a:cs typeface="+mj-cs"/>
              </a:defRPr>
            </a:lvl1pPr>
          </a:lstStyle>
          <a:p>
            <a:pPr algn="l"/>
            <a:r>
              <a:rPr lang="pt" sz="1600" dirty="0">
                <a:solidFill>
                  <a:schemeClr val="tx1">
                    <a:lumMod val="50000"/>
                    <a:lumOff val="50000"/>
                  </a:schemeClr>
                </a:solidFill>
                <a:latin typeface="+mn-lt"/>
              </a:rPr>
              <a:t>Apoiamos marcas líderes globais em diversos setores, em várias linhas de serviços</a:t>
            </a:r>
            <a:endParaRPr lang="en-US" sz="1600" b="0" i="0" u="none" strike="noStrike" baseline="0" dirty="0">
              <a:solidFill>
                <a:schemeClr val="tx1">
                  <a:lumMod val="50000"/>
                  <a:lumOff val="50000"/>
                </a:schemeClr>
              </a:solidFill>
              <a:latin typeface="+mn-lt"/>
            </a:endParaRPr>
          </a:p>
        </p:txBody>
      </p:sp>
      <p:sp>
        <p:nvSpPr>
          <p:cNvPr id="2" name="CaixaDeTexto 1">
            <a:extLst>
              <a:ext uri="{FF2B5EF4-FFF2-40B4-BE49-F238E27FC236}">
                <a16:creationId xmlns:a16="http://schemas.microsoft.com/office/drawing/2014/main" id="{935CE449-92B8-6C4E-974F-0F6459BD0EC0}"/>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Por que Atento?</a:t>
            </a:r>
          </a:p>
        </p:txBody>
      </p:sp>
      <p:grpSp>
        <p:nvGrpSpPr>
          <p:cNvPr id="7" name="object 10">
            <a:extLst>
              <a:ext uri="{FF2B5EF4-FFF2-40B4-BE49-F238E27FC236}">
                <a16:creationId xmlns:a16="http://schemas.microsoft.com/office/drawing/2014/main" id="{77AB8114-B52D-A9CF-4665-AEAF25ACE9C8}"/>
              </a:ext>
            </a:extLst>
          </p:cNvPr>
          <p:cNvGrpSpPr/>
          <p:nvPr/>
        </p:nvGrpSpPr>
        <p:grpSpPr>
          <a:xfrm>
            <a:off x="4214621" y="1683257"/>
            <a:ext cx="737870" cy="731520"/>
            <a:chOff x="4214621" y="1683257"/>
            <a:chExt cx="737870" cy="731520"/>
          </a:xfrm>
        </p:grpSpPr>
        <p:sp>
          <p:nvSpPr>
            <p:cNvPr id="9" name="object 11">
              <a:extLst>
                <a:ext uri="{FF2B5EF4-FFF2-40B4-BE49-F238E27FC236}">
                  <a16:creationId xmlns:a16="http://schemas.microsoft.com/office/drawing/2014/main" id="{8B7289EF-6809-9F27-5B21-17774AD6DCD5}"/>
                </a:ext>
              </a:extLst>
            </p:cNvPr>
            <p:cNvSpPr/>
            <p:nvPr/>
          </p:nvSpPr>
          <p:spPr>
            <a:xfrm>
              <a:off x="4214621" y="1683257"/>
              <a:ext cx="737870" cy="731520"/>
            </a:xfrm>
            <a:custGeom>
              <a:avLst/>
              <a:gdLst/>
              <a:ahLst/>
              <a:cxnLst/>
              <a:rect l="l" t="t" r="r" b="b"/>
              <a:pathLst>
                <a:path w="737870" h="731519">
                  <a:moveTo>
                    <a:pt x="0" y="365760"/>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60"/>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20"/>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60"/>
                  </a:lnTo>
                  <a:close/>
                </a:path>
              </a:pathLst>
            </a:custGeom>
            <a:ln w="28575">
              <a:solidFill>
                <a:srgbClr val="00B2A9"/>
              </a:solidFill>
            </a:ln>
          </p:spPr>
          <p:txBody>
            <a:bodyPr wrap="square" lIns="0" tIns="0" rIns="0" bIns="0" rtlCol="0"/>
            <a:lstStyle/>
            <a:p>
              <a:endParaRPr dirty="0">
                <a:latin typeface="+mn-lt"/>
                <a:cs typeface="Calibri" panose="020F0502020204030204" pitchFamily="34" charset="0"/>
              </a:endParaRPr>
            </a:p>
          </p:txBody>
        </p:sp>
        <p:pic>
          <p:nvPicPr>
            <p:cNvPr id="11" name="object 12">
              <a:extLst>
                <a:ext uri="{FF2B5EF4-FFF2-40B4-BE49-F238E27FC236}">
                  <a16:creationId xmlns:a16="http://schemas.microsoft.com/office/drawing/2014/main" id="{F653E17B-1D68-A8FE-875B-296CB8CFCAF0}"/>
                </a:ext>
              </a:extLst>
            </p:cNvPr>
            <p:cNvPicPr/>
            <p:nvPr/>
          </p:nvPicPr>
          <p:blipFill>
            <a:blip r:embed="rId3" cstate="print"/>
            <a:stretch>
              <a:fillRect/>
            </a:stretch>
          </p:blipFill>
          <p:spPr>
            <a:xfrm>
              <a:off x="4351019" y="1792518"/>
              <a:ext cx="451104" cy="478044"/>
            </a:xfrm>
            <a:prstGeom prst="rect">
              <a:avLst/>
            </a:prstGeom>
          </p:spPr>
        </p:pic>
      </p:grpSp>
      <p:graphicFrame>
        <p:nvGraphicFramePr>
          <p:cNvPr id="12" name="object 13">
            <a:extLst>
              <a:ext uri="{FF2B5EF4-FFF2-40B4-BE49-F238E27FC236}">
                <a16:creationId xmlns:a16="http://schemas.microsoft.com/office/drawing/2014/main" id="{433E0657-465C-EBFF-E1B5-9223B9491114}"/>
              </a:ext>
            </a:extLst>
          </p:cNvPr>
          <p:cNvGraphicFramePr>
            <a:graphicFrameLocks noGrp="1"/>
          </p:cNvGraphicFramePr>
          <p:nvPr>
            <p:extLst>
              <p:ext uri="{D42A27DB-BD31-4B8C-83A1-F6EECF244321}">
                <p14:modId xmlns:p14="http://schemas.microsoft.com/office/powerpoint/2010/main" val="4132923553"/>
              </p:ext>
            </p:extLst>
          </p:nvPr>
        </p:nvGraphicFramePr>
        <p:xfrm>
          <a:off x="1062482" y="2548508"/>
          <a:ext cx="10190479" cy="633729"/>
        </p:xfrm>
        <a:graphic>
          <a:graphicData uri="http://schemas.openxmlformats.org/drawingml/2006/table">
            <a:tbl>
              <a:tblPr firstRow="1" bandRow="1">
                <a:tableStyleId>{2D5ABB26-0587-4C30-8999-92F81FD0307C}</a:tableStyleId>
              </a:tblPr>
              <a:tblGrid>
                <a:gridCol w="1256030">
                  <a:extLst>
                    <a:ext uri="{9D8B030D-6E8A-4147-A177-3AD203B41FA5}">
                      <a16:colId xmlns:a16="http://schemas.microsoft.com/office/drawing/2014/main" val="20000"/>
                    </a:ext>
                  </a:extLst>
                </a:gridCol>
                <a:gridCol w="1506220">
                  <a:extLst>
                    <a:ext uri="{9D8B030D-6E8A-4147-A177-3AD203B41FA5}">
                      <a16:colId xmlns:a16="http://schemas.microsoft.com/office/drawing/2014/main" val="20001"/>
                    </a:ext>
                  </a:extLst>
                </a:gridCol>
                <a:gridCol w="1468120">
                  <a:extLst>
                    <a:ext uri="{9D8B030D-6E8A-4147-A177-3AD203B41FA5}">
                      <a16:colId xmlns:a16="http://schemas.microsoft.com/office/drawing/2014/main" val="20002"/>
                    </a:ext>
                  </a:extLst>
                </a:gridCol>
                <a:gridCol w="1581785">
                  <a:extLst>
                    <a:ext uri="{9D8B030D-6E8A-4147-A177-3AD203B41FA5}">
                      <a16:colId xmlns:a16="http://schemas.microsoft.com/office/drawing/2014/main" val="20003"/>
                    </a:ext>
                  </a:extLst>
                </a:gridCol>
                <a:gridCol w="1513839">
                  <a:extLst>
                    <a:ext uri="{9D8B030D-6E8A-4147-A177-3AD203B41FA5}">
                      <a16:colId xmlns:a16="http://schemas.microsoft.com/office/drawing/2014/main" val="20004"/>
                    </a:ext>
                  </a:extLst>
                </a:gridCol>
                <a:gridCol w="1434465">
                  <a:extLst>
                    <a:ext uri="{9D8B030D-6E8A-4147-A177-3AD203B41FA5}">
                      <a16:colId xmlns:a16="http://schemas.microsoft.com/office/drawing/2014/main" val="20005"/>
                    </a:ext>
                  </a:extLst>
                </a:gridCol>
                <a:gridCol w="1430020">
                  <a:extLst>
                    <a:ext uri="{9D8B030D-6E8A-4147-A177-3AD203B41FA5}">
                      <a16:colId xmlns:a16="http://schemas.microsoft.com/office/drawing/2014/main" val="20006"/>
                    </a:ext>
                  </a:extLst>
                </a:gridCol>
              </a:tblGrid>
              <a:tr h="80392">
                <a:tc>
                  <a:txBody>
                    <a:bodyPr/>
                    <a:lstStyle/>
                    <a:p>
                      <a:pPr marL="31750">
                        <a:lnSpc>
                          <a:spcPts val="1645"/>
                        </a:lnSpc>
                      </a:pPr>
                      <a:r>
                        <a:rPr lang="pt-BR" sz="1400" b="1" spc="-10" dirty="0">
                          <a:solidFill>
                            <a:srgbClr val="00B2A9"/>
                          </a:solidFill>
                          <a:latin typeface="Calibri"/>
                          <a:cs typeface="Calibri"/>
                          <a:hlinkClick r:id="" action="ppaction://noaction">
                            <a:extLst>
                              <a:ext uri="{A12FA001-AC4F-418D-AE19-62706E023703}">
                                <ahyp:hlinkClr xmlns:ahyp="http://schemas.microsoft.com/office/drawing/2018/hyperlinkcolor" val="tx"/>
                              </a:ext>
                            </a:extLst>
                          </a:hlinkClick>
                        </a:rPr>
                        <a:t>Automotiva</a:t>
                      </a:r>
                      <a:endParaRPr sz="1400" dirty="0">
                        <a:solidFill>
                          <a:srgbClr val="00B2A9"/>
                        </a:solidFill>
                        <a:latin typeface="Calibri"/>
                        <a:cs typeface="Calibri"/>
                      </a:endParaRPr>
                    </a:p>
                  </a:txBody>
                  <a:tcPr marL="0" marR="0" marT="0" marB="0"/>
                </a:tc>
                <a:tc>
                  <a:txBody>
                    <a:bodyPr/>
                    <a:lstStyle/>
                    <a:p>
                      <a:pPr marR="58419" algn="ctr">
                        <a:lnSpc>
                          <a:spcPts val="1655"/>
                        </a:lnSpc>
                      </a:pPr>
                      <a:r>
                        <a:rPr lang="pt-BR" sz="1400" b="1" spc="-10" dirty="0">
                          <a:solidFill>
                            <a:srgbClr val="00B2A9"/>
                          </a:solidFill>
                          <a:latin typeface="Calibri"/>
                          <a:cs typeface="Calibri"/>
                          <a:hlinkClick r:id="" action="ppaction://noaction">
                            <a:extLst>
                              <a:ext uri="{A12FA001-AC4F-418D-AE19-62706E023703}">
                                <ahyp:hlinkClr xmlns:ahyp="http://schemas.microsoft.com/office/drawing/2018/hyperlinkcolor" val="tx"/>
                              </a:ext>
                            </a:extLst>
                          </a:hlinkClick>
                        </a:rPr>
                        <a:t>Bens de Consumo</a:t>
                      </a:r>
                      <a:endParaRPr sz="1400" dirty="0">
                        <a:solidFill>
                          <a:srgbClr val="00B2A9"/>
                        </a:solidFill>
                        <a:latin typeface="Calibri"/>
                        <a:cs typeface="Calibri"/>
                      </a:endParaRPr>
                    </a:p>
                  </a:txBody>
                  <a:tcPr marL="0" marR="0" marT="0" marB="0"/>
                </a:tc>
                <a:tc>
                  <a:txBody>
                    <a:bodyPr/>
                    <a:lstStyle/>
                    <a:p>
                      <a:pPr marL="9525" algn="ctr">
                        <a:lnSpc>
                          <a:spcPts val="1655"/>
                        </a:lnSpc>
                      </a:pPr>
                      <a:r>
                        <a:rPr lang="pt-BR" sz="1400" b="1" spc="-10" dirty="0">
                          <a:solidFill>
                            <a:srgbClr val="00B2A9"/>
                          </a:solidFill>
                          <a:latin typeface="Calibri"/>
                          <a:cs typeface="Calibri"/>
                          <a:hlinkClick r:id="" action="ppaction://noaction">
                            <a:extLst>
                              <a:ext uri="{A12FA001-AC4F-418D-AE19-62706E023703}">
                                <ahyp:hlinkClr xmlns:ahyp="http://schemas.microsoft.com/office/drawing/2018/hyperlinkcolor" val="tx"/>
                              </a:ext>
                            </a:extLst>
                          </a:hlinkClick>
                        </a:rPr>
                        <a:t>Finanças</a:t>
                      </a:r>
                      <a:endParaRPr sz="1400" dirty="0">
                        <a:solidFill>
                          <a:srgbClr val="00B2A9"/>
                        </a:solidFill>
                        <a:latin typeface="Calibri"/>
                        <a:cs typeface="Calibri"/>
                      </a:endParaRPr>
                    </a:p>
                  </a:txBody>
                  <a:tcPr marL="0" marR="0" marT="0" marB="0"/>
                </a:tc>
                <a:tc>
                  <a:txBody>
                    <a:bodyPr/>
                    <a:lstStyle/>
                    <a:p>
                      <a:pPr marL="400050">
                        <a:lnSpc>
                          <a:spcPts val="1655"/>
                        </a:lnSpc>
                      </a:pPr>
                      <a:r>
                        <a:rPr lang="pt-BR" sz="1400" b="1" spc="-10" dirty="0">
                          <a:solidFill>
                            <a:srgbClr val="00B2A9"/>
                          </a:solidFill>
                          <a:latin typeface="Calibri"/>
                          <a:cs typeface="Calibri"/>
                        </a:rPr>
                        <a:t>     </a:t>
                      </a:r>
                      <a:r>
                        <a:rPr lang="pt-BR" sz="1400" b="1" spc="-10" dirty="0">
                          <a:solidFill>
                            <a:srgbClr val="00B2A9"/>
                          </a:solidFill>
                          <a:latin typeface="Calibri"/>
                          <a:cs typeface="Calibri"/>
                          <a:hlinkClick r:id="" action="ppaction://noaction">
                            <a:extLst>
                              <a:ext uri="{A12FA001-AC4F-418D-AE19-62706E023703}">
                                <ahyp:hlinkClr xmlns:ahyp="http://schemas.microsoft.com/office/drawing/2018/hyperlinkcolor" val="tx"/>
                              </a:ext>
                            </a:extLst>
                          </a:hlinkClick>
                        </a:rPr>
                        <a:t>Saúde</a:t>
                      </a:r>
                      <a:endParaRPr sz="1400" dirty="0">
                        <a:solidFill>
                          <a:srgbClr val="00B2A9"/>
                        </a:solidFill>
                        <a:latin typeface="Calibri"/>
                        <a:cs typeface="Calibri"/>
                      </a:endParaRPr>
                    </a:p>
                  </a:txBody>
                  <a:tcPr marL="0" marR="0" marT="0" marB="0"/>
                </a:tc>
                <a:tc>
                  <a:txBody>
                    <a:bodyPr/>
                    <a:lstStyle/>
                    <a:p>
                      <a:pPr marL="374015">
                        <a:lnSpc>
                          <a:spcPts val="1655"/>
                        </a:lnSpc>
                      </a:pPr>
                      <a:r>
                        <a:rPr lang="pt-BR" sz="1400" b="1" spc="-10" dirty="0">
                          <a:solidFill>
                            <a:srgbClr val="00B2A9"/>
                          </a:solidFill>
                          <a:latin typeface="Calibri"/>
                          <a:cs typeface="Calibri"/>
                        </a:rPr>
                        <a:t>Tecnologia</a:t>
                      </a:r>
                      <a:endParaRPr sz="1400" dirty="0">
                        <a:solidFill>
                          <a:srgbClr val="00B2A9"/>
                        </a:solidFill>
                        <a:latin typeface="Calibri"/>
                        <a:cs typeface="Calibri"/>
                      </a:endParaRPr>
                    </a:p>
                  </a:txBody>
                  <a:tcPr marL="0" marR="0" marT="0" marB="0"/>
                </a:tc>
                <a:tc>
                  <a:txBody>
                    <a:bodyPr/>
                    <a:lstStyle/>
                    <a:p>
                      <a:pPr marL="414655">
                        <a:lnSpc>
                          <a:spcPts val="1585"/>
                        </a:lnSpc>
                      </a:pPr>
                      <a:r>
                        <a:rPr lang="pt-BR" sz="1400" b="1" spc="-10" dirty="0">
                          <a:solidFill>
                            <a:srgbClr val="00B2A9"/>
                          </a:solidFill>
                          <a:latin typeface="Calibri"/>
                          <a:cs typeface="Calibri"/>
                        </a:rPr>
                        <a:t>  Seguros</a:t>
                      </a:r>
                      <a:endParaRPr sz="1400" dirty="0">
                        <a:solidFill>
                          <a:srgbClr val="00B2A9"/>
                        </a:solidFill>
                        <a:latin typeface="Calibri"/>
                        <a:cs typeface="Calibri"/>
                      </a:endParaRPr>
                    </a:p>
                  </a:txBody>
                  <a:tcPr marL="0" marR="0" marT="0" marB="0"/>
                </a:tc>
                <a:tc>
                  <a:txBody>
                    <a:bodyPr/>
                    <a:lstStyle/>
                    <a:p>
                      <a:pPr marL="300990" algn="ctr">
                        <a:lnSpc>
                          <a:spcPts val="1585"/>
                        </a:lnSpc>
                      </a:pPr>
                      <a:r>
                        <a:rPr lang="pt-BR" sz="1400" b="1" spc="-10" dirty="0">
                          <a:solidFill>
                            <a:srgbClr val="00B2A9"/>
                          </a:solidFill>
                          <a:latin typeface="Calibri"/>
                          <a:cs typeface="Calibri"/>
                        </a:rPr>
                        <a:t>Indústria de </a:t>
                      </a:r>
                    </a:p>
                    <a:p>
                      <a:pPr marL="300990" algn="ctr">
                        <a:lnSpc>
                          <a:spcPts val="1585"/>
                        </a:lnSpc>
                      </a:pPr>
                      <a:r>
                        <a:rPr lang="pt-BR" sz="1400" b="1" spc="-10" dirty="0">
                          <a:solidFill>
                            <a:srgbClr val="00B2A9"/>
                          </a:solidFill>
                          <a:latin typeface="Calibri"/>
                          <a:cs typeface="Calibri"/>
                        </a:rPr>
                        <a:t>produção</a:t>
                      </a:r>
                      <a:endParaRPr sz="1400" dirty="0">
                        <a:solidFill>
                          <a:srgbClr val="00B2A9"/>
                        </a:solidFill>
                        <a:latin typeface="Calibri"/>
                        <a:cs typeface="Calibri"/>
                      </a:endParaRPr>
                    </a:p>
                  </a:txBody>
                  <a:tcPr marL="0" marR="0" marT="0" marB="0"/>
                </a:tc>
                <a:extLst>
                  <a:ext uri="{0D108BD9-81ED-4DB2-BD59-A6C34878D82A}">
                    <a16:rowId xmlns:a16="http://schemas.microsoft.com/office/drawing/2014/main" val="10000"/>
                  </a:ext>
                </a:extLst>
              </a:tr>
              <a:tr h="227329">
                <a:tc>
                  <a:txBody>
                    <a:bodyPr/>
                    <a:lstStyle/>
                    <a:p>
                      <a:pPr>
                        <a:lnSpc>
                          <a:spcPct val="100000"/>
                        </a:lnSpc>
                      </a:pPr>
                      <a:endParaRPr sz="1300">
                        <a:solidFill>
                          <a:srgbClr val="00B2A9"/>
                        </a:solidFill>
                        <a:latin typeface="Times New Roman"/>
                        <a:cs typeface="Times New Roman"/>
                      </a:endParaRPr>
                    </a:p>
                  </a:txBody>
                  <a:tcPr marL="0" marR="0" marT="0" marB="0"/>
                </a:tc>
                <a:tc>
                  <a:txBody>
                    <a:bodyPr/>
                    <a:lstStyle/>
                    <a:p>
                      <a:pPr marR="59690" algn="ctr">
                        <a:lnSpc>
                          <a:spcPts val="1470"/>
                        </a:lnSpc>
                      </a:pPr>
                      <a:endParaRPr sz="1400" dirty="0">
                        <a:solidFill>
                          <a:srgbClr val="00B2A9"/>
                        </a:solidFill>
                        <a:latin typeface="Calibri"/>
                        <a:cs typeface="Calibri"/>
                      </a:endParaRPr>
                    </a:p>
                  </a:txBody>
                  <a:tcPr marL="0" marR="0" marT="0" marB="0"/>
                </a:tc>
                <a:tc>
                  <a:txBody>
                    <a:bodyPr/>
                    <a:lstStyle/>
                    <a:p>
                      <a:pPr marL="10160" algn="ctr">
                        <a:lnSpc>
                          <a:spcPts val="1470"/>
                        </a:lnSpc>
                      </a:pPr>
                      <a:endParaRPr sz="1400" dirty="0">
                        <a:solidFill>
                          <a:srgbClr val="00B2A9"/>
                        </a:solidFill>
                        <a:latin typeface="Calibri"/>
                        <a:cs typeface="Calibri"/>
                      </a:endParaRPr>
                    </a:p>
                  </a:txBody>
                  <a:tcPr marL="0" marR="0" marT="0" marB="0"/>
                </a:tc>
                <a:tc>
                  <a:txBody>
                    <a:bodyPr/>
                    <a:lstStyle/>
                    <a:p>
                      <a:pPr>
                        <a:lnSpc>
                          <a:spcPct val="100000"/>
                        </a:lnSpc>
                      </a:pPr>
                      <a:endParaRPr sz="1300">
                        <a:solidFill>
                          <a:srgbClr val="00B2A9"/>
                        </a:solidFill>
                        <a:latin typeface="Times New Roman"/>
                        <a:cs typeface="Times New Roman"/>
                      </a:endParaRPr>
                    </a:p>
                  </a:txBody>
                  <a:tcPr marL="0" marR="0" marT="0" marB="0"/>
                </a:tc>
                <a:tc>
                  <a:txBody>
                    <a:bodyPr/>
                    <a:lstStyle/>
                    <a:p>
                      <a:pPr>
                        <a:lnSpc>
                          <a:spcPct val="100000"/>
                        </a:lnSpc>
                      </a:pPr>
                      <a:endParaRPr sz="1300">
                        <a:solidFill>
                          <a:srgbClr val="00B2A9"/>
                        </a:solidFill>
                        <a:latin typeface="Times New Roman"/>
                        <a:cs typeface="Times New Roman"/>
                      </a:endParaRPr>
                    </a:p>
                  </a:txBody>
                  <a:tcPr marL="0" marR="0" marT="0" marB="0"/>
                </a:tc>
                <a:tc>
                  <a:txBody>
                    <a:bodyPr/>
                    <a:lstStyle/>
                    <a:p>
                      <a:pPr>
                        <a:lnSpc>
                          <a:spcPct val="100000"/>
                        </a:lnSpc>
                      </a:pPr>
                      <a:endParaRPr sz="1300">
                        <a:solidFill>
                          <a:srgbClr val="00B2A9"/>
                        </a:solidFill>
                        <a:latin typeface="Times New Roman"/>
                        <a:cs typeface="Times New Roman"/>
                      </a:endParaRPr>
                    </a:p>
                  </a:txBody>
                  <a:tcPr marL="0" marR="0" marT="0" marB="0"/>
                </a:tc>
                <a:tc>
                  <a:txBody>
                    <a:bodyPr/>
                    <a:lstStyle/>
                    <a:p>
                      <a:pPr>
                        <a:lnSpc>
                          <a:spcPct val="100000"/>
                        </a:lnSpc>
                      </a:pPr>
                      <a:endParaRPr sz="1300" dirty="0">
                        <a:solidFill>
                          <a:srgbClr val="00B2A9"/>
                        </a:solidFill>
                        <a:latin typeface="Times New Roman"/>
                        <a:cs typeface="Times New Roman"/>
                      </a:endParaRPr>
                    </a:p>
                  </a:txBody>
                  <a:tcPr marL="0" marR="0" marT="0" marB="0"/>
                </a:tc>
                <a:extLst>
                  <a:ext uri="{0D108BD9-81ED-4DB2-BD59-A6C34878D82A}">
                    <a16:rowId xmlns:a16="http://schemas.microsoft.com/office/drawing/2014/main" val="10001"/>
                  </a:ext>
                </a:extLst>
              </a:tr>
            </a:tbl>
          </a:graphicData>
        </a:graphic>
      </p:graphicFrame>
      <p:grpSp>
        <p:nvGrpSpPr>
          <p:cNvPr id="15" name="object 14">
            <a:extLst>
              <a:ext uri="{FF2B5EF4-FFF2-40B4-BE49-F238E27FC236}">
                <a16:creationId xmlns:a16="http://schemas.microsoft.com/office/drawing/2014/main" id="{6FE85AE1-02E1-D3AB-E353-F9C307C604B0}"/>
              </a:ext>
            </a:extLst>
          </p:cNvPr>
          <p:cNvGrpSpPr/>
          <p:nvPr/>
        </p:nvGrpSpPr>
        <p:grpSpPr>
          <a:xfrm>
            <a:off x="5747765" y="1683257"/>
            <a:ext cx="736600" cy="731520"/>
            <a:chOff x="5747765" y="1683257"/>
            <a:chExt cx="736600" cy="731520"/>
          </a:xfrm>
        </p:grpSpPr>
        <p:sp>
          <p:nvSpPr>
            <p:cNvPr id="19" name="object 15">
              <a:extLst>
                <a:ext uri="{FF2B5EF4-FFF2-40B4-BE49-F238E27FC236}">
                  <a16:creationId xmlns:a16="http://schemas.microsoft.com/office/drawing/2014/main" id="{3F5C0FDF-9BD1-FF75-725B-42FD0473DED8}"/>
                </a:ext>
              </a:extLst>
            </p:cNvPr>
            <p:cNvSpPr/>
            <p:nvPr/>
          </p:nvSpPr>
          <p:spPr>
            <a:xfrm>
              <a:off x="5747765" y="1683257"/>
              <a:ext cx="736600" cy="731520"/>
            </a:xfrm>
            <a:custGeom>
              <a:avLst/>
              <a:gdLst/>
              <a:ahLst/>
              <a:cxnLst/>
              <a:rect l="l" t="t" r="r" b="b"/>
              <a:pathLst>
                <a:path w="736600" h="731519">
                  <a:moveTo>
                    <a:pt x="0" y="365760"/>
                  </a:moveTo>
                  <a:lnTo>
                    <a:pt x="2866" y="319869"/>
                  </a:lnTo>
                  <a:lnTo>
                    <a:pt x="11236" y="275682"/>
                  </a:lnTo>
                  <a:lnTo>
                    <a:pt x="24766" y="233542"/>
                  </a:lnTo>
                  <a:lnTo>
                    <a:pt x="43110" y="193790"/>
                  </a:lnTo>
                  <a:lnTo>
                    <a:pt x="65924" y="156770"/>
                  </a:lnTo>
                  <a:lnTo>
                    <a:pt x="92865" y="122822"/>
                  </a:lnTo>
                  <a:lnTo>
                    <a:pt x="123587" y="92291"/>
                  </a:lnTo>
                  <a:lnTo>
                    <a:pt x="157746" y="65517"/>
                  </a:lnTo>
                  <a:lnTo>
                    <a:pt x="194998" y="42844"/>
                  </a:lnTo>
                  <a:lnTo>
                    <a:pt x="234999" y="24613"/>
                  </a:lnTo>
                  <a:lnTo>
                    <a:pt x="277403" y="11167"/>
                  </a:lnTo>
                  <a:lnTo>
                    <a:pt x="321867" y="2848"/>
                  </a:lnTo>
                  <a:lnTo>
                    <a:pt x="368046" y="0"/>
                  </a:lnTo>
                  <a:lnTo>
                    <a:pt x="414224" y="2848"/>
                  </a:lnTo>
                  <a:lnTo>
                    <a:pt x="458688" y="11167"/>
                  </a:lnTo>
                  <a:lnTo>
                    <a:pt x="501092" y="24613"/>
                  </a:lnTo>
                  <a:lnTo>
                    <a:pt x="541093" y="42844"/>
                  </a:lnTo>
                  <a:lnTo>
                    <a:pt x="578345" y="65517"/>
                  </a:lnTo>
                  <a:lnTo>
                    <a:pt x="612504" y="92291"/>
                  </a:lnTo>
                  <a:lnTo>
                    <a:pt x="643226" y="122822"/>
                  </a:lnTo>
                  <a:lnTo>
                    <a:pt x="670167" y="156770"/>
                  </a:lnTo>
                  <a:lnTo>
                    <a:pt x="692981" y="193790"/>
                  </a:lnTo>
                  <a:lnTo>
                    <a:pt x="711325" y="233542"/>
                  </a:lnTo>
                  <a:lnTo>
                    <a:pt x="724855" y="275682"/>
                  </a:lnTo>
                  <a:lnTo>
                    <a:pt x="733225" y="319869"/>
                  </a:lnTo>
                  <a:lnTo>
                    <a:pt x="736092" y="365760"/>
                  </a:lnTo>
                  <a:lnTo>
                    <a:pt x="733225" y="411650"/>
                  </a:lnTo>
                  <a:lnTo>
                    <a:pt x="724855" y="455837"/>
                  </a:lnTo>
                  <a:lnTo>
                    <a:pt x="711325" y="497977"/>
                  </a:lnTo>
                  <a:lnTo>
                    <a:pt x="692981" y="537729"/>
                  </a:lnTo>
                  <a:lnTo>
                    <a:pt x="670167" y="574749"/>
                  </a:lnTo>
                  <a:lnTo>
                    <a:pt x="643226" y="608697"/>
                  </a:lnTo>
                  <a:lnTo>
                    <a:pt x="612504" y="639228"/>
                  </a:lnTo>
                  <a:lnTo>
                    <a:pt x="578345" y="666002"/>
                  </a:lnTo>
                  <a:lnTo>
                    <a:pt x="541093" y="688675"/>
                  </a:lnTo>
                  <a:lnTo>
                    <a:pt x="501092" y="706906"/>
                  </a:lnTo>
                  <a:lnTo>
                    <a:pt x="458688" y="720352"/>
                  </a:lnTo>
                  <a:lnTo>
                    <a:pt x="414224" y="728671"/>
                  </a:lnTo>
                  <a:lnTo>
                    <a:pt x="368046" y="731520"/>
                  </a:lnTo>
                  <a:lnTo>
                    <a:pt x="321867" y="728671"/>
                  </a:lnTo>
                  <a:lnTo>
                    <a:pt x="277403" y="720352"/>
                  </a:lnTo>
                  <a:lnTo>
                    <a:pt x="234999" y="706906"/>
                  </a:lnTo>
                  <a:lnTo>
                    <a:pt x="194998" y="688675"/>
                  </a:lnTo>
                  <a:lnTo>
                    <a:pt x="157746" y="666002"/>
                  </a:lnTo>
                  <a:lnTo>
                    <a:pt x="123587" y="639228"/>
                  </a:lnTo>
                  <a:lnTo>
                    <a:pt x="92865" y="608697"/>
                  </a:lnTo>
                  <a:lnTo>
                    <a:pt x="65924" y="574749"/>
                  </a:lnTo>
                  <a:lnTo>
                    <a:pt x="43110" y="537729"/>
                  </a:lnTo>
                  <a:lnTo>
                    <a:pt x="24766" y="497977"/>
                  </a:lnTo>
                  <a:lnTo>
                    <a:pt x="11236" y="455837"/>
                  </a:lnTo>
                  <a:lnTo>
                    <a:pt x="2866" y="411650"/>
                  </a:lnTo>
                  <a:lnTo>
                    <a:pt x="0" y="365760"/>
                  </a:lnTo>
                  <a:close/>
                </a:path>
              </a:pathLst>
            </a:custGeom>
            <a:ln w="28575">
              <a:solidFill>
                <a:srgbClr val="00B2A9"/>
              </a:solidFill>
            </a:ln>
          </p:spPr>
          <p:txBody>
            <a:bodyPr wrap="square" lIns="0" tIns="0" rIns="0" bIns="0" rtlCol="0"/>
            <a:lstStyle/>
            <a:p>
              <a:endParaRPr dirty="0">
                <a:latin typeface="+mn-lt"/>
                <a:cs typeface="Calibri" panose="020F0502020204030204" pitchFamily="34" charset="0"/>
              </a:endParaRPr>
            </a:p>
          </p:txBody>
        </p:sp>
        <p:pic>
          <p:nvPicPr>
            <p:cNvPr id="20" name="object 16">
              <a:extLst>
                <a:ext uri="{FF2B5EF4-FFF2-40B4-BE49-F238E27FC236}">
                  <a16:creationId xmlns:a16="http://schemas.microsoft.com/office/drawing/2014/main" id="{4587F6AB-E332-DBC6-C299-72AC897D0F4D}"/>
                </a:ext>
              </a:extLst>
            </p:cNvPr>
            <p:cNvPicPr/>
            <p:nvPr/>
          </p:nvPicPr>
          <p:blipFill>
            <a:blip r:embed="rId4" cstate="print"/>
            <a:stretch>
              <a:fillRect/>
            </a:stretch>
          </p:blipFill>
          <p:spPr>
            <a:xfrm>
              <a:off x="5887660" y="1801543"/>
              <a:ext cx="465567" cy="410779"/>
            </a:xfrm>
            <a:prstGeom prst="rect">
              <a:avLst/>
            </a:prstGeom>
          </p:spPr>
        </p:pic>
      </p:grpSp>
      <p:grpSp>
        <p:nvGrpSpPr>
          <p:cNvPr id="21" name="object 17">
            <a:extLst>
              <a:ext uri="{FF2B5EF4-FFF2-40B4-BE49-F238E27FC236}">
                <a16:creationId xmlns:a16="http://schemas.microsoft.com/office/drawing/2014/main" id="{AFADEFCF-8BDF-BD87-DECE-46153DA93080}"/>
              </a:ext>
            </a:extLst>
          </p:cNvPr>
          <p:cNvGrpSpPr/>
          <p:nvPr/>
        </p:nvGrpSpPr>
        <p:grpSpPr>
          <a:xfrm>
            <a:off x="7261097" y="1683257"/>
            <a:ext cx="737870" cy="731520"/>
            <a:chOff x="7261097" y="1683257"/>
            <a:chExt cx="737870" cy="731520"/>
          </a:xfrm>
        </p:grpSpPr>
        <p:sp>
          <p:nvSpPr>
            <p:cNvPr id="23" name="object 18">
              <a:extLst>
                <a:ext uri="{FF2B5EF4-FFF2-40B4-BE49-F238E27FC236}">
                  <a16:creationId xmlns:a16="http://schemas.microsoft.com/office/drawing/2014/main" id="{46DE869B-E96B-202E-A35A-063A35200CE2}"/>
                </a:ext>
              </a:extLst>
            </p:cNvPr>
            <p:cNvSpPr/>
            <p:nvPr/>
          </p:nvSpPr>
          <p:spPr>
            <a:xfrm>
              <a:off x="7261097" y="1683257"/>
              <a:ext cx="737870" cy="731520"/>
            </a:xfrm>
            <a:custGeom>
              <a:avLst/>
              <a:gdLst/>
              <a:ahLst/>
              <a:cxnLst/>
              <a:rect l="l" t="t" r="r" b="b"/>
              <a:pathLst>
                <a:path w="737870" h="731519">
                  <a:moveTo>
                    <a:pt x="0" y="365760"/>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60"/>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20"/>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60"/>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sp>
          <p:nvSpPr>
            <p:cNvPr id="24" name="object 19">
              <a:extLst>
                <a:ext uri="{FF2B5EF4-FFF2-40B4-BE49-F238E27FC236}">
                  <a16:creationId xmlns:a16="http://schemas.microsoft.com/office/drawing/2014/main" id="{18F46CA3-0BC9-3E36-A58B-CEFCEFB95896}"/>
                </a:ext>
              </a:extLst>
            </p:cNvPr>
            <p:cNvSpPr/>
            <p:nvPr/>
          </p:nvSpPr>
          <p:spPr>
            <a:xfrm>
              <a:off x="7295387" y="1757171"/>
              <a:ext cx="664845" cy="634365"/>
            </a:xfrm>
            <a:custGeom>
              <a:avLst/>
              <a:gdLst/>
              <a:ahLst/>
              <a:cxnLst/>
              <a:rect l="l" t="t" r="r" b="b"/>
              <a:pathLst>
                <a:path w="664845" h="634364">
                  <a:moveTo>
                    <a:pt x="332232" y="0"/>
                  </a:moveTo>
                  <a:lnTo>
                    <a:pt x="283130" y="3435"/>
                  </a:lnTo>
                  <a:lnTo>
                    <a:pt x="236268" y="13416"/>
                  </a:lnTo>
                  <a:lnTo>
                    <a:pt x="192159" y="29451"/>
                  </a:lnTo>
                  <a:lnTo>
                    <a:pt x="151315" y="51053"/>
                  </a:lnTo>
                  <a:lnTo>
                    <a:pt x="114251" y="77731"/>
                  </a:lnTo>
                  <a:lnTo>
                    <a:pt x="81481" y="108996"/>
                  </a:lnTo>
                  <a:lnTo>
                    <a:pt x="53517" y="144358"/>
                  </a:lnTo>
                  <a:lnTo>
                    <a:pt x="30873" y="183328"/>
                  </a:lnTo>
                  <a:lnTo>
                    <a:pt x="14064" y="225417"/>
                  </a:lnTo>
                  <a:lnTo>
                    <a:pt x="3601" y="270135"/>
                  </a:lnTo>
                  <a:lnTo>
                    <a:pt x="0" y="316991"/>
                  </a:lnTo>
                  <a:lnTo>
                    <a:pt x="3601" y="363848"/>
                  </a:lnTo>
                  <a:lnTo>
                    <a:pt x="14064" y="408566"/>
                  </a:lnTo>
                  <a:lnTo>
                    <a:pt x="30873" y="450655"/>
                  </a:lnTo>
                  <a:lnTo>
                    <a:pt x="53517" y="489625"/>
                  </a:lnTo>
                  <a:lnTo>
                    <a:pt x="81481" y="524987"/>
                  </a:lnTo>
                  <a:lnTo>
                    <a:pt x="114251" y="556252"/>
                  </a:lnTo>
                  <a:lnTo>
                    <a:pt x="151315" y="582930"/>
                  </a:lnTo>
                  <a:lnTo>
                    <a:pt x="192159" y="604532"/>
                  </a:lnTo>
                  <a:lnTo>
                    <a:pt x="236268" y="620567"/>
                  </a:lnTo>
                  <a:lnTo>
                    <a:pt x="283130" y="630548"/>
                  </a:lnTo>
                  <a:lnTo>
                    <a:pt x="332232" y="633983"/>
                  </a:lnTo>
                  <a:lnTo>
                    <a:pt x="381333" y="630548"/>
                  </a:lnTo>
                  <a:lnTo>
                    <a:pt x="428195" y="620567"/>
                  </a:lnTo>
                  <a:lnTo>
                    <a:pt x="472304" y="604532"/>
                  </a:lnTo>
                  <a:lnTo>
                    <a:pt x="513148" y="582930"/>
                  </a:lnTo>
                  <a:lnTo>
                    <a:pt x="550212" y="556252"/>
                  </a:lnTo>
                  <a:lnTo>
                    <a:pt x="582982" y="524987"/>
                  </a:lnTo>
                  <a:lnTo>
                    <a:pt x="610946" y="489625"/>
                  </a:lnTo>
                  <a:lnTo>
                    <a:pt x="633590" y="450655"/>
                  </a:lnTo>
                  <a:lnTo>
                    <a:pt x="650399" y="408566"/>
                  </a:lnTo>
                  <a:lnTo>
                    <a:pt x="660862" y="363848"/>
                  </a:lnTo>
                  <a:lnTo>
                    <a:pt x="664464" y="316991"/>
                  </a:lnTo>
                  <a:lnTo>
                    <a:pt x="660862" y="270135"/>
                  </a:lnTo>
                  <a:lnTo>
                    <a:pt x="650399" y="225417"/>
                  </a:lnTo>
                  <a:lnTo>
                    <a:pt x="633590" y="183328"/>
                  </a:lnTo>
                  <a:lnTo>
                    <a:pt x="610946" y="144358"/>
                  </a:lnTo>
                  <a:lnTo>
                    <a:pt x="582982" y="108996"/>
                  </a:lnTo>
                  <a:lnTo>
                    <a:pt x="550212" y="77731"/>
                  </a:lnTo>
                  <a:lnTo>
                    <a:pt x="513148" y="51053"/>
                  </a:lnTo>
                  <a:lnTo>
                    <a:pt x="472304" y="29451"/>
                  </a:lnTo>
                  <a:lnTo>
                    <a:pt x="428195" y="13416"/>
                  </a:lnTo>
                  <a:lnTo>
                    <a:pt x="381333" y="3435"/>
                  </a:lnTo>
                  <a:lnTo>
                    <a:pt x="332232" y="0"/>
                  </a:lnTo>
                  <a:close/>
                </a:path>
              </a:pathLst>
            </a:custGeom>
            <a:solidFill>
              <a:srgbClr val="FFFFFF"/>
            </a:solidFill>
          </p:spPr>
          <p:txBody>
            <a:bodyPr wrap="square" lIns="0" tIns="0" rIns="0" bIns="0" rtlCol="0"/>
            <a:lstStyle/>
            <a:p>
              <a:endParaRPr>
                <a:latin typeface="+mn-lt"/>
                <a:cs typeface="Calibri" panose="020F0502020204030204" pitchFamily="34" charset="0"/>
              </a:endParaRPr>
            </a:p>
          </p:txBody>
        </p:sp>
        <p:pic>
          <p:nvPicPr>
            <p:cNvPr id="25" name="object 20">
              <a:extLst>
                <a:ext uri="{FF2B5EF4-FFF2-40B4-BE49-F238E27FC236}">
                  <a16:creationId xmlns:a16="http://schemas.microsoft.com/office/drawing/2014/main" id="{D0116C61-2AB7-9CEC-EE3D-667A160EB41C}"/>
                </a:ext>
              </a:extLst>
            </p:cNvPr>
            <p:cNvPicPr/>
            <p:nvPr/>
          </p:nvPicPr>
          <p:blipFill>
            <a:blip r:embed="rId5" cstate="print"/>
            <a:stretch>
              <a:fillRect/>
            </a:stretch>
          </p:blipFill>
          <p:spPr>
            <a:xfrm>
              <a:off x="7449311" y="1866899"/>
              <a:ext cx="414527" cy="396239"/>
            </a:xfrm>
            <a:prstGeom prst="rect">
              <a:avLst/>
            </a:prstGeom>
          </p:spPr>
        </p:pic>
      </p:grpSp>
      <p:grpSp>
        <p:nvGrpSpPr>
          <p:cNvPr id="26" name="object 21">
            <a:extLst>
              <a:ext uri="{FF2B5EF4-FFF2-40B4-BE49-F238E27FC236}">
                <a16:creationId xmlns:a16="http://schemas.microsoft.com/office/drawing/2014/main" id="{B2D5EFA2-746D-4482-A0C7-A2FA601633E0}"/>
              </a:ext>
            </a:extLst>
          </p:cNvPr>
          <p:cNvGrpSpPr/>
          <p:nvPr/>
        </p:nvGrpSpPr>
        <p:grpSpPr>
          <a:xfrm>
            <a:off x="7247381" y="3454146"/>
            <a:ext cx="737870" cy="733425"/>
            <a:chOff x="7247381" y="3454146"/>
            <a:chExt cx="737870" cy="733425"/>
          </a:xfrm>
        </p:grpSpPr>
        <p:sp>
          <p:nvSpPr>
            <p:cNvPr id="27" name="object 22">
              <a:extLst>
                <a:ext uri="{FF2B5EF4-FFF2-40B4-BE49-F238E27FC236}">
                  <a16:creationId xmlns:a16="http://schemas.microsoft.com/office/drawing/2014/main" id="{D0216D9B-5CA9-9A43-EA84-88FC0F35466D}"/>
                </a:ext>
              </a:extLst>
            </p:cNvPr>
            <p:cNvSpPr/>
            <p:nvPr/>
          </p:nvSpPr>
          <p:spPr>
            <a:xfrm>
              <a:off x="7247381" y="3454146"/>
              <a:ext cx="737870" cy="733425"/>
            </a:xfrm>
            <a:custGeom>
              <a:avLst/>
              <a:gdLst/>
              <a:ahLst/>
              <a:cxnLst/>
              <a:rect l="l" t="t" r="r" b="b"/>
              <a:pathLst>
                <a:path w="737870" h="733425">
                  <a:moveTo>
                    <a:pt x="0" y="366521"/>
                  </a:moveTo>
                  <a:lnTo>
                    <a:pt x="2873" y="320543"/>
                  </a:lnTo>
                  <a:lnTo>
                    <a:pt x="11262" y="276270"/>
                  </a:lnTo>
                  <a:lnTo>
                    <a:pt x="24822" y="234045"/>
                  </a:lnTo>
                  <a:lnTo>
                    <a:pt x="43207" y="194212"/>
                  </a:lnTo>
                  <a:lnTo>
                    <a:pt x="66072" y="157114"/>
                  </a:lnTo>
                  <a:lnTo>
                    <a:pt x="93071" y="123094"/>
                  </a:lnTo>
                  <a:lnTo>
                    <a:pt x="123859" y="92497"/>
                  </a:lnTo>
                  <a:lnTo>
                    <a:pt x="158090" y="65664"/>
                  </a:lnTo>
                  <a:lnTo>
                    <a:pt x="195420" y="42941"/>
                  </a:lnTo>
                  <a:lnTo>
                    <a:pt x="235502" y="24669"/>
                  </a:lnTo>
                  <a:lnTo>
                    <a:pt x="277990" y="11193"/>
                  </a:lnTo>
                  <a:lnTo>
                    <a:pt x="322541" y="2855"/>
                  </a:lnTo>
                  <a:lnTo>
                    <a:pt x="368808" y="0"/>
                  </a:lnTo>
                  <a:lnTo>
                    <a:pt x="415074" y="2855"/>
                  </a:lnTo>
                  <a:lnTo>
                    <a:pt x="459625" y="11193"/>
                  </a:lnTo>
                  <a:lnTo>
                    <a:pt x="502113" y="24669"/>
                  </a:lnTo>
                  <a:lnTo>
                    <a:pt x="542195" y="42941"/>
                  </a:lnTo>
                  <a:lnTo>
                    <a:pt x="579525" y="65664"/>
                  </a:lnTo>
                  <a:lnTo>
                    <a:pt x="613756" y="92497"/>
                  </a:lnTo>
                  <a:lnTo>
                    <a:pt x="644544" y="123094"/>
                  </a:lnTo>
                  <a:lnTo>
                    <a:pt x="671543" y="157114"/>
                  </a:lnTo>
                  <a:lnTo>
                    <a:pt x="694408" y="194212"/>
                  </a:lnTo>
                  <a:lnTo>
                    <a:pt x="712793" y="234045"/>
                  </a:lnTo>
                  <a:lnTo>
                    <a:pt x="726353" y="276270"/>
                  </a:lnTo>
                  <a:lnTo>
                    <a:pt x="734742" y="320543"/>
                  </a:lnTo>
                  <a:lnTo>
                    <a:pt x="737616" y="366521"/>
                  </a:lnTo>
                  <a:lnTo>
                    <a:pt x="734742" y="412500"/>
                  </a:lnTo>
                  <a:lnTo>
                    <a:pt x="726353" y="456773"/>
                  </a:lnTo>
                  <a:lnTo>
                    <a:pt x="712793" y="498998"/>
                  </a:lnTo>
                  <a:lnTo>
                    <a:pt x="694408" y="538831"/>
                  </a:lnTo>
                  <a:lnTo>
                    <a:pt x="671543" y="575929"/>
                  </a:lnTo>
                  <a:lnTo>
                    <a:pt x="644544" y="609949"/>
                  </a:lnTo>
                  <a:lnTo>
                    <a:pt x="613756" y="640546"/>
                  </a:lnTo>
                  <a:lnTo>
                    <a:pt x="579525" y="667379"/>
                  </a:lnTo>
                  <a:lnTo>
                    <a:pt x="542195" y="690102"/>
                  </a:lnTo>
                  <a:lnTo>
                    <a:pt x="502113" y="708374"/>
                  </a:lnTo>
                  <a:lnTo>
                    <a:pt x="459625" y="721850"/>
                  </a:lnTo>
                  <a:lnTo>
                    <a:pt x="415074" y="730188"/>
                  </a:lnTo>
                  <a:lnTo>
                    <a:pt x="368808" y="733043"/>
                  </a:lnTo>
                  <a:lnTo>
                    <a:pt x="322541" y="730188"/>
                  </a:lnTo>
                  <a:lnTo>
                    <a:pt x="277990" y="721850"/>
                  </a:lnTo>
                  <a:lnTo>
                    <a:pt x="235502" y="708374"/>
                  </a:lnTo>
                  <a:lnTo>
                    <a:pt x="195420" y="690102"/>
                  </a:lnTo>
                  <a:lnTo>
                    <a:pt x="158090" y="667379"/>
                  </a:lnTo>
                  <a:lnTo>
                    <a:pt x="123859" y="640546"/>
                  </a:lnTo>
                  <a:lnTo>
                    <a:pt x="93071" y="609949"/>
                  </a:lnTo>
                  <a:lnTo>
                    <a:pt x="66072" y="575929"/>
                  </a:lnTo>
                  <a:lnTo>
                    <a:pt x="43207" y="538831"/>
                  </a:lnTo>
                  <a:lnTo>
                    <a:pt x="24822" y="498998"/>
                  </a:lnTo>
                  <a:lnTo>
                    <a:pt x="11262" y="456773"/>
                  </a:lnTo>
                  <a:lnTo>
                    <a:pt x="2873" y="412500"/>
                  </a:lnTo>
                  <a:lnTo>
                    <a:pt x="0" y="366521"/>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pic>
          <p:nvPicPr>
            <p:cNvPr id="29" name="object 23">
              <a:extLst>
                <a:ext uri="{FF2B5EF4-FFF2-40B4-BE49-F238E27FC236}">
                  <a16:creationId xmlns:a16="http://schemas.microsoft.com/office/drawing/2014/main" id="{FFFDAAEF-21CB-8109-95B1-36536EB0F410}"/>
                </a:ext>
              </a:extLst>
            </p:cNvPr>
            <p:cNvPicPr/>
            <p:nvPr/>
          </p:nvPicPr>
          <p:blipFill>
            <a:blip r:embed="rId6" cstate="print"/>
            <a:stretch>
              <a:fillRect/>
            </a:stretch>
          </p:blipFill>
          <p:spPr>
            <a:xfrm>
              <a:off x="7466075" y="3569332"/>
              <a:ext cx="310896" cy="513370"/>
            </a:xfrm>
            <a:prstGeom prst="rect">
              <a:avLst/>
            </a:prstGeom>
          </p:spPr>
        </p:pic>
      </p:grpSp>
      <p:sp>
        <p:nvSpPr>
          <p:cNvPr id="30" name="object 24">
            <a:hlinkClick r:id="" action="ppaction://noaction"/>
            <a:extLst>
              <a:ext uri="{FF2B5EF4-FFF2-40B4-BE49-F238E27FC236}">
                <a16:creationId xmlns:a16="http://schemas.microsoft.com/office/drawing/2014/main" id="{7D62172A-1D50-5B3F-D010-E91AF92A3E07}"/>
              </a:ext>
            </a:extLst>
          </p:cNvPr>
          <p:cNvSpPr txBox="1"/>
          <p:nvPr/>
        </p:nvSpPr>
        <p:spPr>
          <a:xfrm>
            <a:off x="6851142" y="4289297"/>
            <a:ext cx="1544320" cy="228268"/>
          </a:xfrm>
          <a:prstGeom prst="rect">
            <a:avLst/>
          </a:prstGeom>
        </p:spPr>
        <p:txBody>
          <a:bodyPr vert="horz" wrap="square" lIns="0" tIns="12700" rIns="0" bIns="0" rtlCol="0">
            <a:spAutoFit/>
          </a:bodyPr>
          <a:lstStyle/>
          <a:p>
            <a:pPr marL="12700" algn="ctr">
              <a:lnSpc>
                <a:spcPct val="100000"/>
              </a:lnSpc>
              <a:spcBef>
                <a:spcPts val="100"/>
              </a:spcBef>
            </a:pPr>
            <a:r>
              <a:rPr lang="pt-BR" sz="1400" b="1" u="sng" spc="-10" dirty="0">
                <a:solidFill>
                  <a:srgbClr val="00B2A9"/>
                </a:solidFill>
                <a:latin typeface="+mn-lt"/>
                <a:cs typeface="Calibri" panose="020F0502020204030204" pitchFamily="34" charset="0"/>
              </a:rPr>
              <a:t>Telecomunicações</a:t>
            </a:r>
            <a:endParaRPr sz="1400" u="sng" dirty="0">
              <a:solidFill>
                <a:srgbClr val="00B2A9"/>
              </a:solidFill>
              <a:latin typeface="+mn-lt"/>
              <a:cs typeface="Calibri" panose="020F0502020204030204" pitchFamily="34" charset="0"/>
            </a:endParaRPr>
          </a:p>
        </p:txBody>
      </p:sp>
      <p:grpSp>
        <p:nvGrpSpPr>
          <p:cNvPr id="31" name="object 25">
            <a:extLst>
              <a:ext uri="{FF2B5EF4-FFF2-40B4-BE49-F238E27FC236}">
                <a16:creationId xmlns:a16="http://schemas.microsoft.com/office/drawing/2014/main" id="{2CC19E29-4892-4140-218E-B64170B6ED56}"/>
              </a:ext>
            </a:extLst>
          </p:cNvPr>
          <p:cNvGrpSpPr/>
          <p:nvPr/>
        </p:nvGrpSpPr>
        <p:grpSpPr>
          <a:xfrm>
            <a:off x="4194809" y="3441954"/>
            <a:ext cx="737870" cy="733425"/>
            <a:chOff x="4194809" y="3441954"/>
            <a:chExt cx="737870" cy="733425"/>
          </a:xfrm>
        </p:grpSpPr>
        <p:sp>
          <p:nvSpPr>
            <p:cNvPr id="32" name="object 26">
              <a:extLst>
                <a:ext uri="{FF2B5EF4-FFF2-40B4-BE49-F238E27FC236}">
                  <a16:creationId xmlns:a16="http://schemas.microsoft.com/office/drawing/2014/main" id="{F0A9C22B-F211-C9B6-5FBB-B15503B02C67}"/>
                </a:ext>
              </a:extLst>
            </p:cNvPr>
            <p:cNvSpPr/>
            <p:nvPr/>
          </p:nvSpPr>
          <p:spPr>
            <a:xfrm>
              <a:off x="4194809" y="3441954"/>
              <a:ext cx="737870" cy="733425"/>
            </a:xfrm>
            <a:custGeom>
              <a:avLst/>
              <a:gdLst/>
              <a:ahLst/>
              <a:cxnLst/>
              <a:rect l="l" t="t" r="r" b="b"/>
              <a:pathLst>
                <a:path w="737870" h="733425">
                  <a:moveTo>
                    <a:pt x="0" y="366522"/>
                  </a:moveTo>
                  <a:lnTo>
                    <a:pt x="2873" y="320543"/>
                  </a:lnTo>
                  <a:lnTo>
                    <a:pt x="11262" y="276270"/>
                  </a:lnTo>
                  <a:lnTo>
                    <a:pt x="24822" y="234045"/>
                  </a:lnTo>
                  <a:lnTo>
                    <a:pt x="43207" y="194212"/>
                  </a:lnTo>
                  <a:lnTo>
                    <a:pt x="66072" y="157114"/>
                  </a:lnTo>
                  <a:lnTo>
                    <a:pt x="93071" y="123094"/>
                  </a:lnTo>
                  <a:lnTo>
                    <a:pt x="123859" y="92497"/>
                  </a:lnTo>
                  <a:lnTo>
                    <a:pt x="158090" y="65664"/>
                  </a:lnTo>
                  <a:lnTo>
                    <a:pt x="195420" y="42941"/>
                  </a:lnTo>
                  <a:lnTo>
                    <a:pt x="235502" y="24669"/>
                  </a:lnTo>
                  <a:lnTo>
                    <a:pt x="277990" y="11193"/>
                  </a:lnTo>
                  <a:lnTo>
                    <a:pt x="322541" y="2855"/>
                  </a:lnTo>
                  <a:lnTo>
                    <a:pt x="368808" y="0"/>
                  </a:lnTo>
                  <a:lnTo>
                    <a:pt x="415074" y="2855"/>
                  </a:lnTo>
                  <a:lnTo>
                    <a:pt x="459625" y="11193"/>
                  </a:lnTo>
                  <a:lnTo>
                    <a:pt x="502113" y="24669"/>
                  </a:lnTo>
                  <a:lnTo>
                    <a:pt x="542195" y="42941"/>
                  </a:lnTo>
                  <a:lnTo>
                    <a:pt x="579525" y="65664"/>
                  </a:lnTo>
                  <a:lnTo>
                    <a:pt x="613756" y="92497"/>
                  </a:lnTo>
                  <a:lnTo>
                    <a:pt x="644544" y="123094"/>
                  </a:lnTo>
                  <a:lnTo>
                    <a:pt x="671543" y="157114"/>
                  </a:lnTo>
                  <a:lnTo>
                    <a:pt x="694408" y="194212"/>
                  </a:lnTo>
                  <a:lnTo>
                    <a:pt x="712793" y="234045"/>
                  </a:lnTo>
                  <a:lnTo>
                    <a:pt x="726353" y="276270"/>
                  </a:lnTo>
                  <a:lnTo>
                    <a:pt x="734742" y="320543"/>
                  </a:lnTo>
                  <a:lnTo>
                    <a:pt x="737616" y="366522"/>
                  </a:lnTo>
                  <a:lnTo>
                    <a:pt x="734742" y="412500"/>
                  </a:lnTo>
                  <a:lnTo>
                    <a:pt x="726353" y="456773"/>
                  </a:lnTo>
                  <a:lnTo>
                    <a:pt x="712793" y="498998"/>
                  </a:lnTo>
                  <a:lnTo>
                    <a:pt x="694408" y="538831"/>
                  </a:lnTo>
                  <a:lnTo>
                    <a:pt x="671543" y="575929"/>
                  </a:lnTo>
                  <a:lnTo>
                    <a:pt x="644544" y="609949"/>
                  </a:lnTo>
                  <a:lnTo>
                    <a:pt x="613756" y="640546"/>
                  </a:lnTo>
                  <a:lnTo>
                    <a:pt x="579525" y="667379"/>
                  </a:lnTo>
                  <a:lnTo>
                    <a:pt x="542195" y="690102"/>
                  </a:lnTo>
                  <a:lnTo>
                    <a:pt x="502113" y="708374"/>
                  </a:lnTo>
                  <a:lnTo>
                    <a:pt x="459625" y="721850"/>
                  </a:lnTo>
                  <a:lnTo>
                    <a:pt x="415074" y="730188"/>
                  </a:lnTo>
                  <a:lnTo>
                    <a:pt x="368808" y="733044"/>
                  </a:lnTo>
                  <a:lnTo>
                    <a:pt x="322541" y="730188"/>
                  </a:lnTo>
                  <a:lnTo>
                    <a:pt x="277990" y="721850"/>
                  </a:lnTo>
                  <a:lnTo>
                    <a:pt x="235502" y="708374"/>
                  </a:lnTo>
                  <a:lnTo>
                    <a:pt x="195420" y="690102"/>
                  </a:lnTo>
                  <a:lnTo>
                    <a:pt x="158090" y="667379"/>
                  </a:lnTo>
                  <a:lnTo>
                    <a:pt x="123859" y="640546"/>
                  </a:lnTo>
                  <a:lnTo>
                    <a:pt x="93071" y="609949"/>
                  </a:lnTo>
                  <a:lnTo>
                    <a:pt x="66072" y="575929"/>
                  </a:lnTo>
                  <a:lnTo>
                    <a:pt x="43207" y="538831"/>
                  </a:lnTo>
                  <a:lnTo>
                    <a:pt x="24822" y="498998"/>
                  </a:lnTo>
                  <a:lnTo>
                    <a:pt x="11262" y="456773"/>
                  </a:lnTo>
                  <a:lnTo>
                    <a:pt x="2873" y="412500"/>
                  </a:lnTo>
                  <a:lnTo>
                    <a:pt x="0" y="366522"/>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sp>
          <p:nvSpPr>
            <p:cNvPr id="33" name="object 28">
              <a:extLst>
                <a:ext uri="{FF2B5EF4-FFF2-40B4-BE49-F238E27FC236}">
                  <a16:creationId xmlns:a16="http://schemas.microsoft.com/office/drawing/2014/main" id="{D5FAF12E-3E3F-CA29-F797-429658C410B8}"/>
                </a:ext>
              </a:extLst>
            </p:cNvPr>
            <p:cNvSpPr/>
            <p:nvPr/>
          </p:nvSpPr>
          <p:spPr>
            <a:xfrm>
              <a:off x="4424172" y="3572256"/>
              <a:ext cx="327660" cy="426720"/>
            </a:xfrm>
            <a:custGeom>
              <a:avLst/>
              <a:gdLst/>
              <a:ahLst/>
              <a:cxnLst/>
              <a:rect l="l" t="t" r="r" b="b"/>
              <a:pathLst>
                <a:path w="327660" h="426720">
                  <a:moveTo>
                    <a:pt x="106680" y="394716"/>
                  </a:moveTo>
                  <a:lnTo>
                    <a:pt x="104584" y="382270"/>
                  </a:lnTo>
                  <a:lnTo>
                    <a:pt x="98869" y="372097"/>
                  </a:lnTo>
                  <a:lnTo>
                    <a:pt x="90385" y="365239"/>
                  </a:lnTo>
                  <a:lnTo>
                    <a:pt x="80010" y="362712"/>
                  </a:lnTo>
                  <a:lnTo>
                    <a:pt x="69621" y="365239"/>
                  </a:lnTo>
                  <a:lnTo>
                    <a:pt x="61150" y="372097"/>
                  </a:lnTo>
                  <a:lnTo>
                    <a:pt x="55435" y="382270"/>
                  </a:lnTo>
                  <a:lnTo>
                    <a:pt x="53340" y="394716"/>
                  </a:lnTo>
                  <a:lnTo>
                    <a:pt x="55435" y="407174"/>
                  </a:lnTo>
                  <a:lnTo>
                    <a:pt x="61150" y="417347"/>
                  </a:lnTo>
                  <a:lnTo>
                    <a:pt x="69621" y="424205"/>
                  </a:lnTo>
                  <a:lnTo>
                    <a:pt x="80010" y="426720"/>
                  </a:lnTo>
                  <a:lnTo>
                    <a:pt x="90385" y="424205"/>
                  </a:lnTo>
                  <a:lnTo>
                    <a:pt x="98869" y="417347"/>
                  </a:lnTo>
                  <a:lnTo>
                    <a:pt x="104584" y="407174"/>
                  </a:lnTo>
                  <a:lnTo>
                    <a:pt x="106680" y="394716"/>
                  </a:lnTo>
                  <a:close/>
                </a:path>
                <a:path w="327660" h="426720">
                  <a:moveTo>
                    <a:pt x="301752" y="394716"/>
                  </a:moveTo>
                  <a:lnTo>
                    <a:pt x="299656" y="382270"/>
                  </a:lnTo>
                  <a:lnTo>
                    <a:pt x="293941" y="372097"/>
                  </a:lnTo>
                  <a:lnTo>
                    <a:pt x="285457" y="365239"/>
                  </a:lnTo>
                  <a:lnTo>
                    <a:pt x="275082" y="362712"/>
                  </a:lnTo>
                  <a:lnTo>
                    <a:pt x="264693" y="365239"/>
                  </a:lnTo>
                  <a:lnTo>
                    <a:pt x="256222" y="372097"/>
                  </a:lnTo>
                  <a:lnTo>
                    <a:pt x="250507" y="382270"/>
                  </a:lnTo>
                  <a:lnTo>
                    <a:pt x="248412" y="394716"/>
                  </a:lnTo>
                  <a:lnTo>
                    <a:pt x="250507" y="407174"/>
                  </a:lnTo>
                  <a:lnTo>
                    <a:pt x="256222" y="417347"/>
                  </a:lnTo>
                  <a:lnTo>
                    <a:pt x="264693" y="424205"/>
                  </a:lnTo>
                  <a:lnTo>
                    <a:pt x="275082" y="426720"/>
                  </a:lnTo>
                  <a:lnTo>
                    <a:pt x="285457" y="424205"/>
                  </a:lnTo>
                  <a:lnTo>
                    <a:pt x="293941" y="417347"/>
                  </a:lnTo>
                  <a:lnTo>
                    <a:pt x="299656" y="407174"/>
                  </a:lnTo>
                  <a:lnTo>
                    <a:pt x="301752" y="394716"/>
                  </a:lnTo>
                  <a:close/>
                </a:path>
                <a:path w="327660" h="426720">
                  <a:moveTo>
                    <a:pt x="327660" y="53340"/>
                  </a:moveTo>
                  <a:lnTo>
                    <a:pt x="301117" y="53340"/>
                  </a:lnTo>
                  <a:lnTo>
                    <a:pt x="301117" y="85344"/>
                  </a:lnTo>
                  <a:lnTo>
                    <a:pt x="301117" y="122682"/>
                  </a:lnTo>
                  <a:lnTo>
                    <a:pt x="301117" y="144018"/>
                  </a:lnTo>
                  <a:lnTo>
                    <a:pt x="301117" y="181356"/>
                  </a:lnTo>
                  <a:lnTo>
                    <a:pt x="301117" y="202692"/>
                  </a:lnTo>
                  <a:lnTo>
                    <a:pt x="301117" y="226695"/>
                  </a:lnTo>
                  <a:lnTo>
                    <a:pt x="252349" y="232029"/>
                  </a:lnTo>
                  <a:lnTo>
                    <a:pt x="252349" y="202692"/>
                  </a:lnTo>
                  <a:lnTo>
                    <a:pt x="301117" y="202692"/>
                  </a:lnTo>
                  <a:lnTo>
                    <a:pt x="301117" y="181356"/>
                  </a:lnTo>
                  <a:lnTo>
                    <a:pt x="252349" y="181356"/>
                  </a:lnTo>
                  <a:lnTo>
                    <a:pt x="252349" y="144018"/>
                  </a:lnTo>
                  <a:lnTo>
                    <a:pt x="301117" y="144018"/>
                  </a:lnTo>
                  <a:lnTo>
                    <a:pt x="301117" y="122682"/>
                  </a:lnTo>
                  <a:lnTo>
                    <a:pt x="252349" y="122682"/>
                  </a:lnTo>
                  <a:lnTo>
                    <a:pt x="252349" y="85344"/>
                  </a:lnTo>
                  <a:lnTo>
                    <a:pt x="301117" y="85344"/>
                  </a:lnTo>
                  <a:lnTo>
                    <a:pt x="301117" y="53340"/>
                  </a:lnTo>
                  <a:lnTo>
                    <a:pt x="234696" y="53340"/>
                  </a:lnTo>
                  <a:lnTo>
                    <a:pt x="234696" y="85344"/>
                  </a:lnTo>
                  <a:lnTo>
                    <a:pt x="234696" y="122682"/>
                  </a:lnTo>
                  <a:lnTo>
                    <a:pt x="234696" y="144018"/>
                  </a:lnTo>
                  <a:lnTo>
                    <a:pt x="234696" y="181356"/>
                  </a:lnTo>
                  <a:lnTo>
                    <a:pt x="234696" y="202692"/>
                  </a:lnTo>
                  <a:lnTo>
                    <a:pt x="234696" y="233680"/>
                  </a:lnTo>
                  <a:lnTo>
                    <a:pt x="185928" y="239014"/>
                  </a:lnTo>
                  <a:lnTo>
                    <a:pt x="185928" y="202692"/>
                  </a:lnTo>
                  <a:lnTo>
                    <a:pt x="234696" y="202692"/>
                  </a:lnTo>
                  <a:lnTo>
                    <a:pt x="234696" y="181356"/>
                  </a:lnTo>
                  <a:lnTo>
                    <a:pt x="185928" y="181356"/>
                  </a:lnTo>
                  <a:lnTo>
                    <a:pt x="185928" y="144018"/>
                  </a:lnTo>
                  <a:lnTo>
                    <a:pt x="234696" y="144018"/>
                  </a:lnTo>
                  <a:lnTo>
                    <a:pt x="234696" y="122682"/>
                  </a:lnTo>
                  <a:lnTo>
                    <a:pt x="185928" y="122682"/>
                  </a:lnTo>
                  <a:lnTo>
                    <a:pt x="185928" y="85344"/>
                  </a:lnTo>
                  <a:lnTo>
                    <a:pt x="234696" y="85344"/>
                  </a:lnTo>
                  <a:lnTo>
                    <a:pt x="234696" y="53340"/>
                  </a:lnTo>
                  <a:lnTo>
                    <a:pt x="168275" y="53340"/>
                  </a:lnTo>
                  <a:lnTo>
                    <a:pt x="168275" y="85344"/>
                  </a:lnTo>
                  <a:lnTo>
                    <a:pt x="168275" y="122682"/>
                  </a:lnTo>
                  <a:lnTo>
                    <a:pt x="168275" y="144018"/>
                  </a:lnTo>
                  <a:lnTo>
                    <a:pt x="168275" y="181356"/>
                  </a:lnTo>
                  <a:lnTo>
                    <a:pt x="168275" y="202692"/>
                  </a:lnTo>
                  <a:lnTo>
                    <a:pt x="168275" y="241046"/>
                  </a:lnTo>
                  <a:lnTo>
                    <a:pt x="119507" y="246380"/>
                  </a:lnTo>
                  <a:lnTo>
                    <a:pt x="119507" y="202692"/>
                  </a:lnTo>
                  <a:lnTo>
                    <a:pt x="168275" y="202692"/>
                  </a:lnTo>
                  <a:lnTo>
                    <a:pt x="168275" y="181356"/>
                  </a:lnTo>
                  <a:lnTo>
                    <a:pt x="119507" y="181356"/>
                  </a:lnTo>
                  <a:lnTo>
                    <a:pt x="119507" y="144018"/>
                  </a:lnTo>
                  <a:lnTo>
                    <a:pt x="168275" y="144018"/>
                  </a:lnTo>
                  <a:lnTo>
                    <a:pt x="168275" y="122682"/>
                  </a:lnTo>
                  <a:lnTo>
                    <a:pt x="119507" y="122682"/>
                  </a:lnTo>
                  <a:lnTo>
                    <a:pt x="119507" y="85344"/>
                  </a:lnTo>
                  <a:lnTo>
                    <a:pt x="168275" y="85344"/>
                  </a:lnTo>
                  <a:lnTo>
                    <a:pt x="168275" y="53340"/>
                  </a:lnTo>
                  <a:lnTo>
                    <a:pt x="101854" y="53340"/>
                  </a:lnTo>
                  <a:lnTo>
                    <a:pt x="101854" y="85344"/>
                  </a:lnTo>
                  <a:lnTo>
                    <a:pt x="101854" y="122682"/>
                  </a:lnTo>
                  <a:lnTo>
                    <a:pt x="101854" y="144018"/>
                  </a:lnTo>
                  <a:lnTo>
                    <a:pt x="101854" y="181356"/>
                  </a:lnTo>
                  <a:lnTo>
                    <a:pt x="101854" y="202692"/>
                  </a:lnTo>
                  <a:lnTo>
                    <a:pt x="101854" y="248031"/>
                  </a:lnTo>
                  <a:lnTo>
                    <a:pt x="53086" y="253365"/>
                  </a:lnTo>
                  <a:lnTo>
                    <a:pt x="53086" y="202692"/>
                  </a:lnTo>
                  <a:lnTo>
                    <a:pt x="101854" y="202692"/>
                  </a:lnTo>
                  <a:lnTo>
                    <a:pt x="101854" y="181356"/>
                  </a:lnTo>
                  <a:lnTo>
                    <a:pt x="53086" y="181356"/>
                  </a:lnTo>
                  <a:lnTo>
                    <a:pt x="53086" y="144018"/>
                  </a:lnTo>
                  <a:lnTo>
                    <a:pt x="101854" y="144018"/>
                  </a:lnTo>
                  <a:lnTo>
                    <a:pt x="101854" y="122682"/>
                  </a:lnTo>
                  <a:lnTo>
                    <a:pt x="53086" y="122682"/>
                  </a:lnTo>
                  <a:lnTo>
                    <a:pt x="53086" y="85344"/>
                  </a:lnTo>
                  <a:lnTo>
                    <a:pt x="101854" y="85344"/>
                  </a:lnTo>
                  <a:lnTo>
                    <a:pt x="101854" y="53340"/>
                  </a:lnTo>
                  <a:lnTo>
                    <a:pt x="53086" y="53340"/>
                  </a:lnTo>
                  <a:lnTo>
                    <a:pt x="53086" y="48006"/>
                  </a:lnTo>
                  <a:lnTo>
                    <a:pt x="49974" y="29260"/>
                  </a:lnTo>
                  <a:lnTo>
                    <a:pt x="41490" y="14008"/>
                  </a:lnTo>
                  <a:lnTo>
                    <a:pt x="28867" y="3759"/>
                  </a:lnTo>
                  <a:lnTo>
                    <a:pt x="13335" y="0"/>
                  </a:lnTo>
                  <a:lnTo>
                    <a:pt x="5715" y="0"/>
                  </a:lnTo>
                  <a:lnTo>
                    <a:pt x="0" y="6985"/>
                  </a:lnTo>
                  <a:lnTo>
                    <a:pt x="0" y="25019"/>
                  </a:lnTo>
                  <a:lnTo>
                    <a:pt x="5715" y="32004"/>
                  </a:lnTo>
                  <a:lnTo>
                    <a:pt x="20828" y="32004"/>
                  </a:lnTo>
                  <a:lnTo>
                    <a:pt x="26543" y="38989"/>
                  </a:lnTo>
                  <a:lnTo>
                    <a:pt x="26543" y="314706"/>
                  </a:lnTo>
                  <a:lnTo>
                    <a:pt x="29654" y="333463"/>
                  </a:lnTo>
                  <a:lnTo>
                    <a:pt x="38188" y="348716"/>
                  </a:lnTo>
                  <a:lnTo>
                    <a:pt x="50863" y="358965"/>
                  </a:lnTo>
                  <a:lnTo>
                    <a:pt x="66421" y="362712"/>
                  </a:lnTo>
                  <a:lnTo>
                    <a:pt x="80010" y="362712"/>
                  </a:lnTo>
                  <a:lnTo>
                    <a:pt x="275082" y="362712"/>
                  </a:lnTo>
                  <a:lnTo>
                    <a:pt x="321945" y="362712"/>
                  </a:lnTo>
                  <a:lnTo>
                    <a:pt x="327660" y="355727"/>
                  </a:lnTo>
                  <a:lnTo>
                    <a:pt x="327660" y="337693"/>
                  </a:lnTo>
                  <a:lnTo>
                    <a:pt x="321945" y="330708"/>
                  </a:lnTo>
                  <a:lnTo>
                    <a:pt x="58928" y="330708"/>
                  </a:lnTo>
                  <a:lnTo>
                    <a:pt x="53086" y="323723"/>
                  </a:lnTo>
                  <a:lnTo>
                    <a:pt x="53086" y="285369"/>
                  </a:lnTo>
                  <a:lnTo>
                    <a:pt x="327660" y="256032"/>
                  </a:lnTo>
                  <a:lnTo>
                    <a:pt x="327660" y="253365"/>
                  </a:lnTo>
                  <a:lnTo>
                    <a:pt x="327660" y="85344"/>
                  </a:lnTo>
                  <a:lnTo>
                    <a:pt x="327660" y="53340"/>
                  </a:lnTo>
                  <a:close/>
                </a:path>
              </a:pathLst>
            </a:custGeom>
            <a:solidFill>
              <a:srgbClr val="000000"/>
            </a:solidFill>
          </p:spPr>
          <p:txBody>
            <a:bodyPr wrap="square" lIns="0" tIns="0" rIns="0" bIns="0" rtlCol="0"/>
            <a:lstStyle/>
            <a:p>
              <a:endParaRPr>
                <a:latin typeface="+mn-lt"/>
                <a:cs typeface="Calibri" panose="020F0502020204030204" pitchFamily="34" charset="0"/>
              </a:endParaRPr>
            </a:p>
          </p:txBody>
        </p:sp>
      </p:grpSp>
      <p:sp>
        <p:nvSpPr>
          <p:cNvPr id="34" name="object 29">
            <a:extLst>
              <a:ext uri="{FF2B5EF4-FFF2-40B4-BE49-F238E27FC236}">
                <a16:creationId xmlns:a16="http://schemas.microsoft.com/office/drawing/2014/main" id="{6C156DE4-8D85-3C84-6FA0-E6B3F17005E7}"/>
              </a:ext>
            </a:extLst>
          </p:cNvPr>
          <p:cNvSpPr txBox="1"/>
          <p:nvPr/>
        </p:nvSpPr>
        <p:spPr>
          <a:xfrm>
            <a:off x="4088129" y="4279138"/>
            <a:ext cx="962026" cy="443711"/>
          </a:xfrm>
          <a:prstGeom prst="rect">
            <a:avLst/>
          </a:prstGeom>
        </p:spPr>
        <p:txBody>
          <a:bodyPr vert="horz" wrap="square" lIns="0" tIns="12700" rIns="0" bIns="0" rtlCol="0">
            <a:spAutoFit/>
          </a:bodyPr>
          <a:lstStyle/>
          <a:p>
            <a:pPr marL="1270" algn="ctr">
              <a:lnSpc>
                <a:spcPct val="100000"/>
              </a:lnSpc>
              <a:spcBef>
                <a:spcPts val="100"/>
              </a:spcBef>
            </a:pPr>
            <a:r>
              <a:rPr lang="pt-BR" sz="1400" b="1" dirty="0">
                <a:solidFill>
                  <a:srgbClr val="00B2A9"/>
                </a:solidFill>
                <a:latin typeface="+mn-lt"/>
                <a:cs typeface="Calibri" panose="020F0502020204030204" pitchFamily="34" charset="0"/>
              </a:rPr>
              <a:t>Varejo e </a:t>
            </a:r>
            <a:br>
              <a:rPr lang="pt-BR" sz="1400" b="1" dirty="0">
                <a:solidFill>
                  <a:srgbClr val="00B2A9"/>
                </a:solidFill>
                <a:latin typeface="+mn-lt"/>
                <a:cs typeface="Calibri" panose="020F0502020204030204" pitchFamily="34" charset="0"/>
              </a:rPr>
            </a:br>
            <a:r>
              <a:rPr lang="pt-BR" sz="1400" b="1" dirty="0">
                <a:solidFill>
                  <a:srgbClr val="00B2A9"/>
                </a:solidFill>
                <a:latin typeface="+mn-lt"/>
                <a:cs typeface="Calibri" panose="020F0502020204030204" pitchFamily="34" charset="0"/>
              </a:rPr>
              <a:t>E-commerce</a:t>
            </a:r>
            <a:endParaRPr sz="1400" dirty="0">
              <a:solidFill>
                <a:srgbClr val="00B2A9"/>
              </a:solidFill>
              <a:latin typeface="+mn-lt"/>
              <a:cs typeface="Calibri" panose="020F0502020204030204" pitchFamily="34" charset="0"/>
            </a:endParaRPr>
          </a:p>
        </p:txBody>
      </p:sp>
      <p:grpSp>
        <p:nvGrpSpPr>
          <p:cNvPr id="36" name="object 30">
            <a:extLst>
              <a:ext uri="{FF2B5EF4-FFF2-40B4-BE49-F238E27FC236}">
                <a16:creationId xmlns:a16="http://schemas.microsoft.com/office/drawing/2014/main" id="{8965A132-9C26-EEA2-8AE0-6E96670D355B}"/>
              </a:ext>
            </a:extLst>
          </p:cNvPr>
          <p:cNvGrpSpPr/>
          <p:nvPr/>
        </p:nvGrpSpPr>
        <p:grpSpPr>
          <a:xfrm>
            <a:off x="10321290" y="3467861"/>
            <a:ext cx="737870" cy="731520"/>
            <a:chOff x="10321290" y="3467861"/>
            <a:chExt cx="737870" cy="731520"/>
          </a:xfrm>
        </p:grpSpPr>
        <p:sp>
          <p:nvSpPr>
            <p:cNvPr id="37" name="object 31">
              <a:extLst>
                <a:ext uri="{FF2B5EF4-FFF2-40B4-BE49-F238E27FC236}">
                  <a16:creationId xmlns:a16="http://schemas.microsoft.com/office/drawing/2014/main" id="{B05F7C42-C6E3-CA30-6DE0-82B0EF1E7449}"/>
                </a:ext>
              </a:extLst>
            </p:cNvPr>
            <p:cNvSpPr/>
            <p:nvPr/>
          </p:nvSpPr>
          <p:spPr>
            <a:xfrm>
              <a:off x="10321290" y="3467861"/>
              <a:ext cx="737870" cy="731520"/>
            </a:xfrm>
            <a:custGeom>
              <a:avLst/>
              <a:gdLst/>
              <a:ahLst/>
              <a:cxnLst/>
              <a:rect l="l" t="t" r="r" b="b"/>
              <a:pathLst>
                <a:path w="737870" h="731520">
                  <a:moveTo>
                    <a:pt x="0" y="365760"/>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60"/>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20"/>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60"/>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sp>
          <p:nvSpPr>
            <p:cNvPr id="38" name="object 32">
              <a:extLst>
                <a:ext uri="{FF2B5EF4-FFF2-40B4-BE49-F238E27FC236}">
                  <a16:creationId xmlns:a16="http://schemas.microsoft.com/office/drawing/2014/main" id="{DBF39006-A465-F1D5-DC49-3843110CF536}"/>
                </a:ext>
              </a:extLst>
            </p:cNvPr>
            <p:cNvSpPr/>
            <p:nvPr/>
          </p:nvSpPr>
          <p:spPr>
            <a:xfrm>
              <a:off x="10562082" y="3647693"/>
              <a:ext cx="287020" cy="417830"/>
            </a:xfrm>
            <a:custGeom>
              <a:avLst/>
              <a:gdLst/>
              <a:ahLst/>
              <a:cxnLst/>
              <a:rect l="l" t="t" r="r" b="b"/>
              <a:pathLst>
                <a:path w="287020" h="417829">
                  <a:moveTo>
                    <a:pt x="240537" y="0"/>
                  </a:moveTo>
                  <a:lnTo>
                    <a:pt x="60324" y="0"/>
                  </a:lnTo>
                  <a:lnTo>
                    <a:pt x="0" y="228599"/>
                  </a:lnTo>
                  <a:lnTo>
                    <a:pt x="121792" y="228599"/>
                  </a:lnTo>
                  <a:lnTo>
                    <a:pt x="42925" y="417575"/>
                  </a:lnTo>
                  <a:lnTo>
                    <a:pt x="286511" y="167258"/>
                  </a:lnTo>
                  <a:lnTo>
                    <a:pt x="164718" y="167258"/>
                  </a:lnTo>
                  <a:lnTo>
                    <a:pt x="240537" y="0"/>
                  </a:lnTo>
                  <a:close/>
                </a:path>
              </a:pathLst>
            </a:custGeom>
            <a:solidFill>
              <a:srgbClr val="000000"/>
            </a:solidFill>
          </p:spPr>
          <p:txBody>
            <a:bodyPr wrap="square" lIns="0" tIns="0" rIns="0" bIns="0" rtlCol="0"/>
            <a:lstStyle/>
            <a:p>
              <a:endParaRPr>
                <a:latin typeface="+mn-lt"/>
                <a:cs typeface="Calibri" panose="020F0502020204030204" pitchFamily="34" charset="0"/>
              </a:endParaRPr>
            </a:p>
          </p:txBody>
        </p:sp>
        <p:sp>
          <p:nvSpPr>
            <p:cNvPr id="40" name="object 33">
              <a:extLst>
                <a:ext uri="{FF2B5EF4-FFF2-40B4-BE49-F238E27FC236}">
                  <a16:creationId xmlns:a16="http://schemas.microsoft.com/office/drawing/2014/main" id="{05D2901C-F921-7202-7095-81223AFAD069}"/>
                </a:ext>
              </a:extLst>
            </p:cNvPr>
            <p:cNvSpPr/>
            <p:nvPr/>
          </p:nvSpPr>
          <p:spPr>
            <a:xfrm>
              <a:off x="10562082" y="3647693"/>
              <a:ext cx="287020" cy="417830"/>
            </a:xfrm>
            <a:custGeom>
              <a:avLst/>
              <a:gdLst/>
              <a:ahLst/>
              <a:cxnLst/>
              <a:rect l="l" t="t" r="r" b="b"/>
              <a:pathLst>
                <a:path w="287020" h="417829">
                  <a:moveTo>
                    <a:pt x="42925" y="417575"/>
                  </a:moveTo>
                  <a:lnTo>
                    <a:pt x="121792" y="228599"/>
                  </a:lnTo>
                  <a:lnTo>
                    <a:pt x="0" y="228599"/>
                  </a:lnTo>
                  <a:lnTo>
                    <a:pt x="60324" y="0"/>
                  </a:lnTo>
                  <a:lnTo>
                    <a:pt x="240537" y="0"/>
                  </a:lnTo>
                  <a:lnTo>
                    <a:pt x="164718" y="167258"/>
                  </a:lnTo>
                  <a:lnTo>
                    <a:pt x="286511" y="167258"/>
                  </a:lnTo>
                  <a:lnTo>
                    <a:pt x="42925" y="417575"/>
                  </a:lnTo>
                  <a:close/>
                </a:path>
              </a:pathLst>
            </a:custGeom>
            <a:ln w="5257">
              <a:solidFill>
                <a:srgbClr val="000000"/>
              </a:solidFill>
            </a:ln>
          </p:spPr>
          <p:txBody>
            <a:bodyPr wrap="square" lIns="0" tIns="0" rIns="0" bIns="0" rtlCol="0"/>
            <a:lstStyle/>
            <a:p>
              <a:endParaRPr>
                <a:latin typeface="+mn-lt"/>
                <a:cs typeface="Calibri" panose="020F0502020204030204" pitchFamily="34" charset="0"/>
              </a:endParaRPr>
            </a:p>
          </p:txBody>
        </p:sp>
      </p:grpSp>
      <p:sp>
        <p:nvSpPr>
          <p:cNvPr id="41" name="object 34">
            <a:extLst>
              <a:ext uri="{FF2B5EF4-FFF2-40B4-BE49-F238E27FC236}">
                <a16:creationId xmlns:a16="http://schemas.microsoft.com/office/drawing/2014/main" id="{A0E91B31-DB8F-CD6A-6577-A0E4E22AD93D}"/>
              </a:ext>
            </a:extLst>
          </p:cNvPr>
          <p:cNvSpPr txBox="1"/>
          <p:nvPr/>
        </p:nvSpPr>
        <p:spPr>
          <a:xfrm>
            <a:off x="10285856" y="4317238"/>
            <a:ext cx="767715" cy="443711"/>
          </a:xfrm>
          <a:prstGeom prst="rect">
            <a:avLst/>
          </a:prstGeom>
        </p:spPr>
        <p:txBody>
          <a:bodyPr vert="horz" wrap="square" lIns="0" tIns="12700" rIns="0" bIns="0" rtlCol="0">
            <a:spAutoFit/>
          </a:bodyPr>
          <a:lstStyle/>
          <a:p>
            <a:pPr algn="ctr">
              <a:lnSpc>
                <a:spcPct val="100000"/>
              </a:lnSpc>
              <a:spcBef>
                <a:spcPts val="100"/>
              </a:spcBef>
            </a:pPr>
            <a:r>
              <a:rPr lang="pt-BR" sz="1400" b="1" dirty="0">
                <a:solidFill>
                  <a:srgbClr val="00B2A9"/>
                </a:solidFill>
                <a:latin typeface="+mn-lt"/>
                <a:cs typeface="Calibri" panose="020F0502020204030204" pitchFamily="34" charset="0"/>
              </a:rPr>
              <a:t>Serviços públicos</a:t>
            </a:r>
            <a:endParaRPr sz="1400" dirty="0">
              <a:solidFill>
                <a:srgbClr val="00B2A9"/>
              </a:solidFill>
              <a:latin typeface="+mn-lt"/>
              <a:cs typeface="Calibri" panose="020F0502020204030204" pitchFamily="34" charset="0"/>
            </a:endParaRPr>
          </a:p>
        </p:txBody>
      </p:sp>
      <p:grpSp>
        <p:nvGrpSpPr>
          <p:cNvPr id="42" name="object 35">
            <a:extLst>
              <a:ext uri="{FF2B5EF4-FFF2-40B4-BE49-F238E27FC236}">
                <a16:creationId xmlns:a16="http://schemas.microsoft.com/office/drawing/2014/main" id="{8494EE39-A88E-4F35-A04B-5910CDA28523}"/>
              </a:ext>
            </a:extLst>
          </p:cNvPr>
          <p:cNvGrpSpPr/>
          <p:nvPr/>
        </p:nvGrpSpPr>
        <p:grpSpPr>
          <a:xfrm>
            <a:off x="2690622" y="1683257"/>
            <a:ext cx="737870" cy="731520"/>
            <a:chOff x="2690622" y="1683257"/>
            <a:chExt cx="737870" cy="731520"/>
          </a:xfrm>
        </p:grpSpPr>
        <p:sp>
          <p:nvSpPr>
            <p:cNvPr id="43" name="object 36">
              <a:extLst>
                <a:ext uri="{FF2B5EF4-FFF2-40B4-BE49-F238E27FC236}">
                  <a16:creationId xmlns:a16="http://schemas.microsoft.com/office/drawing/2014/main" id="{3F770F09-6EDA-88C4-6860-252DF1CAC4E3}"/>
                </a:ext>
              </a:extLst>
            </p:cNvPr>
            <p:cNvSpPr/>
            <p:nvPr/>
          </p:nvSpPr>
          <p:spPr>
            <a:xfrm>
              <a:off x="2690622" y="1683257"/>
              <a:ext cx="737870" cy="731520"/>
            </a:xfrm>
            <a:custGeom>
              <a:avLst/>
              <a:gdLst/>
              <a:ahLst/>
              <a:cxnLst/>
              <a:rect l="l" t="t" r="r" b="b"/>
              <a:pathLst>
                <a:path w="737870" h="731519">
                  <a:moveTo>
                    <a:pt x="0" y="365760"/>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60"/>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20"/>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60"/>
                  </a:lnTo>
                  <a:close/>
                </a:path>
              </a:pathLst>
            </a:custGeom>
            <a:ln w="28575">
              <a:solidFill>
                <a:srgbClr val="00B2A9"/>
              </a:solidFill>
            </a:ln>
          </p:spPr>
          <p:txBody>
            <a:bodyPr wrap="square" lIns="0" tIns="0" rIns="0" bIns="0" rtlCol="0"/>
            <a:lstStyle/>
            <a:p>
              <a:endParaRPr dirty="0">
                <a:latin typeface="+mn-lt"/>
                <a:cs typeface="Calibri" panose="020F0502020204030204" pitchFamily="34" charset="0"/>
              </a:endParaRPr>
            </a:p>
          </p:txBody>
        </p:sp>
        <p:sp>
          <p:nvSpPr>
            <p:cNvPr id="48" name="object 37">
              <a:extLst>
                <a:ext uri="{FF2B5EF4-FFF2-40B4-BE49-F238E27FC236}">
                  <a16:creationId xmlns:a16="http://schemas.microsoft.com/office/drawing/2014/main" id="{D8881D2A-D3BA-4BC1-3C98-39B416D7FD83}"/>
                </a:ext>
              </a:extLst>
            </p:cNvPr>
            <p:cNvSpPr/>
            <p:nvPr/>
          </p:nvSpPr>
          <p:spPr>
            <a:xfrm>
              <a:off x="2706624" y="1740407"/>
              <a:ext cx="664845" cy="634365"/>
            </a:xfrm>
            <a:custGeom>
              <a:avLst/>
              <a:gdLst/>
              <a:ahLst/>
              <a:cxnLst/>
              <a:rect l="l" t="t" r="r" b="b"/>
              <a:pathLst>
                <a:path w="664845" h="634364">
                  <a:moveTo>
                    <a:pt x="332231" y="0"/>
                  </a:moveTo>
                  <a:lnTo>
                    <a:pt x="283130" y="3435"/>
                  </a:lnTo>
                  <a:lnTo>
                    <a:pt x="236268" y="13416"/>
                  </a:lnTo>
                  <a:lnTo>
                    <a:pt x="192159" y="29451"/>
                  </a:lnTo>
                  <a:lnTo>
                    <a:pt x="151315" y="51053"/>
                  </a:lnTo>
                  <a:lnTo>
                    <a:pt x="114251" y="77731"/>
                  </a:lnTo>
                  <a:lnTo>
                    <a:pt x="81481" y="108996"/>
                  </a:lnTo>
                  <a:lnTo>
                    <a:pt x="53517" y="144358"/>
                  </a:lnTo>
                  <a:lnTo>
                    <a:pt x="30873" y="183328"/>
                  </a:lnTo>
                  <a:lnTo>
                    <a:pt x="14064" y="225417"/>
                  </a:lnTo>
                  <a:lnTo>
                    <a:pt x="3601" y="270135"/>
                  </a:lnTo>
                  <a:lnTo>
                    <a:pt x="0" y="316991"/>
                  </a:lnTo>
                  <a:lnTo>
                    <a:pt x="3601" y="363848"/>
                  </a:lnTo>
                  <a:lnTo>
                    <a:pt x="14064" y="408566"/>
                  </a:lnTo>
                  <a:lnTo>
                    <a:pt x="30873" y="450655"/>
                  </a:lnTo>
                  <a:lnTo>
                    <a:pt x="53517" y="489625"/>
                  </a:lnTo>
                  <a:lnTo>
                    <a:pt x="81481" y="524987"/>
                  </a:lnTo>
                  <a:lnTo>
                    <a:pt x="114251" y="556252"/>
                  </a:lnTo>
                  <a:lnTo>
                    <a:pt x="151315" y="582930"/>
                  </a:lnTo>
                  <a:lnTo>
                    <a:pt x="192159" y="604532"/>
                  </a:lnTo>
                  <a:lnTo>
                    <a:pt x="236268" y="620567"/>
                  </a:lnTo>
                  <a:lnTo>
                    <a:pt x="283130" y="630548"/>
                  </a:lnTo>
                  <a:lnTo>
                    <a:pt x="332231" y="633983"/>
                  </a:lnTo>
                  <a:lnTo>
                    <a:pt x="381333" y="630548"/>
                  </a:lnTo>
                  <a:lnTo>
                    <a:pt x="428195" y="620567"/>
                  </a:lnTo>
                  <a:lnTo>
                    <a:pt x="472304" y="604532"/>
                  </a:lnTo>
                  <a:lnTo>
                    <a:pt x="513148" y="582930"/>
                  </a:lnTo>
                  <a:lnTo>
                    <a:pt x="550212" y="556252"/>
                  </a:lnTo>
                  <a:lnTo>
                    <a:pt x="582982" y="524987"/>
                  </a:lnTo>
                  <a:lnTo>
                    <a:pt x="610946" y="489625"/>
                  </a:lnTo>
                  <a:lnTo>
                    <a:pt x="633590" y="450655"/>
                  </a:lnTo>
                  <a:lnTo>
                    <a:pt x="650399" y="408566"/>
                  </a:lnTo>
                  <a:lnTo>
                    <a:pt x="660862" y="363848"/>
                  </a:lnTo>
                  <a:lnTo>
                    <a:pt x="664463" y="316991"/>
                  </a:lnTo>
                  <a:lnTo>
                    <a:pt x="660862" y="270135"/>
                  </a:lnTo>
                  <a:lnTo>
                    <a:pt x="650399" y="225417"/>
                  </a:lnTo>
                  <a:lnTo>
                    <a:pt x="633590" y="183328"/>
                  </a:lnTo>
                  <a:lnTo>
                    <a:pt x="610946" y="144358"/>
                  </a:lnTo>
                  <a:lnTo>
                    <a:pt x="582982" y="108996"/>
                  </a:lnTo>
                  <a:lnTo>
                    <a:pt x="550212" y="77731"/>
                  </a:lnTo>
                  <a:lnTo>
                    <a:pt x="513148" y="51053"/>
                  </a:lnTo>
                  <a:lnTo>
                    <a:pt x="472304" y="29451"/>
                  </a:lnTo>
                  <a:lnTo>
                    <a:pt x="428195" y="13416"/>
                  </a:lnTo>
                  <a:lnTo>
                    <a:pt x="381333" y="3435"/>
                  </a:lnTo>
                  <a:lnTo>
                    <a:pt x="332231" y="0"/>
                  </a:lnTo>
                  <a:close/>
                </a:path>
              </a:pathLst>
            </a:custGeom>
            <a:solidFill>
              <a:srgbClr val="FFFFFF"/>
            </a:solidFill>
          </p:spPr>
          <p:txBody>
            <a:bodyPr wrap="square" lIns="0" tIns="0" rIns="0" bIns="0" rtlCol="0"/>
            <a:lstStyle/>
            <a:p>
              <a:endParaRPr>
                <a:latin typeface="+mn-lt"/>
                <a:cs typeface="Calibri" panose="020F0502020204030204" pitchFamily="34" charset="0"/>
              </a:endParaRPr>
            </a:p>
          </p:txBody>
        </p:sp>
        <p:pic>
          <p:nvPicPr>
            <p:cNvPr id="49" name="object 38">
              <a:extLst>
                <a:ext uri="{FF2B5EF4-FFF2-40B4-BE49-F238E27FC236}">
                  <a16:creationId xmlns:a16="http://schemas.microsoft.com/office/drawing/2014/main" id="{59B82434-4B1B-CC9C-0449-972BBDC22827}"/>
                </a:ext>
              </a:extLst>
            </p:cNvPr>
            <p:cNvPicPr/>
            <p:nvPr/>
          </p:nvPicPr>
          <p:blipFill>
            <a:blip r:embed="rId7" cstate="print"/>
            <a:stretch>
              <a:fillRect/>
            </a:stretch>
          </p:blipFill>
          <p:spPr>
            <a:xfrm>
              <a:off x="2738628" y="1815083"/>
              <a:ext cx="609600" cy="492251"/>
            </a:xfrm>
            <a:prstGeom prst="rect">
              <a:avLst/>
            </a:prstGeom>
          </p:spPr>
        </p:pic>
      </p:grpSp>
      <p:grpSp>
        <p:nvGrpSpPr>
          <p:cNvPr id="50" name="object 39">
            <a:extLst>
              <a:ext uri="{FF2B5EF4-FFF2-40B4-BE49-F238E27FC236}">
                <a16:creationId xmlns:a16="http://schemas.microsoft.com/office/drawing/2014/main" id="{6BFF2D54-8ACE-DC89-513B-5BD546877200}"/>
              </a:ext>
            </a:extLst>
          </p:cNvPr>
          <p:cNvGrpSpPr/>
          <p:nvPr/>
        </p:nvGrpSpPr>
        <p:grpSpPr>
          <a:xfrm>
            <a:off x="1186433" y="1683257"/>
            <a:ext cx="737870" cy="731520"/>
            <a:chOff x="1186433" y="1683257"/>
            <a:chExt cx="737870" cy="731520"/>
          </a:xfrm>
        </p:grpSpPr>
        <p:sp>
          <p:nvSpPr>
            <p:cNvPr id="51" name="object 40">
              <a:extLst>
                <a:ext uri="{FF2B5EF4-FFF2-40B4-BE49-F238E27FC236}">
                  <a16:creationId xmlns:a16="http://schemas.microsoft.com/office/drawing/2014/main" id="{B3E1E6FF-FEEB-A399-D9A1-4EDBA0991C31}"/>
                </a:ext>
              </a:extLst>
            </p:cNvPr>
            <p:cNvSpPr/>
            <p:nvPr/>
          </p:nvSpPr>
          <p:spPr>
            <a:xfrm>
              <a:off x="1186433" y="1683257"/>
              <a:ext cx="737870" cy="731520"/>
            </a:xfrm>
            <a:custGeom>
              <a:avLst/>
              <a:gdLst/>
              <a:ahLst/>
              <a:cxnLst/>
              <a:rect l="l" t="t" r="r" b="b"/>
              <a:pathLst>
                <a:path w="737869" h="731519">
                  <a:moveTo>
                    <a:pt x="0" y="365760"/>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60"/>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20"/>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60"/>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pic>
          <p:nvPicPr>
            <p:cNvPr id="52" name="object 42">
              <a:extLst>
                <a:ext uri="{FF2B5EF4-FFF2-40B4-BE49-F238E27FC236}">
                  <a16:creationId xmlns:a16="http://schemas.microsoft.com/office/drawing/2014/main" id="{5E7E0D8A-9828-0B92-E83A-019B956D8877}"/>
                </a:ext>
              </a:extLst>
            </p:cNvPr>
            <p:cNvPicPr/>
            <p:nvPr/>
          </p:nvPicPr>
          <p:blipFill>
            <a:blip r:embed="rId8" cstate="print"/>
            <a:stretch>
              <a:fillRect/>
            </a:stretch>
          </p:blipFill>
          <p:spPr>
            <a:xfrm>
              <a:off x="1392283" y="2085101"/>
              <a:ext cx="89857" cy="90110"/>
            </a:xfrm>
            <a:prstGeom prst="rect">
              <a:avLst/>
            </a:prstGeom>
          </p:spPr>
        </p:pic>
        <p:pic>
          <p:nvPicPr>
            <p:cNvPr id="53" name="object 43">
              <a:extLst>
                <a:ext uri="{FF2B5EF4-FFF2-40B4-BE49-F238E27FC236}">
                  <a16:creationId xmlns:a16="http://schemas.microsoft.com/office/drawing/2014/main" id="{225BF8FC-30EF-3C6B-7F71-F1EBC72437BC}"/>
                </a:ext>
              </a:extLst>
            </p:cNvPr>
            <p:cNvPicPr/>
            <p:nvPr/>
          </p:nvPicPr>
          <p:blipFill>
            <a:blip r:embed="rId9" cstate="print"/>
            <a:stretch>
              <a:fillRect/>
            </a:stretch>
          </p:blipFill>
          <p:spPr>
            <a:xfrm>
              <a:off x="1661855" y="2085101"/>
              <a:ext cx="89857" cy="90110"/>
            </a:xfrm>
            <a:prstGeom prst="rect">
              <a:avLst/>
            </a:prstGeom>
          </p:spPr>
        </p:pic>
        <p:sp>
          <p:nvSpPr>
            <p:cNvPr id="54" name="object 44">
              <a:extLst>
                <a:ext uri="{FF2B5EF4-FFF2-40B4-BE49-F238E27FC236}">
                  <a16:creationId xmlns:a16="http://schemas.microsoft.com/office/drawing/2014/main" id="{3D1ED66B-CCEE-C5A8-85BF-B8FDA7CE2904}"/>
                </a:ext>
              </a:extLst>
            </p:cNvPr>
            <p:cNvSpPr/>
            <p:nvPr/>
          </p:nvSpPr>
          <p:spPr>
            <a:xfrm>
              <a:off x="1324890" y="1927408"/>
              <a:ext cx="494665" cy="203200"/>
            </a:xfrm>
            <a:custGeom>
              <a:avLst/>
              <a:gdLst/>
              <a:ahLst/>
              <a:cxnLst/>
              <a:rect l="l" t="t" r="r" b="b"/>
              <a:pathLst>
                <a:path w="494664" h="203200">
                  <a:moveTo>
                    <a:pt x="272941" y="0"/>
                  </a:moveTo>
                  <a:lnTo>
                    <a:pt x="108390" y="0"/>
                  </a:lnTo>
                  <a:lnTo>
                    <a:pt x="2246" y="87857"/>
                  </a:lnTo>
                  <a:lnTo>
                    <a:pt x="0" y="93489"/>
                  </a:lnTo>
                  <a:lnTo>
                    <a:pt x="0" y="157692"/>
                  </a:lnTo>
                  <a:lnTo>
                    <a:pt x="27483" y="199192"/>
                  </a:lnTo>
                  <a:lnTo>
                    <a:pt x="50544" y="202747"/>
                  </a:lnTo>
                  <a:lnTo>
                    <a:pt x="55379" y="178574"/>
                  </a:lnTo>
                  <a:lnTo>
                    <a:pt x="68586" y="158889"/>
                  </a:lnTo>
                  <a:lnTo>
                    <a:pt x="88216" y="145645"/>
                  </a:lnTo>
                  <a:lnTo>
                    <a:pt x="112321" y="140797"/>
                  </a:lnTo>
                  <a:lnTo>
                    <a:pt x="493073" y="140797"/>
                  </a:lnTo>
                  <a:lnTo>
                    <a:pt x="489783" y="124561"/>
                  </a:lnTo>
                  <a:lnTo>
                    <a:pt x="477718" y="106654"/>
                  </a:lnTo>
                  <a:lnTo>
                    <a:pt x="459860" y="94554"/>
                  </a:lnTo>
                  <a:lnTo>
                    <a:pt x="438054" y="90110"/>
                  </a:lnTo>
                  <a:lnTo>
                    <a:pt x="32011" y="90110"/>
                  </a:lnTo>
                  <a:lnTo>
                    <a:pt x="97158" y="24780"/>
                  </a:lnTo>
                  <a:lnTo>
                    <a:pt x="102774" y="22527"/>
                  </a:lnTo>
                  <a:lnTo>
                    <a:pt x="314577" y="22527"/>
                  </a:lnTo>
                  <a:lnTo>
                    <a:pt x="304953" y="12953"/>
                  </a:lnTo>
                  <a:lnTo>
                    <a:pt x="298135" y="7365"/>
                  </a:lnTo>
                  <a:lnTo>
                    <a:pt x="290421" y="3308"/>
                  </a:lnTo>
                  <a:lnTo>
                    <a:pt x="281971" y="836"/>
                  </a:lnTo>
                  <a:lnTo>
                    <a:pt x="272941" y="0"/>
                  </a:lnTo>
                  <a:close/>
                </a:path>
                <a:path w="494664" h="203200">
                  <a:moveTo>
                    <a:pt x="381893" y="140797"/>
                  </a:moveTo>
                  <a:lnTo>
                    <a:pt x="112321" y="140797"/>
                  </a:lnTo>
                  <a:lnTo>
                    <a:pt x="136426" y="145645"/>
                  </a:lnTo>
                  <a:lnTo>
                    <a:pt x="156056" y="158889"/>
                  </a:lnTo>
                  <a:lnTo>
                    <a:pt x="169263" y="178574"/>
                  </a:lnTo>
                  <a:lnTo>
                    <a:pt x="174098" y="202748"/>
                  </a:lnTo>
                  <a:lnTo>
                    <a:pt x="320116" y="202748"/>
                  </a:lnTo>
                  <a:lnTo>
                    <a:pt x="324951" y="178575"/>
                  </a:lnTo>
                  <a:lnTo>
                    <a:pt x="338158" y="158889"/>
                  </a:lnTo>
                  <a:lnTo>
                    <a:pt x="357788" y="145646"/>
                  </a:lnTo>
                  <a:lnTo>
                    <a:pt x="381893" y="140797"/>
                  </a:lnTo>
                  <a:close/>
                </a:path>
                <a:path w="494664" h="203200">
                  <a:moveTo>
                    <a:pt x="493073" y="140797"/>
                  </a:moveTo>
                  <a:lnTo>
                    <a:pt x="381893" y="140797"/>
                  </a:lnTo>
                  <a:lnTo>
                    <a:pt x="405998" y="145646"/>
                  </a:lnTo>
                  <a:lnTo>
                    <a:pt x="425628" y="158889"/>
                  </a:lnTo>
                  <a:lnTo>
                    <a:pt x="438835" y="178575"/>
                  </a:lnTo>
                  <a:lnTo>
                    <a:pt x="443670" y="202748"/>
                  </a:lnTo>
                  <a:lnTo>
                    <a:pt x="471750" y="202748"/>
                  </a:lnTo>
                  <a:lnTo>
                    <a:pt x="480473" y="200970"/>
                  </a:lnTo>
                  <a:lnTo>
                    <a:pt x="487616" y="196130"/>
                  </a:lnTo>
                  <a:lnTo>
                    <a:pt x="492442" y="188967"/>
                  </a:lnTo>
                  <a:lnTo>
                    <a:pt x="494215" y="180220"/>
                  </a:lnTo>
                  <a:lnTo>
                    <a:pt x="494215" y="146429"/>
                  </a:lnTo>
                  <a:lnTo>
                    <a:pt x="493073" y="140797"/>
                  </a:lnTo>
                  <a:close/>
                </a:path>
                <a:path w="494664" h="203200">
                  <a:moveTo>
                    <a:pt x="196562" y="22527"/>
                  </a:moveTo>
                  <a:lnTo>
                    <a:pt x="174098" y="22527"/>
                  </a:lnTo>
                  <a:lnTo>
                    <a:pt x="174098" y="90110"/>
                  </a:lnTo>
                  <a:lnTo>
                    <a:pt x="196562" y="90110"/>
                  </a:lnTo>
                  <a:lnTo>
                    <a:pt x="196562" y="22527"/>
                  </a:lnTo>
                  <a:close/>
                </a:path>
                <a:path w="494664" h="203200">
                  <a:moveTo>
                    <a:pt x="314577" y="22527"/>
                  </a:moveTo>
                  <a:lnTo>
                    <a:pt x="279680" y="22527"/>
                  </a:lnTo>
                  <a:lnTo>
                    <a:pt x="285296" y="24780"/>
                  </a:lnTo>
                  <a:lnTo>
                    <a:pt x="289228" y="29285"/>
                  </a:lnTo>
                  <a:lnTo>
                    <a:pt x="349881" y="90110"/>
                  </a:lnTo>
                  <a:lnTo>
                    <a:pt x="385263" y="90110"/>
                  </a:lnTo>
                  <a:lnTo>
                    <a:pt x="379647" y="87857"/>
                  </a:lnTo>
                  <a:lnTo>
                    <a:pt x="375715" y="83352"/>
                  </a:lnTo>
                  <a:lnTo>
                    <a:pt x="314577" y="22527"/>
                  </a:lnTo>
                  <a:close/>
                </a:path>
              </a:pathLst>
            </a:custGeom>
            <a:solidFill>
              <a:srgbClr val="000000"/>
            </a:solidFill>
          </p:spPr>
          <p:txBody>
            <a:bodyPr wrap="square" lIns="0" tIns="0" rIns="0" bIns="0" rtlCol="0"/>
            <a:lstStyle/>
            <a:p>
              <a:endParaRPr dirty="0">
                <a:latin typeface="+mn-lt"/>
                <a:cs typeface="Calibri" panose="020F0502020204030204" pitchFamily="34" charset="0"/>
              </a:endParaRPr>
            </a:p>
          </p:txBody>
        </p:sp>
      </p:grpSp>
      <p:grpSp>
        <p:nvGrpSpPr>
          <p:cNvPr id="55" name="object 45">
            <a:extLst>
              <a:ext uri="{FF2B5EF4-FFF2-40B4-BE49-F238E27FC236}">
                <a16:creationId xmlns:a16="http://schemas.microsoft.com/office/drawing/2014/main" id="{8F4D28AA-48AA-B7EA-315C-87C1C7AF1D5C}"/>
              </a:ext>
            </a:extLst>
          </p:cNvPr>
          <p:cNvGrpSpPr/>
          <p:nvPr/>
        </p:nvGrpSpPr>
        <p:grpSpPr>
          <a:xfrm>
            <a:off x="10301478" y="1674113"/>
            <a:ext cx="736600" cy="731520"/>
            <a:chOff x="10301478" y="1674113"/>
            <a:chExt cx="736600" cy="731520"/>
          </a:xfrm>
        </p:grpSpPr>
        <p:sp>
          <p:nvSpPr>
            <p:cNvPr id="56" name="object 46">
              <a:extLst>
                <a:ext uri="{FF2B5EF4-FFF2-40B4-BE49-F238E27FC236}">
                  <a16:creationId xmlns:a16="http://schemas.microsoft.com/office/drawing/2014/main" id="{D26B206B-7A92-A94C-FD8F-4F244632F514}"/>
                </a:ext>
              </a:extLst>
            </p:cNvPr>
            <p:cNvSpPr/>
            <p:nvPr/>
          </p:nvSpPr>
          <p:spPr>
            <a:xfrm>
              <a:off x="10301478" y="1674113"/>
              <a:ext cx="736600" cy="731520"/>
            </a:xfrm>
            <a:custGeom>
              <a:avLst/>
              <a:gdLst/>
              <a:ahLst/>
              <a:cxnLst/>
              <a:rect l="l" t="t" r="r" b="b"/>
              <a:pathLst>
                <a:path w="736600" h="731519">
                  <a:moveTo>
                    <a:pt x="0" y="365760"/>
                  </a:moveTo>
                  <a:lnTo>
                    <a:pt x="2866" y="319869"/>
                  </a:lnTo>
                  <a:lnTo>
                    <a:pt x="11236" y="275682"/>
                  </a:lnTo>
                  <a:lnTo>
                    <a:pt x="24766" y="233542"/>
                  </a:lnTo>
                  <a:lnTo>
                    <a:pt x="43110" y="193790"/>
                  </a:lnTo>
                  <a:lnTo>
                    <a:pt x="65924" y="156770"/>
                  </a:lnTo>
                  <a:lnTo>
                    <a:pt x="92865" y="122822"/>
                  </a:lnTo>
                  <a:lnTo>
                    <a:pt x="123587" y="92291"/>
                  </a:lnTo>
                  <a:lnTo>
                    <a:pt x="157746" y="65517"/>
                  </a:lnTo>
                  <a:lnTo>
                    <a:pt x="194998" y="42844"/>
                  </a:lnTo>
                  <a:lnTo>
                    <a:pt x="234999" y="24613"/>
                  </a:lnTo>
                  <a:lnTo>
                    <a:pt x="277403" y="11167"/>
                  </a:lnTo>
                  <a:lnTo>
                    <a:pt x="321867" y="2848"/>
                  </a:lnTo>
                  <a:lnTo>
                    <a:pt x="368046" y="0"/>
                  </a:lnTo>
                  <a:lnTo>
                    <a:pt x="414224" y="2848"/>
                  </a:lnTo>
                  <a:lnTo>
                    <a:pt x="458688" y="11167"/>
                  </a:lnTo>
                  <a:lnTo>
                    <a:pt x="501092" y="24613"/>
                  </a:lnTo>
                  <a:lnTo>
                    <a:pt x="541093" y="42844"/>
                  </a:lnTo>
                  <a:lnTo>
                    <a:pt x="578345" y="65517"/>
                  </a:lnTo>
                  <a:lnTo>
                    <a:pt x="612504" y="92291"/>
                  </a:lnTo>
                  <a:lnTo>
                    <a:pt x="643226" y="122822"/>
                  </a:lnTo>
                  <a:lnTo>
                    <a:pt x="670167" y="156770"/>
                  </a:lnTo>
                  <a:lnTo>
                    <a:pt x="692981" y="193790"/>
                  </a:lnTo>
                  <a:lnTo>
                    <a:pt x="711325" y="233542"/>
                  </a:lnTo>
                  <a:lnTo>
                    <a:pt x="724855" y="275682"/>
                  </a:lnTo>
                  <a:lnTo>
                    <a:pt x="733225" y="319869"/>
                  </a:lnTo>
                  <a:lnTo>
                    <a:pt x="736092" y="365760"/>
                  </a:lnTo>
                  <a:lnTo>
                    <a:pt x="733225" y="411650"/>
                  </a:lnTo>
                  <a:lnTo>
                    <a:pt x="724855" y="455837"/>
                  </a:lnTo>
                  <a:lnTo>
                    <a:pt x="711325" y="497977"/>
                  </a:lnTo>
                  <a:lnTo>
                    <a:pt x="692981" y="537729"/>
                  </a:lnTo>
                  <a:lnTo>
                    <a:pt x="670167" y="574749"/>
                  </a:lnTo>
                  <a:lnTo>
                    <a:pt x="643226" y="608697"/>
                  </a:lnTo>
                  <a:lnTo>
                    <a:pt x="612504" y="639228"/>
                  </a:lnTo>
                  <a:lnTo>
                    <a:pt x="578345" y="666002"/>
                  </a:lnTo>
                  <a:lnTo>
                    <a:pt x="541093" y="688675"/>
                  </a:lnTo>
                  <a:lnTo>
                    <a:pt x="501092" y="706906"/>
                  </a:lnTo>
                  <a:lnTo>
                    <a:pt x="458688" y="720352"/>
                  </a:lnTo>
                  <a:lnTo>
                    <a:pt x="414224" y="728671"/>
                  </a:lnTo>
                  <a:lnTo>
                    <a:pt x="368046" y="731520"/>
                  </a:lnTo>
                  <a:lnTo>
                    <a:pt x="321867" y="728671"/>
                  </a:lnTo>
                  <a:lnTo>
                    <a:pt x="277403" y="720352"/>
                  </a:lnTo>
                  <a:lnTo>
                    <a:pt x="234999" y="706906"/>
                  </a:lnTo>
                  <a:lnTo>
                    <a:pt x="194998" y="688675"/>
                  </a:lnTo>
                  <a:lnTo>
                    <a:pt x="157746" y="666002"/>
                  </a:lnTo>
                  <a:lnTo>
                    <a:pt x="123587" y="639228"/>
                  </a:lnTo>
                  <a:lnTo>
                    <a:pt x="92865" y="608697"/>
                  </a:lnTo>
                  <a:lnTo>
                    <a:pt x="65924" y="574749"/>
                  </a:lnTo>
                  <a:lnTo>
                    <a:pt x="43110" y="537729"/>
                  </a:lnTo>
                  <a:lnTo>
                    <a:pt x="24766" y="497977"/>
                  </a:lnTo>
                  <a:lnTo>
                    <a:pt x="11236" y="455837"/>
                  </a:lnTo>
                  <a:lnTo>
                    <a:pt x="2866" y="411650"/>
                  </a:lnTo>
                  <a:lnTo>
                    <a:pt x="0" y="365760"/>
                  </a:lnTo>
                  <a:close/>
                </a:path>
              </a:pathLst>
            </a:custGeom>
            <a:ln w="28575">
              <a:solidFill>
                <a:srgbClr val="00B2A9"/>
              </a:solidFill>
            </a:ln>
          </p:spPr>
          <p:txBody>
            <a:bodyPr wrap="square" lIns="0" tIns="0" rIns="0" bIns="0" rtlCol="0"/>
            <a:lstStyle/>
            <a:p>
              <a:endParaRPr dirty="0">
                <a:latin typeface="+mn-lt"/>
                <a:cs typeface="Calibri" panose="020F0502020204030204" pitchFamily="34" charset="0"/>
              </a:endParaRPr>
            </a:p>
          </p:txBody>
        </p:sp>
        <p:pic>
          <p:nvPicPr>
            <p:cNvPr id="57" name="object 48">
              <a:extLst>
                <a:ext uri="{FF2B5EF4-FFF2-40B4-BE49-F238E27FC236}">
                  <a16:creationId xmlns:a16="http://schemas.microsoft.com/office/drawing/2014/main" id="{A6DDD76C-26D2-8CF6-C6C5-008925073DEF}"/>
                </a:ext>
              </a:extLst>
            </p:cNvPr>
            <p:cNvPicPr/>
            <p:nvPr/>
          </p:nvPicPr>
          <p:blipFill>
            <a:blip r:embed="rId10" cstate="print"/>
            <a:stretch>
              <a:fillRect/>
            </a:stretch>
          </p:blipFill>
          <p:spPr>
            <a:xfrm>
              <a:off x="10443972" y="1781555"/>
              <a:ext cx="446531" cy="448056"/>
            </a:xfrm>
            <a:prstGeom prst="rect">
              <a:avLst/>
            </a:prstGeom>
          </p:spPr>
        </p:pic>
      </p:grpSp>
      <p:grpSp>
        <p:nvGrpSpPr>
          <p:cNvPr id="58" name="object 49">
            <a:extLst>
              <a:ext uri="{FF2B5EF4-FFF2-40B4-BE49-F238E27FC236}">
                <a16:creationId xmlns:a16="http://schemas.microsoft.com/office/drawing/2014/main" id="{B1FFEA25-7E62-9B82-CABD-00152D2EAF14}"/>
              </a:ext>
            </a:extLst>
          </p:cNvPr>
          <p:cNvGrpSpPr/>
          <p:nvPr/>
        </p:nvGrpSpPr>
        <p:grpSpPr>
          <a:xfrm>
            <a:off x="1151382" y="3438905"/>
            <a:ext cx="737870" cy="731520"/>
            <a:chOff x="1151382" y="3438905"/>
            <a:chExt cx="737870" cy="731520"/>
          </a:xfrm>
        </p:grpSpPr>
        <p:sp>
          <p:nvSpPr>
            <p:cNvPr id="59" name="object 50">
              <a:extLst>
                <a:ext uri="{FF2B5EF4-FFF2-40B4-BE49-F238E27FC236}">
                  <a16:creationId xmlns:a16="http://schemas.microsoft.com/office/drawing/2014/main" id="{2F1AE5DB-D3AB-683C-0543-6BE11C72A700}"/>
                </a:ext>
              </a:extLst>
            </p:cNvPr>
            <p:cNvSpPr/>
            <p:nvPr/>
          </p:nvSpPr>
          <p:spPr>
            <a:xfrm>
              <a:off x="1151382" y="3438905"/>
              <a:ext cx="737870" cy="731520"/>
            </a:xfrm>
            <a:custGeom>
              <a:avLst/>
              <a:gdLst/>
              <a:ahLst/>
              <a:cxnLst/>
              <a:rect l="l" t="t" r="r" b="b"/>
              <a:pathLst>
                <a:path w="737869" h="731520">
                  <a:moveTo>
                    <a:pt x="0" y="365759"/>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59"/>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19"/>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59"/>
                  </a:lnTo>
                  <a:close/>
                </a:path>
              </a:pathLst>
            </a:custGeom>
            <a:ln w="28575">
              <a:solidFill>
                <a:srgbClr val="00B2A9"/>
              </a:solidFill>
            </a:ln>
          </p:spPr>
          <p:txBody>
            <a:bodyPr wrap="square" lIns="0" tIns="0" rIns="0" bIns="0" rtlCol="0"/>
            <a:lstStyle/>
            <a:p>
              <a:endParaRPr dirty="0">
                <a:latin typeface="+mn-lt"/>
                <a:cs typeface="Calibri" panose="020F0502020204030204" pitchFamily="34" charset="0"/>
              </a:endParaRPr>
            </a:p>
          </p:txBody>
        </p:sp>
        <p:pic>
          <p:nvPicPr>
            <p:cNvPr id="60" name="object 51">
              <a:extLst>
                <a:ext uri="{FF2B5EF4-FFF2-40B4-BE49-F238E27FC236}">
                  <a16:creationId xmlns:a16="http://schemas.microsoft.com/office/drawing/2014/main" id="{00D35A5D-3D49-11F7-1021-9CEE89987232}"/>
                </a:ext>
              </a:extLst>
            </p:cNvPr>
            <p:cNvPicPr/>
            <p:nvPr/>
          </p:nvPicPr>
          <p:blipFill>
            <a:blip r:embed="rId11" cstate="print"/>
            <a:stretch>
              <a:fillRect/>
            </a:stretch>
          </p:blipFill>
          <p:spPr>
            <a:xfrm>
              <a:off x="1306160" y="3622640"/>
              <a:ext cx="428059" cy="428059"/>
            </a:xfrm>
            <a:prstGeom prst="rect">
              <a:avLst/>
            </a:prstGeom>
          </p:spPr>
        </p:pic>
      </p:grpSp>
      <p:sp>
        <p:nvSpPr>
          <p:cNvPr id="61" name="object 52">
            <a:extLst>
              <a:ext uri="{FF2B5EF4-FFF2-40B4-BE49-F238E27FC236}">
                <a16:creationId xmlns:a16="http://schemas.microsoft.com/office/drawing/2014/main" id="{C42FC875-0877-B053-7577-58D33EE4B0C8}"/>
              </a:ext>
            </a:extLst>
          </p:cNvPr>
          <p:cNvSpPr txBox="1"/>
          <p:nvPr/>
        </p:nvSpPr>
        <p:spPr>
          <a:xfrm>
            <a:off x="949858" y="4288663"/>
            <a:ext cx="1099185" cy="443711"/>
          </a:xfrm>
          <a:prstGeom prst="rect">
            <a:avLst/>
          </a:prstGeom>
        </p:spPr>
        <p:txBody>
          <a:bodyPr vert="horz" wrap="square" lIns="0" tIns="12700" rIns="0" bIns="0" rtlCol="0">
            <a:spAutoFit/>
          </a:bodyPr>
          <a:lstStyle/>
          <a:p>
            <a:pPr marL="12700" marR="5080" indent="219075">
              <a:lnSpc>
                <a:spcPct val="100000"/>
              </a:lnSpc>
              <a:spcBef>
                <a:spcPts val="100"/>
              </a:spcBef>
            </a:pPr>
            <a:r>
              <a:rPr lang="pt-BR" sz="1400" b="1" dirty="0">
                <a:solidFill>
                  <a:srgbClr val="00B2A9"/>
                </a:solidFill>
                <a:latin typeface="+mn-lt"/>
                <a:cs typeface="Calibri" panose="020F0502020204030204" pitchFamily="34" charset="0"/>
              </a:rPr>
              <a:t>Mídia e Comunicação</a:t>
            </a:r>
            <a:endParaRPr sz="1400" dirty="0">
              <a:solidFill>
                <a:srgbClr val="00B2A9"/>
              </a:solidFill>
              <a:latin typeface="+mn-lt"/>
              <a:cs typeface="Calibri" panose="020F0502020204030204" pitchFamily="34" charset="0"/>
            </a:endParaRPr>
          </a:p>
        </p:txBody>
      </p:sp>
      <p:grpSp>
        <p:nvGrpSpPr>
          <p:cNvPr id="62" name="object 53">
            <a:extLst>
              <a:ext uri="{FF2B5EF4-FFF2-40B4-BE49-F238E27FC236}">
                <a16:creationId xmlns:a16="http://schemas.microsoft.com/office/drawing/2014/main" id="{5F072247-3E40-F8FA-2946-7E6853D6ADB3}"/>
              </a:ext>
            </a:extLst>
          </p:cNvPr>
          <p:cNvGrpSpPr/>
          <p:nvPr/>
        </p:nvGrpSpPr>
        <p:grpSpPr>
          <a:xfrm>
            <a:off x="8771381" y="3454146"/>
            <a:ext cx="737870" cy="733425"/>
            <a:chOff x="8771381" y="3454146"/>
            <a:chExt cx="737870" cy="733425"/>
          </a:xfrm>
        </p:grpSpPr>
        <p:sp>
          <p:nvSpPr>
            <p:cNvPr id="64" name="object 54">
              <a:extLst>
                <a:ext uri="{FF2B5EF4-FFF2-40B4-BE49-F238E27FC236}">
                  <a16:creationId xmlns:a16="http://schemas.microsoft.com/office/drawing/2014/main" id="{169F06A1-B905-3CE7-FBC5-B3BC88364006}"/>
                </a:ext>
              </a:extLst>
            </p:cNvPr>
            <p:cNvSpPr/>
            <p:nvPr/>
          </p:nvSpPr>
          <p:spPr>
            <a:xfrm>
              <a:off x="8771381" y="3454146"/>
              <a:ext cx="737870" cy="733425"/>
            </a:xfrm>
            <a:custGeom>
              <a:avLst/>
              <a:gdLst/>
              <a:ahLst/>
              <a:cxnLst/>
              <a:rect l="l" t="t" r="r" b="b"/>
              <a:pathLst>
                <a:path w="737870" h="733425">
                  <a:moveTo>
                    <a:pt x="0" y="366521"/>
                  </a:moveTo>
                  <a:lnTo>
                    <a:pt x="2873" y="320543"/>
                  </a:lnTo>
                  <a:lnTo>
                    <a:pt x="11262" y="276270"/>
                  </a:lnTo>
                  <a:lnTo>
                    <a:pt x="24822" y="234045"/>
                  </a:lnTo>
                  <a:lnTo>
                    <a:pt x="43207" y="194212"/>
                  </a:lnTo>
                  <a:lnTo>
                    <a:pt x="66072" y="157114"/>
                  </a:lnTo>
                  <a:lnTo>
                    <a:pt x="93071" y="123094"/>
                  </a:lnTo>
                  <a:lnTo>
                    <a:pt x="123859" y="92497"/>
                  </a:lnTo>
                  <a:lnTo>
                    <a:pt x="158090" y="65664"/>
                  </a:lnTo>
                  <a:lnTo>
                    <a:pt x="195420" y="42941"/>
                  </a:lnTo>
                  <a:lnTo>
                    <a:pt x="235502" y="24669"/>
                  </a:lnTo>
                  <a:lnTo>
                    <a:pt x="277990" y="11193"/>
                  </a:lnTo>
                  <a:lnTo>
                    <a:pt x="322541" y="2855"/>
                  </a:lnTo>
                  <a:lnTo>
                    <a:pt x="368808" y="0"/>
                  </a:lnTo>
                  <a:lnTo>
                    <a:pt x="415074" y="2855"/>
                  </a:lnTo>
                  <a:lnTo>
                    <a:pt x="459625" y="11193"/>
                  </a:lnTo>
                  <a:lnTo>
                    <a:pt x="502113" y="24669"/>
                  </a:lnTo>
                  <a:lnTo>
                    <a:pt x="542195" y="42941"/>
                  </a:lnTo>
                  <a:lnTo>
                    <a:pt x="579525" y="65664"/>
                  </a:lnTo>
                  <a:lnTo>
                    <a:pt x="613756" y="92497"/>
                  </a:lnTo>
                  <a:lnTo>
                    <a:pt x="644544" y="123094"/>
                  </a:lnTo>
                  <a:lnTo>
                    <a:pt x="671543" y="157114"/>
                  </a:lnTo>
                  <a:lnTo>
                    <a:pt x="694408" y="194212"/>
                  </a:lnTo>
                  <a:lnTo>
                    <a:pt x="712793" y="234045"/>
                  </a:lnTo>
                  <a:lnTo>
                    <a:pt x="726353" y="276270"/>
                  </a:lnTo>
                  <a:lnTo>
                    <a:pt x="734742" y="320543"/>
                  </a:lnTo>
                  <a:lnTo>
                    <a:pt x="737616" y="366521"/>
                  </a:lnTo>
                  <a:lnTo>
                    <a:pt x="734742" y="412500"/>
                  </a:lnTo>
                  <a:lnTo>
                    <a:pt x="726353" y="456773"/>
                  </a:lnTo>
                  <a:lnTo>
                    <a:pt x="712793" y="498998"/>
                  </a:lnTo>
                  <a:lnTo>
                    <a:pt x="694408" y="538831"/>
                  </a:lnTo>
                  <a:lnTo>
                    <a:pt x="671543" y="575929"/>
                  </a:lnTo>
                  <a:lnTo>
                    <a:pt x="644544" y="609949"/>
                  </a:lnTo>
                  <a:lnTo>
                    <a:pt x="613756" y="640546"/>
                  </a:lnTo>
                  <a:lnTo>
                    <a:pt x="579525" y="667379"/>
                  </a:lnTo>
                  <a:lnTo>
                    <a:pt x="542195" y="690102"/>
                  </a:lnTo>
                  <a:lnTo>
                    <a:pt x="502113" y="708374"/>
                  </a:lnTo>
                  <a:lnTo>
                    <a:pt x="459625" y="721850"/>
                  </a:lnTo>
                  <a:lnTo>
                    <a:pt x="415074" y="730188"/>
                  </a:lnTo>
                  <a:lnTo>
                    <a:pt x="368808" y="733043"/>
                  </a:lnTo>
                  <a:lnTo>
                    <a:pt x="322541" y="730188"/>
                  </a:lnTo>
                  <a:lnTo>
                    <a:pt x="277990" y="721850"/>
                  </a:lnTo>
                  <a:lnTo>
                    <a:pt x="235502" y="708374"/>
                  </a:lnTo>
                  <a:lnTo>
                    <a:pt x="195420" y="690102"/>
                  </a:lnTo>
                  <a:lnTo>
                    <a:pt x="158090" y="667379"/>
                  </a:lnTo>
                  <a:lnTo>
                    <a:pt x="123859" y="640546"/>
                  </a:lnTo>
                  <a:lnTo>
                    <a:pt x="93071" y="609949"/>
                  </a:lnTo>
                  <a:lnTo>
                    <a:pt x="66072" y="575929"/>
                  </a:lnTo>
                  <a:lnTo>
                    <a:pt x="43207" y="538831"/>
                  </a:lnTo>
                  <a:lnTo>
                    <a:pt x="24822" y="498998"/>
                  </a:lnTo>
                  <a:lnTo>
                    <a:pt x="11262" y="456773"/>
                  </a:lnTo>
                  <a:lnTo>
                    <a:pt x="2873" y="412500"/>
                  </a:lnTo>
                  <a:lnTo>
                    <a:pt x="0" y="366521"/>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pic>
          <p:nvPicPr>
            <p:cNvPr id="65" name="object 56">
              <a:extLst>
                <a:ext uri="{FF2B5EF4-FFF2-40B4-BE49-F238E27FC236}">
                  <a16:creationId xmlns:a16="http://schemas.microsoft.com/office/drawing/2014/main" id="{AA89BD8C-EF07-726E-E28F-52D6E348EB97}"/>
                </a:ext>
              </a:extLst>
            </p:cNvPr>
            <p:cNvPicPr/>
            <p:nvPr/>
          </p:nvPicPr>
          <p:blipFill>
            <a:blip r:embed="rId12" cstate="print"/>
            <a:stretch>
              <a:fillRect/>
            </a:stretch>
          </p:blipFill>
          <p:spPr>
            <a:xfrm>
              <a:off x="8864980" y="3559860"/>
              <a:ext cx="532815" cy="533603"/>
            </a:xfrm>
            <a:prstGeom prst="rect">
              <a:avLst/>
            </a:prstGeom>
          </p:spPr>
        </p:pic>
      </p:grpSp>
      <p:sp>
        <p:nvSpPr>
          <p:cNvPr id="66" name="object 57">
            <a:hlinkClick r:id="" action="ppaction://noaction"/>
            <a:extLst>
              <a:ext uri="{FF2B5EF4-FFF2-40B4-BE49-F238E27FC236}">
                <a16:creationId xmlns:a16="http://schemas.microsoft.com/office/drawing/2014/main" id="{08FCF911-49E0-89B1-44C2-2E4D4F589AF0}"/>
              </a:ext>
            </a:extLst>
          </p:cNvPr>
          <p:cNvSpPr txBox="1"/>
          <p:nvPr/>
        </p:nvSpPr>
        <p:spPr>
          <a:xfrm>
            <a:off x="8725027" y="4304791"/>
            <a:ext cx="830580" cy="443711"/>
          </a:xfrm>
          <a:prstGeom prst="rect">
            <a:avLst/>
          </a:prstGeom>
        </p:spPr>
        <p:txBody>
          <a:bodyPr vert="horz" wrap="square" lIns="0" tIns="12700" rIns="0" bIns="0" rtlCol="0" anchor="ctr">
            <a:spAutoFit/>
          </a:bodyPr>
          <a:lstStyle/>
          <a:p>
            <a:pPr marL="12700" marR="5080" indent="100330">
              <a:lnSpc>
                <a:spcPct val="100000"/>
              </a:lnSpc>
              <a:spcBef>
                <a:spcPts val="100"/>
              </a:spcBef>
            </a:pPr>
            <a:r>
              <a:rPr lang="pt-BR" sz="1400" b="1" u="sng" spc="-25" dirty="0">
                <a:solidFill>
                  <a:srgbClr val="00B2A9"/>
                </a:solidFill>
                <a:latin typeface="+mn-lt"/>
                <a:cs typeface="Calibri" panose="020F0502020204030204" pitchFamily="34" charset="0"/>
              </a:rPr>
              <a:t>Viagem </a:t>
            </a:r>
            <a:br>
              <a:rPr lang="pt-BR" sz="1400" b="1" u="sng" spc="-25" dirty="0">
                <a:solidFill>
                  <a:srgbClr val="00B2A9"/>
                </a:solidFill>
                <a:latin typeface="+mn-lt"/>
                <a:cs typeface="Calibri" panose="020F0502020204030204" pitchFamily="34" charset="0"/>
              </a:rPr>
            </a:br>
            <a:r>
              <a:rPr lang="pt-BR" sz="1400" b="1" u="sng" spc="-25" dirty="0">
                <a:solidFill>
                  <a:srgbClr val="00B2A9"/>
                </a:solidFill>
                <a:latin typeface="+mn-lt"/>
                <a:cs typeface="Calibri" panose="020F0502020204030204" pitchFamily="34" charset="0"/>
              </a:rPr>
              <a:t>e Turismo</a:t>
            </a:r>
            <a:endParaRPr sz="1400" u="sng" dirty="0">
              <a:solidFill>
                <a:srgbClr val="00B2A9"/>
              </a:solidFill>
              <a:latin typeface="+mn-lt"/>
              <a:cs typeface="Calibri" panose="020F0502020204030204" pitchFamily="34" charset="0"/>
            </a:endParaRPr>
          </a:p>
        </p:txBody>
      </p:sp>
      <p:grpSp>
        <p:nvGrpSpPr>
          <p:cNvPr id="68" name="object 58">
            <a:extLst>
              <a:ext uri="{FF2B5EF4-FFF2-40B4-BE49-F238E27FC236}">
                <a16:creationId xmlns:a16="http://schemas.microsoft.com/office/drawing/2014/main" id="{FC07A592-220F-4FA2-B9D5-2C5800DAFC1F}"/>
              </a:ext>
            </a:extLst>
          </p:cNvPr>
          <p:cNvGrpSpPr/>
          <p:nvPr/>
        </p:nvGrpSpPr>
        <p:grpSpPr>
          <a:xfrm>
            <a:off x="2675382" y="3438905"/>
            <a:ext cx="737870" cy="731520"/>
            <a:chOff x="2675382" y="3438905"/>
            <a:chExt cx="737870" cy="731520"/>
          </a:xfrm>
        </p:grpSpPr>
        <p:sp>
          <p:nvSpPr>
            <p:cNvPr id="69" name="object 59">
              <a:extLst>
                <a:ext uri="{FF2B5EF4-FFF2-40B4-BE49-F238E27FC236}">
                  <a16:creationId xmlns:a16="http://schemas.microsoft.com/office/drawing/2014/main" id="{91AF2136-5875-F992-6AB9-55D422B6E31E}"/>
                </a:ext>
              </a:extLst>
            </p:cNvPr>
            <p:cNvSpPr/>
            <p:nvPr/>
          </p:nvSpPr>
          <p:spPr>
            <a:xfrm>
              <a:off x="2675382" y="3438905"/>
              <a:ext cx="737870" cy="731520"/>
            </a:xfrm>
            <a:custGeom>
              <a:avLst/>
              <a:gdLst/>
              <a:ahLst/>
              <a:cxnLst/>
              <a:rect l="l" t="t" r="r" b="b"/>
              <a:pathLst>
                <a:path w="737870" h="731520">
                  <a:moveTo>
                    <a:pt x="0" y="365759"/>
                  </a:moveTo>
                  <a:lnTo>
                    <a:pt x="2873" y="319869"/>
                  </a:lnTo>
                  <a:lnTo>
                    <a:pt x="11262" y="275682"/>
                  </a:lnTo>
                  <a:lnTo>
                    <a:pt x="24822" y="233542"/>
                  </a:lnTo>
                  <a:lnTo>
                    <a:pt x="43207" y="193790"/>
                  </a:lnTo>
                  <a:lnTo>
                    <a:pt x="66072" y="156770"/>
                  </a:lnTo>
                  <a:lnTo>
                    <a:pt x="93071" y="122822"/>
                  </a:lnTo>
                  <a:lnTo>
                    <a:pt x="123859" y="92291"/>
                  </a:lnTo>
                  <a:lnTo>
                    <a:pt x="158090" y="65517"/>
                  </a:lnTo>
                  <a:lnTo>
                    <a:pt x="195420" y="42844"/>
                  </a:lnTo>
                  <a:lnTo>
                    <a:pt x="235502" y="24613"/>
                  </a:lnTo>
                  <a:lnTo>
                    <a:pt x="277990" y="11167"/>
                  </a:lnTo>
                  <a:lnTo>
                    <a:pt x="322541" y="2848"/>
                  </a:lnTo>
                  <a:lnTo>
                    <a:pt x="368808" y="0"/>
                  </a:lnTo>
                  <a:lnTo>
                    <a:pt x="415074" y="2848"/>
                  </a:lnTo>
                  <a:lnTo>
                    <a:pt x="459625" y="11167"/>
                  </a:lnTo>
                  <a:lnTo>
                    <a:pt x="502113" y="24613"/>
                  </a:lnTo>
                  <a:lnTo>
                    <a:pt x="542195" y="42844"/>
                  </a:lnTo>
                  <a:lnTo>
                    <a:pt x="579525" y="65517"/>
                  </a:lnTo>
                  <a:lnTo>
                    <a:pt x="613756" y="92291"/>
                  </a:lnTo>
                  <a:lnTo>
                    <a:pt x="644544" y="122822"/>
                  </a:lnTo>
                  <a:lnTo>
                    <a:pt x="671543" y="156770"/>
                  </a:lnTo>
                  <a:lnTo>
                    <a:pt x="694408" y="193790"/>
                  </a:lnTo>
                  <a:lnTo>
                    <a:pt x="712793" y="233542"/>
                  </a:lnTo>
                  <a:lnTo>
                    <a:pt x="726353" y="275682"/>
                  </a:lnTo>
                  <a:lnTo>
                    <a:pt x="734742" y="319869"/>
                  </a:lnTo>
                  <a:lnTo>
                    <a:pt x="737616" y="365759"/>
                  </a:lnTo>
                  <a:lnTo>
                    <a:pt x="734742" y="411650"/>
                  </a:lnTo>
                  <a:lnTo>
                    <a:pt x="726353" y="455837"/>
                  </a:lnTo>
                  <a:lnTo>
                    <a:pt x="712793" y="497977"/>
                  </a:lnTo>
                  <a:lnTo>
                    <a:pt x="694408" y="537729"/>
                  </a:lnTo>
                  <a:lnTo>
                    <a:pt x="671543" y="574749"/>
                  </a:lnTo>
                  <a:lnTo>
                    <a:pt x="644544" y="608697"/>
                  </a:lnTo>
                  <a:lnTo>
                    <a:pt x="613756" y="639228"/>
                  </a:lnTo>
                  <a:lnTo>
                    <a:pt x="579525" y="666002"/>
                  </a:lnTo>
                  <a:lnTo>
                    <a:pt x="542195" y="688675"/>
                  </a:lnTo>
                  <a:lnTo>
                    <a:pt x="502113" y="706906"/>
                  </a:lnTo>
                  <a:lnTo>
                    <a:pt x="459625" y="720352"/>
                  </a:lnTo>
                  <a:lnTo>
                    <a:pt x="415074" y="728671"/>
                  </a:lnTo>
                  <a:lnTo>
                    <a:pt x="368808" y="731519"/>
                  </a:lnTo>
                  <a:lnTo>
                    <a:pt x="322541" y="728671"/>
                  </a:lnTo>
                  <a:lnTo>
                    <a:pt x="277990" y="720352"/>
                  </a:lnTo>
                  <a:lnTo>
                    <a:pt x="235502" y="706906"/>
                  </a:lnTo>
                  <a:lnTo>
                    <a:pt x="195420" y="688675"/>
                  </a:lnTo>
                  <a:lnTo>
                    <a:pt x="158090" y="666002"/>
                  </a:lnTo>
                  <a:lnTo>
                    <a:pt x="123859" y="639228"/>
                  </a:lnTo>
                  <a:lnTo>
                    <a:pt x="93071" y="608697"/>
                  </a:lnTo>
                  <a:lnTo>
                    <a:pt x="66072" y="574749"/>
                  </a:lnTo>
                  <a:lnTo>
                    <a:pt x="43207" y="537729"/>
                  </a:lnTo>
                  <a:lnTo>
                    <a:pt x="24822" y="497977"/>
                  </a:lnTo>
                  <a:lnTo>
                    <a:pt x="11262" y="455837"/>
                  </a:lnTo>
                  <a:lnTo>
                    <a:pt x="2873" y="411650"/>
                  </a:lnTo>
                  <a:lnTo>
                    <a:pt x="0" y="365759"/>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pic>
          <p:nvPicPr>
            <p:cNvPr id="70" name="object 60">
              <a:extLst>
                <a:ext uri="{FF2B5EF4-FFF2-40B4-BE49-F238E27FC236}">
                  <a16:creationId xmlns:a16="http://schemas.microsoft.com/office/drawing/2014/main" id="{95FF9774-62DD-1F96-E4F7-0172B15E86E8}"/>
                </a:ext>
              </a:extLst>
            </p:cNvPr>
            <p:cNvPicPr/>
            <p:nvPr/>
          </p:nvPicPr>
          <p:blipFill>
            <a:blip r:embed="rId13" cstate="print"/>
            <a:stretch>
              <a:fillRect/>
            </a:stretch>
          </p:blipFill>
          <p:spPr>
            <a:xfrm>
              <a:off x="2776218" y="3523680"/>
              <a:ext cx="585725" cy="556717"/>
            </a:xfrm>
            <a:prstGeom prst="rect">
              <a:avLst/>
            </a:prstGeom>
          </p:spPr>
        </p:pic>
      </p:grpSp>
      <p:sp>
        <p:nvSpPr>
          <p:cNvPr id="72" name="object 61">
            <a:hlinkClick r:id="" action="ppaction://noaction"/>
            <a:extLst>
              <a:ext uri="{FF2B5EF4-FFF2-40B4-BE49-F238E27FC236}">
                <a16:creationId xmlns:a16="http://schemas.microsoft.com/office/drawing/2014/main" id="{873CE6D4-0955-4506-F951-81B22A355C90}"/>
              </a:ext>
            </a:extLst>
          </p:cNvPr>
          <p:cNvSpPr txBox="1"/>
          <p:nvPr/>
        </p:nvSpPr>
        <p:spPr>
          <a:xfrm>
            <a:off x="2538602" y="4248988"/>
            <a:ext cx="1035814" cy="444352"/>
          </a:xfrm>
          <a:prstGeom prst="rect">
            <a:avLst/>
          </a:prstGeom>
        </p:spPr>
        <p:txBody>
          <a:bodyPr vert="horz" wrap="square" lIns="0" tIns="13335" rIns="0" bIns="0" rtlCol="0">
            <a:spAutoFit/>
          </a:bodyPr>
          <a:lstStyle/>
          <a:p>
            <a:pPr marL="12700" algn="ctr">
              <a:lnSpc>
                <a:spcPct val="100000"/>
              </a:lnSpc>
              <a:spcBef>
                <a:spcPts val="105"/>
              </a:spcBef>
            </a:pPr>
            <a:r>
              <a:rPr lang="pt-BR" sz="1400" b="1" u="sng" dirty="0">
                <a:solidFill>
                  <a:srgbClr val="00B2A9"/>
                </a:solidFill>
                <a:latin typeface="+mn-lt"/>
                <a:cs typeface="Calibri" panose="020F0502020204030204" pitchFamily="34" charset="0"/>
              </a:rPr>
              <a:t>Mobilidade e Logística</a:t>
            </a:r>
            <a:endParaRPr sz="1400" u="sng" dirty="0">
              <a:solidFill>
                <a:srgbClr val="00B2A9"/>
              </a:solidFill>
              <a:latin typeface="+mn-lt"/>
              <a:cs typeface="Calibri" panose="020F0502020204030204" pitchFamily="34" charset="0"/>
            </a:endParaRPr>
          </a:p>
        </p:txBody>
      </p:sp>
      <p:grpSp>
        <p:nvGrpSpPr>
          <p:cNvPr id="96" name="object 62">
            <a:extLst>
              <a:ext uri="{FF2B5EF4-FFF2-40B4-BE49-F238E27FC236}">
                <a16:creationId xmlns:a16="http://schemas.microsoft.com/office/drawing/2014/main" id="{20BE346B-57C3-53D1-B180-0B79E78F44B1}"/>
              </a:ext>
            </a:extLst>
          </p:cNvPr>
          <p:cNvGrpSpPr/>
          <p:nvPr/>
        </p:nvGrpSpPr>
        <p:grpSpPr>
          <a:xfrm>
            <a:off x="8794242" y="1674114"/>
            <a:ext cx="736600" cy="731520"/>
            <a:chOff x="8794242" y="1674114"/>
            <a:chExt cx="736600" cy="731520"/>
          </a:xfrm>
        </p:grpSpPr>
        <p:sp>
          <p:nvSpPr>
            <p:cNvPr id="97" name="object 63">
              <a:extLst>
                <a:ext uri="{FF2B5EF4-FFF2-40B4-BE49-F238E27FC236}">
                  <a16:creationId xmlns:a16="http://schemas.microsoft.com/office/drawing/2014/main" id="{5229CC36-73EE-2B55-C2C0-F993D01FDEE3}"/>
                </a:ext>
              </a:extLst>
            </p:cNvPr>
            <p:cNvSpPr/>
            <p:nvPr/>
          </p:nvSpPr>
          <p:spPr>
            <a:xfrm>
              <a:off x="8794242" y="1674114"/>
              <a:ext cx="736600" cy="731520"/>
            </a:xfrm>
            <a:custGeom>
              <a:avLst/>
              <a:gdLst/>
              <a:ahLst/>
              <a:cxnLst/>
              <a:rect l="l" t="t" r="r" b="b"/>
              <a:pathLst>
                <a:path w="736600" h="731519">
                  <a:moveTo>
                    <a:pt x="0" y="365760"/>
                  </a:moveTo>
                  <a:lnTo>
                    <a:pt x="2866" y="319869"/>
                  </a:lnTo>
                  <a:lnTo>
                    <a:pt x="11236" y="275682"/>
                  </a:lnTo>
                  <a:lnTo>
                    <a:pt x="24766" y="233542"/>
                  </a:lnTo>
                  <a:lnTo>
                    <a:pt x="43110" y="193790"/>
                  </a:lnTo>
                  <a:lnTo>
                    <a:pt x="65924" y="156770"/>
                  </a:lnTo>
                  <a:lnTo>
                    <a:pt x="92865" y="122822"/>
                  </a:lnTo>
                  <a:lnTo>
                    <a:pt x="123587" y="92291"/>
                  </a:lnTo>
                  <a:lnTo>
                    <a:pt x="157746" y="65517"/>
                  </a:lnTo>
                  <a:lnTo>
                    <a:pt x="194998" y="42844"/>
                  </a:lnTo>
                  <a:lnTo>
                    <a:pt x="234999" y="24613"/>
                  </a:lnTo>
                  <a:lnTo>
                    <a:pt x="277403" y="11167"/>
                  </a:lnTo>
                  <a:lnTo>
                    <a:pt x="321867" y="2848"/>
                  </a:lnTo>
                  <a:lnTo>
                    <a:pt x="368046" y="0"/>
                  </a:lnTo>
                  <a:lnTo>
                    <a:pt x="414224" y="2848"/>
                  </a:lnTo>
                  <a:lnTo>
                    <a:pt x="458688" y="11167"/>
                  </a:lnTo>
                  <a:lnTo>
                    <a:pt x="501092" y="24613"/>
                  </a:lnTo>
                  <a:lnTo>
                    <a:pt x="541093" y="42844"/>
                  </a:lnTo>
                  <a:lnTo>
                    <a:pt x="578345" y="65517"/>
                  </a:lnTo>
                  <a:lnTo>
                    <a:pt x="612504" y="92291"/>
                  </a:lnTo>
                  <a:lnTo>
                    <a:pt x="643226" y="122822"/>
                  </a:lnTo>
                  <a:lnTo>
                    <a:pt x="670167" y="156770"/>
                  </a:lnTo>
                  <a:lnTo>
                    <a:pt x="692981" y="193790"/>
                  </a:lnTo>
                  <a:lnTo>
                    <a:pt x="711325" y="233542"/>
                  </a:lnTo>
                  <a:lnTo>
                    <a:pt x="724855" y="275682"/>
                  </a:lnTo>
                  <a:lnTo>
                    <a:pt x="733225" y="319869"/>
                  </a:lnTo>
                  <a:lnTo>
                    <a:pt x="736092" y="365760"/>
                  </a:lnTo>
                  <a:lnTo>
                    <a:pt x="733225" y="411650"/>
                  </a:lnTo>
                  <a:lnTo>
                    <a:pt x="724855" y="455837"/>
                  </a:lnTo>
                  <a:lnTo>
                    <a:pt x="711325" y="497977"/>
                  </a:lnTo>
                  <a:lnTo>
                    <a:pt x="692981" y="537729"/>
                  </a:lnTo>
                  <a:lnTo>
                    <a:pt x="670167" y="574749"/>
                  </a:lnTo>
                  <a:lnTo>
                    <a:pt x="643226" y="608697"/>
                  </a:lnTo>
                  <a:lnTo>
                    <a:pt x="612504" y="639228"/>
                  </a:lnTo>
                  <a:lnTo>
                    <a:pt x="578345" y="666002"/>
                  </a:lnTo>
                  <a:lnTo>
                    <a:pt x="541093" y="688675"/>
                  </a:lnTo>
                  <a:lnTo>
                    <a:pt x="501092" y="706906"/>
                  </a:lnTo>
                  <a:lnTo>
                    <a:pt x="458688" y="720352"/>
                  </a:lnTo>
                  <a:lnTo>
                    <a:pt x="414224" y="728671"/>
                  </a:lnTo>
                  <a:lnTo>
                    <a:pt x="368046" y="731520"/>
                  </a:lnTo>
                  <a:lnTo>
                    <a:pt x="321867" y="728671"/>
                  </a:lnTo>
                  <a:lnTo>
                    <a:pt x="277403" y="720352"/>
                  </a:lnTo>
                  <a:lnTo>
                    <a:pt x="234999" y="706906"/>
                  </a:lnTo>
                  <a:lnTo>
                    <a:pt x="194998" y="688675"/>
                  </a:lnTo>
                  <a:lnTo>
                    <a:pt x="157746" y="666002"/>
                  </a:lnTo>
                  <a:lnTo>
                    <a:pt x="123587" y="639228"/>
                  </a:lnTo>
                  <a:lnTo>
                    <a:pt x="92865" y="608697"/>
                  </a:lnTo>
                  <a:lnTo>
                    <a:pt x="65924" y="574749"/>
                  </a:lnTo>
                  <a:lnTo>
                    <a:pt x="43110" y="537729"/>
                  </a:lnTo>
                  <a:lnTo>
                    <a:pt x="24766" y="497977"/>
                  </a:lnTo>
                  <a:lnTo>
                    <a:pt x="11236" y="455837"/>
                  </a:lnTo>
                  <a:lnTo>
                    <a:pt x="2866" y="411650"/>
                  </a:lnTo>
                  <a:lnTo>
                    <a:pt x="0" y="365760"/>
                  </a:lnTo>
                  <a:close/>
                </a:path>
              </a:pathLst>
            </a:custGeom>
            <a:ln w="28575">
              <a:solidFill>
                <a:srgbClr val="00B2A9"/>
              </a:solidFill>
            </a:ln>
          </p:spPr>
          <p:txBody>
            <a:bodyPr wrap="square" lIns="0" tIns="0" rIns="0" bIns="0" rtlCol="0"/>
            <a:lstStyle/>
            <a:p>
              <a:endParaRPr>
                <a:latin typeface="+mn-lt"/>
                <a:cs typeface="Calibri" panose="020F0502020204030204" pitchFamily="34" charset="0"/>
              </a:endParaRPr>
            </a:p>
          </p:txBody>
        </p:sp>
        <p:pic>
          <p:nvPicPr>
            <p:cNvPr id="98" name="object 65">
              <a:extLst>
                <a:ext uri="{FF2B5EF4-FFF2-40B4-BE49-F238E27FC236}">
                  <a16:creationId xmlns:a16="http://schemas.microsoft.com/office/drawing/2014/main" id="{C62B45C6-F68B-55C4-1CEC-9ED55C0E8257}"/>
                </a:ext>
              </a:extLst>
            </p:cNvPr>
            <p:cNvPicPr/>
            <p:nvPr/>
          </p:nvPicPr>
          <p:blipFill>
            <a:blip r:embed="rId14" cstate="print"/>
            <a:stretch>
              <a:fillRect/>
            </a:stretch>
          </p:blipFill>
          <p:spPr>
            <a:xfrm>
              <a:off x="8958410" y="1804500"/>
              <a:ext cx="427820" cy="469222"/>
            </a:xfrm>
            <a:prstGeom prst="rect">
              <a:avLst/>
            </a:prstGeom>
          </p:spPr>
        </p:pic>
      </p:grpSp>
      <p:grpSp>
        <p:nvGrpSpPr>
          <p:cNvPr id="99" name="object 66">
            <a:extLst>
              <a:ext uri="{FF2B5EF4-FFF2-40B4-BE49-F238E27FC236}">
                <a16:creationId xmlns:a16="http://schemas.microsoft.com/office/drawing/2014/main" id="{338486A1-32C8-0858-CF4E-5BED27F356E1}"/>
              </a:ext>
            </a:extLst>
          </p:cNvPr>
          <p:cNvGrpSpPr/>
          <p:nvPr/>
        </p:nvGrpSpPr>
        <p:grpSpPr>
          <a:xfrm>
            <a:off x="5738621" y="3454146"/>
            <a:ext cx="737870" cy="733425"/>
            <a:chOff x="5738621" y="3454146"/>
            <a:chExt cx="737870" cy="733425"/>
          </a:xfrm>
        </p:grpSpPr>
        <p:sp>
          <p:nvSpPr>
            <p:cNvPr id="100" name="object 67">
              <a:extLst>
                <a:ext uri="{FF2B5EF4-FFF2-40B4-BE49-F238E27FC236}">
                  <a16:creationId xmlns:a16="http://schemas.microsoft.com/office/drawing/2014/main" id="{1F605E05-CB25-5817-F728-503BFDE44DBA}"/>
                </a:ext>
              </a:extLst>
            </p:cNvPr>
            <p:cNvSpPr/>
            <p:nvPr/>
          </p:nvSpPr>
          <p:spPr>
            <a:xfrm>
              <a:off x="5738621" y="3454146"/>
              <a:ext cx="737870" cy="733425"/>
            </a:xfrm>
            <a:custGeom>
              <a:avLst/>
              <a:gdLst/>
              <a:ahLst/>
              <a:cxnLst/>
              <a:rect l="l" t="t" r="r" b="b"/>
              <a:pathLst>
                <a:path w="737870" h="733425">
                  <a:moveTo>
                    <a:pt x="0" y="366521"/>
                  </a:moveTo>
                  <a:lnTo>
                    <a:pt x="2873" y="320543"/>
                  </a:lnTo>
                  <a:lnTo>
                    <a:pt x="11262" y="276270"/>
                  </a:lnTo>
                  <a:lnTo>
                    <a:pt x="24822" y="234045"/>
                  </a:lnTo>
                  <a:lnTo>
                    <a:pt x="43207" y="194212"/>
                  </a:lnTo>
                  <a:lnTo>
                    <a:pt x="66072" y="157114"/>
                  </a:lnTo>
                  <a:lnTo>
                    <a:pt x="93071" y="123094"/>
                  </a:lnTo>
                  <a:lnTo>
                    <a:pt x="123859" y="92497"/>
                  </a:lnTo>
                  <a:lnTo>
                    <a:pt x="158090" y="65664"/>
                  </a:lnTo>
                  <a:lnTo>
                    <a:pt x="195420" y="42941"/>
                  </a:lnTo>
                  <a:lnTo>
                    <a:pt x="235502" y="24669"/>
                  </a:lnTo>
                  <a:lnTo>
                    <a:pt x="277990" y="11193"/>
                  </a:lnTo>
                  <a:lnTo>
                    <a:pt x="322541" y="2855"/>
                  </a:lnTo>
                  <a:lnTo>
                    <a:pt x="368808" y="0"/>
                  </a:lnTo>
                  <a:lnTo>
                    <a:pt x="415074" y="2855"/>
                  </a:lnTo>
                  <a:lnTo>
                    <a:pt x="459625" y="11193"/>
                  </a:lnTo>
                  <a:lnTo>
                    <a:pt x="502113" y="24669"/>
                  </a:lnTo>
                  <a:lnTo>
                    <a:pt x="542195" y="42941"/>
                  </a:lnTo>
                  <a:lnTo>
                    <a:pt x="579525" y="65664"/>
                  </a:lnTo>
                  <a:lnTo>
                    <a:pt x="613756" y="92497"/>
                  </a:lnTo>
                  <a:lnTo>
                    <a:pt x="644544" y="123094"/>
                  </a:lnTo>
                  <a:lnTo>
                    <a:pt x="671543" y="157114"/>
                  </a:lnTo>
                  <a:lnTo>
                    <a:pt x="694408" y="194212"/>
                  </a:lnTo>
                  <a:lnTo>
                    <a:pt x="712793" y="234045"/>
                  </a:lnTo>
                  <a:lnTo>
                    <a:pt x="726353" y="276270"/>
                  </a:lnTo>
                  <a:lnTo>
                    <a:pt x="734742" y="320543"/>
                  </a:lnTo>
                  <a:lnTo>
                    <a:pt x="737616" y="366521"/>
                  </a:lnTo>
                  <a:lnTo>
                    <a:pt x="734742" y="412500"/>
                  </a:lnTo>
                  <a:lnTo>
                    <a:pt x="726353" y="456773"/>
                  </a:lnTo>
                  <a:lnTo>
                    <a:pt x="712793" y="498998"/>
                  </a:lnTo>
                  <a:lnTo>
                    <a:pt x="694408" y="538831"/>
                  </a:lnTo>
                  <a:lnTo>
                    <a:pt x="671543" y="575929"/>
                  </a:lnTo>
                  <a:lnTo>
                    <a:pt x="644544" y="609949"/>
                  </a:lnTo>
                  <a:lnTo>
                    <a:pt x="613756" y="640546"/>
                  </a:lnTo>
                  <a:lnTo>
                    <a:pt x="579525" y="667379"/>
                  </a:lnTo>
                  <a:lnTo>
                    <a:pt x="542195" y="690102"/>
                  </a:lnTo>
                  <a:lnTo>
                    <a:pt x="502113" y="708374"/>
                  </a:lnTo>
                  <a:lnTo>
                    <a:pt x="459625" y="721850"/>
                  </a:lnTo>
                  <a:lnTo>
                    <a:pt x="415074" y="730188"/>
                  </a:lnTo>
                  <a:lnTo>
                    <a:pt x="368808" y="733043"/>
                  </a:lnTo>
                  <a:lnTo>
                    <a:pt x="322541" y="730188"/>
                  </a:lnTo>
                  <a:lnTo>
                    <a:pt x="277990" y="721850"/>
                  </a:lnTo>
                  <a:lnTo>
                    <a:pt x="235502" y="708374"/>
                  </a:lnTo>
                  <a:lnTo>
                    <a:pt x="195420" y="690102"/>
                  </a:lnTo>
                  <a:lnTo>
                    <a:pt x="158090" y="667379"/>
                  </a:lnTo>
                  <a:lnTo>
                    <a:pt x="123859" y="640546"/>
                  </a:lnTo>
                  <a:lnTo>
                    <a:pt x="93071" y="609949"/>
                  </a:lnTo>
                  <a:lnTo>
                    <a:pt x="66072" y="575929"/>
                  </a:lnTo>
                  <a:lnTo>
                    <a:pt x="43207" y="538831"/>
                  </a:lnTo>
                  <a:lnTo>
                    <a:pt x="24822" y="498998"/>
                  </a:lnTo>
                  <a:lnTo>
                    <a:pt x="11262" y="456773"/>
                  </a:lnTo>
                  <a:lnTo>
                    <a:pt x="2873" y="412500"/>
                  </a:lnTo>
                  <a:lnTo>
                    <a:pt x="0" y="366521"/>
                  </a:lnTo>
                  <a:close/>
                </a:path>
              </a:pathLst>
            </a:custGeom>
            <a:ln w="28575">
              <a:solidFill>
                <a:srgbClr val="00B2A9"/>
              </a:solidFill>
            </a:ln>
          </p:spPr>
          <p:txBody>
            <a:bodyPr wrap="square" lIns="0" tIns="0" rIns="0" bIns="0" rtlCol="0"/>
            <a:lstStyle/>
            <a:p>
              <a:endParaRPr dirty="0">
                <a:latin typeface="+mn-lt"/>
                <a:cs typeface="Calibri" panose="020F0502020204030204" pitchFamily="34" charset="0"/>
              </a:endParaRPr>
            </a:p>
          </p:txBody>
        </p:sp>
        <p:pic>
          <p:nvPicPr>
            <p:cNvPr id="101" name="object 68">
              <a:extLst>
                <a:ext uri="{FF2B5EF4-FFF2-40B4-BE49-F238E27FC236}">
                  <a16:creationId xmlns:a16="http://schemas.microsoft.com/office/drawing/2014/main" id="{16CC26AB-C2F9-1A47-0062-AC37BFC027B2}"/>
                </a:ext>
              </a:extLst>
            </p:cNvPr>
            <p:cNvPicPr/>
            <p:nvPr/>
          </p:nvPicPr>
          <p:blipFill>
            <a:blip r:embed="rId15" cstate="print"/>
            <a:stretch>
              <a:fillRect/>
            </a:stretch>
          </p:blipFill>
          <p:spPr>
            <a:xfrm>
              <a:off x="5902536" y="3824933"/>
              <a:ext cx="412581" cy="223534"/>
            </a:xfrm>
            <a:prstGeom prst="rect">
              <a:avLst/>
            </a:prstGeom>
          </p:spPr>
        </p:pic>
        <p:sp>
          <p:nvSpPr>
            <p:cNvPr id="102" name="object 69">
              <a:extLst>
                <a:ext uri="{FF2B5EF4-FFF2-40B4-BE49-F238E27FC236}">
                  <a16:creationId xmlns:a16="http://schemas.microsoft.com/office/drawing/2014/main" id="{ABF482E9-A2C9-8E2A-BD93-B2B1084BB845}"/>
                </a:ext>
              </a:extLst>
            </p:cNvPr>
            <p:cNvSpPr/>
            <p:nvPr/>
          </p:nvSpPr>
          <p:spPr>
            <a:xfrm>
              <a:off x="5902886" y="3592913"/>
              <a:ext cx="413384" cy="205104"/>
            </a:xfrm>
            <a:custGeom>
              <a:avLst/>
              <a:gdLst/>
              <a:ahLst/>
              <a:cxnLst/>
              <a:rect l="l" t="t" r="r" b="b"/>
              <a:pathLst>
                <a:path w="413385" h="205104">
                  <a:moveTo>
                    <a:pt x="142253" y="170840"/>
                  </a:moveTo>
                  <a:lnTo>
                    <a:pt x="106477" y="170840"/>
                  </a:lnTo>
                  <a:lnTo>
                    <a:pt x="106477" y="205008"/>
                  </a:lnTo>
                  <a:lnTo>
                    <a:pt x="142253" y="170840"/>
                  </a:lnTo>
                  <a:close/>
                </a:path>
                <a:path w="413385" h="205104">
                  <a:moveTo>
                    <a:pt x="223459" y="170840"/>
                  </a:moveTo>
                  <a:lnTo>
                    <a:pt x="180868" y="170840"/>
                  </a:lnTo>
                  <a:lnTo>
                    <a:pt x="203016" y="205008"/>
                  </a:lnTo>
                  <a:lnTo>
                    <a:pt x="223459" y="170840"/>
                  </a:lnTo>
                  <a:close/>
                </a:path>
                <a:path w="413385" h="205104">
                  <a:moveTo>
                    <a:pt x="299555" y="170840"/>
                  </a:moveTo>
                  <a:lnTo>
                    <a:pt x="263779" y="170840"/>
                  </a:lnTo>
                  <a:lnTo>
                    <a:pt x="299555" y="205008"/>
                  </a:lnTo>
                  <a:lnTo>
                    <a:pt x="299555" y="170840"/>
                  </a:lnTo>
                  <a:close/>
                </a:path>
                <a:path w="413385" h="205104">
                  <a:moveTo>
                    <a:pt x="390415" y="0"/>
                  </a:moveTo>
                  <a:lnTo>
                    <a:pt x="22715" y="0"/>
                  </a:lnTo>
                  <a:lnTo>
                    <a:pt x="13875" y="1790"/>
                  </a:lnTo>
                  <a:lnTo>
                    <a:pt x="6654" y="6673"/>
                  </a:lnTo>
                  <a:lnTo>
                    <a:pt x="1785" y="13914"/>
                  </a:lnTo>
                  <a:lnTo>
                    <a:pt x="0" y="22778"/>
                  </a:lnTo>
                  <a:lnTo>
                    <a:pt x="0" y="148061"/>
                  </a:lnTo>
                  <a:lnTo>
                    <a:pt x="1785" y="156926"/>
                  </a:lnTo>
                  <a:lnTo>
                    <a:pt x="6654" y="164166"/>
                  </a:lnTo>
                  <a:lnTo>
                    <a:pt x="13875" y="169049"/>
                  </a:lnTo>
                  <a:lnTo>
                    <a:pt x="22715" y="170840"/>
                  </a:lnTo>
                  <a:lnTo>
                    <a:pt x="390415" y="170840"/>
                  </a:lnTo>
                  <a:lnTo>
                    <a:pt x="399255" y="169049"/>
                  </a:lnTo>
                  <a:lnTo>
                    <a:pt x="406475" y="164166"/>
                  </a:lnTo>
                  <a:lnTo>
                    <a:pt x="411344" y="156926"/>
                  </a:lnTo>
                  <a:lnTo>
                    <a:pt x="413130" y="148061"/>
                  </a:lnTo>
                  <a:lnTo>
                    <a:pt x="413130" y="119588"/>
                  </a:lnTo>
                  <a:lnTo>
                    <a:pt x="56787" y="119588"/>
                  </a:lnTo>
                  <a:lnTo>
                    <a:pt x="56787" y="108198"/>
                  </a:lnTo>
                  <a:lnTo>
                    <a:pt x="413130" y="108198"/>
                  </a:lnTo>
                  <a:lnTo>
                    <a:pt x="413130" y="91114"/>
                  </a:lnTo>
                  <a:lnTo>
                    <a:pt x="56787" y="91114"/>
                  </a:lnTo>
                  <a:lnTo>
                    <a:pt x="56787" y="79725"/>
                  </a:lnTo>
                  <a:lnTo>
                    <a:pt x="413130" y="79725"/>
                  </a:lnTo>
                  <a:lnTo>
                    <a:pt x="413130" y="62641"/>
                  </a:lnTo>
                  <a:lnTo>
                    <a:pt x="56787" y="62641"/>
                  </a:lnTo>
                  <a:lnTo>
                    <a:pt x="56787" y="51252"/>
                  </a:lnTo>
                  <a:lnTo>
                    <a:pt x="413130" y="51252"/>
                  </a:lnTo>
                  <a:lnTo>
                    <a:pt x="413130" y="22778"/>
                  </a:lnTo>
                  <a:lnTo>
                    <a:pt x="411344" y="13914"/>
                  </a:lnTo>
                  <a:lnTo>
                    <a:pt x="406475" y="6673"/>
                  </a:lnTo>
                  <a:lnTo>
                    <a:pt x="399255" y="1790"/>
                  </a:lnTo>
                  <a:lnTo>
                    <a:pt x="390415" y="0"/>
                  </a:lnTo>
                  <a:close/>
                </a:path>
                <a:path w="413385" h="205104">
                  <a:moveTo>
                    <a:pt x="413130" y="108198"/>
                  </a:moveTo>
                  <a:lnTo>
                    <a:pt x="265482" y="108198"/>
                  </a:lnTo>
                  <a:lnTo>
                    <a:pt x="265482" y="119588"/>
                  </a:lnTo>
                  <a:lnTo>
                    <a:pt x="413130" y="119588"/>
                  </a:lnTo>
                  <a:lnTo>
                    <a:pt x="413130" y="108198"/>
                  </a:lnTo>
                  <a:close/>
                </a:path>
                <a:path w="413385" h="205104">
                  <a:moveTo>
                    <a:pt x="413130" y="79725"/>
                  </a:moveTo>
                  <a:lnTo>
                    <a:pt x="356342" y="79725"/>
                  </a:lnTo>
                  <a:lnTo>
                    <a:pt x="356342" y="91114"/>
                  </a:lnTo>
                  <a:lnTo>
                    <a:pt x="413130" y="91114"/>
                  </a:lnTo>
                  <a:lnTo>
                    <a:pt x="413130" y="79725"/>
                  </a:lnTo>
                  <a:close/>
                </a:path>
                <a:path w="413385" h="205104">
                  <a:moveTo>
                    <a:pt x="413130" y="51252"/>
                  </a:moveTo>
                  <a:lnTo>
                    <a:pt x="322270" y="51252"/>
                  </a:lnTo>
                  <a:lnTo>
                    <a:pt x="322270" y="62641"/>
                  </a:lnTo>
                  <a:lnTo>
                    <a:pt x="413130" y="62641"/>
                  </a:lnTo>
                  <a:lnTo>
                    <a:pt x="413130" y="51252"/>
                  </a:lnTo>
                  <a:close/>
                </a:path>
              </a:pathLst>
            </a:custGeom>
            <a:solidFill>
              <a:srgbClr val="000000"/>
            </a:solidFill>
          </p:spPr>
          <p:txBody>
            <a:bodyPr wrap="square" lIns="0" tIns="0" rIns="0" bIns="0" rtlCol="0"/>
            <a:lstStyle/>
            <a:p>
              <a:endParaRPr>
                <a:latin typeface="+mn-lt"/>
                <a:cs typeface="Calibri" panose="020F0502020204030204" pitchFamily="34" charset="0"/>
              </a:endParaRPr>
            </a:p>
          </p:txBody>
        </p:sp>
      </p:grpSp>
      <p:sp>
        <p:nvSpPr>
          <p:cNvPr id="104" name="object 70">
            <a:extLst>
              <a:ext uri="{FF2B5EF4-FFF2-40B4-BE49-F238E27FC236}">
                <a16:creationId xmlns:a16="http://schemas.microsoft.com/office/drawing/2014/main" id="{CD4C9AC2-2298-F399-E4C8-62614CEE8EFC}"/>
              </a:ext>
            </a:extLst>
          </p:cNvPr>
          <p:cNvSpPr txBox="1"/>
          <p:nvPr/>
        </p:nvSpPr>
        <p:spPr>
          <a:xfrm>
            <a:off x="5772150" y="4304791"/>
            <a:ext cx="628650" cy="228268"/>
          </a:xfrm>
          <a:prstGeom prst="rect">
            <a:avLst/>
          </a:prstGeom>
        </p:spPr>
        <p:txBody>
          <a:bodyPr vert="horz" wrap="square" lIns="0" tIns="12700" rIns="0" bIns="0" rtlCol="0">
            <a:spAutoFit/>
          </a:bodyPr>
          <a:lstStyle/>
          <a:p>
            <a:pPr marL="12700">
              <a:lnSpc>
                <a:spcPct val="100000"/>
              </a:lnSpc>
              <a:spcBef>
                <a:spcPts val="100"/>
              </a:spcBef>
            </a:pPr>
            <a:r>
              <a:rPr lang="pt-BR" sz="1400" b="1" spc="-10" dirty="0">
                <a:solidFill>
                  <a:srgbClr val="00B2A9"/>
                </a:solidFill>
                <a:latin typeface="+mn-lt"/>
                <a:cs typeface="Calibri" panose="020F0502020204030204" pitchFamily="34" charset="0"/>
              </a:rPr>
              <a:t>Serviços</a:t>
            </a:r>
            <a:endParaRPr sz="1400" dirty="0">
              <a:solidFill>
                <a:srgbClr val="00B2A9"/>
              </a:solidFill>
              <a:latin typeface="+mn-lt"/>
              <a:cs typeface="Calibri" panose="020F0502020204030204" pitchFamily="34" charset="0"/>
            </a:endParaRPr>
          </a:p>
        </p:txBody>
      </p:sp>
    </p:spTree>
    <p:extLst>
      <p:ext uri="{BB962C8B-B14F-4D97-AF65-F5344CB8AC3E}">
        <p14:creationId xmlns:p14="http://schemas.microsoft.com/office/powerpoint/2010/main" val="3758905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tângulo: Cantos Diagonais Arredondados 51">
            <a:extLst>
              <a:ext uri="{FF2B5EF4-FFF2-40B4-BE49-F238E27FC236}">
                <a16:creationId xmlns:a16="http://schemas.microsoft.com/office/drawing/2014/main" id="{20FE9BA9-5CE4-4D7C-B5D8-3B0EED609831}"/>
              </a:ext>
            </a:extLst>
          </p:cNvPr>
          <p:cNvSpPr/>
          <p:nvPr/>
        </p:nvSpPr>
        <p:spPr>
          <a:xfrm rot="16200000">
            <a:off x="5502680" y="2012328"/>
            <a:ext cx="4291769" cy="2627192"/>
          </a:xfrm>
          <a:prstGeom prst="round2DiagRect">
            <a:avLst>
              <a:gd name="adj1" fmla="val 11781"/>
              <a:gd name="adj2" fmla="val 0"/>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Arial"/>
              <a:sym typeface="Arial"/>
            </a:endParaRPr>
          </a:p>
        </p:txBody>
      </p:sp>
      <p:sp>
        <p:nvSpPr>
          <p:cNvPr id="54" name="Retângulo: Cantos Diagonais Arredondados 53">
            <a:extLst>
              <a:ext uri="{FF2B5EF4-FFF2-40B4-BE49-F238E27FC236}">
                <a16:creationId xmlns:a16="http://schemas.microsoft.com/office/drawing/2014/main" id="{DAB5D744-F44B-4681-99A3-D8DBF1E03CE1}"/>
              </a:ext>
            </a:extLst>
          </p:cNvPr>
          <p:cNvSpPr/>
          <p:nvPr/>
        </p:nvSpPr>
        <p:spPr>
          <a:xfrm rot="16200000">
            <a:off x="2708927" y="2012328"/>
            <a:ext cx="4291769" cy="2627192"/>
          </a:xfrm>
          <a:prstGeom prst="round2DiagRect">
            <a:avLst>
              <a:gd name="adj1" fmla="val 11781"/>
              <a:gd name="adj2" fmla="val 0"/>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Arial"/>
              <a:sym typeface="Arial"/>
            </a:endParaRPr>
          </a:p>
        </p:txBody>
      </p:sp>
      <p:sp>
        <p:nvSpPr>
          <p:cNvPr id="56" name="Retângulo: Cantos Diagonais Arredondados 55">
            <a:extLst>
              <a:ext uri="{FF2B5EF4-FFF2-40B4-BE49-F238E27FC236}">
                <a16:creationId xmlns:a16="http://schemas.microsoft.com/office/drawing/2014/main" id="{AC9529A1-99C1-4777-A107-5CF45B0066E7}"/>
              </a:ext>
            </a:extLst>
          </p:cNvPr>
          <p:cNvSpPr/>
          <p:nvPr/>
        </p:nvSpPr>
        <p:spPr>
          <a:xfrm rot="16200000">
            <a:off x="8296434" y="2012328"/>
            <a:ext cx="4291769" cy="2627192"/>
          </a:xfrm>
          <a:prstGeom prst="round2DiagRect">
            <a:avLst>
              <a:gd name="adj1" fmla="val 11781"/>
              <a:gd name="adj2" fmla="val 0"/>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Arial"/>
              <a:sym typeface="Arial"/>
            </a:endParaRPr>
          </a:p>
        </p:txBody>
      </p:sp>
      <p:sp>
        <p:nvSpPr>
          <p:cNvPr id="49" name="Retângulo: Cantos Diagonais Arredondados 48">
            <a:extLst>
              <a:ext uri="{FF2B5EF4-FFF2-40B4-BE49-F238E27FC236}">
                <a16:creationId xmlns:a16="http://schemas.microsoft.com/office/drawing/2014/main" id="{CBB9CC67-3B4E-4E76-9A97-9822B86101BD}"/>
              </a:ext>
            </a:extLst>
          </p:cNvPr>
          <p:cNvSpPr/>
          <p:nvPr/>
        </p:nvSpPr>
        <p:spPr>
          <a:xfrm rot="16200000">
            <a:off x="-84826" y="2012328"/>
            <a:ext cx="4291769" cy="2627192"/>
          </a:xfrm>
          <a:prstGeom prst="round2DiagRect">
            <a:avLst>
              <a:gd name="adj1" fmla="val 11781"/>
              <a:gd name="adj2" fmla="val 0"/>
            </a:avLst>
          </a:prstGeom>
          <a:noFill/>
          <a:ln w="9525">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ea typeface="+mn-ea"/>
              <a:cs typeface="Arial"/>
              <a:sym typeface="Arial"/>
            </a:endParaRPr>
          </a:p>
        </p:txBody>
      </p:sp>
      <p:sp>
        <p:nvSpPr>
          <p:cNvPr id="2" name="Título 1">
            <a:extLst>
              <a:ext uri="{FF2B5EF4-FFF2-40B4-BE49-F238E27FC236}">
                <a16:creationId xmlns:a16="http://schemas.microsoft.com/office/drawing/2014/main" id="{3EB7EAA7-F9F4-E79C-41C7-E1A1C4BE721A}"/>
              </a:ext>
            </a:extLst>
          </p:cNvPr>
          <p:cNvSpPr>
            <a:spLocks noGrp="1"/>
          </p:cNvSpPr>
          <p:nvPr>
            <p:ph type="title"/>
          </p:nvPr>
        </p:nvSpPr>
        <p:spPr>
          <a:prstGeom prst="rect">
            <a:avLst/>
          </a:prstGeom>
        </p:spPr>
        <p:txBody>
          <a:bodyPr lIns="91440" tIns="45720" rIns="91440" bIns="45720" anchor="t">
            <a:noAutofit/>
          </a:bodyPr>
          <a:lstStyle/>
          <a:p>
            <a:r>
              <a:rPr kumimoji="0" lang="pt" sz="2800" b="1" i="0" u="none" strike="noStrike" kern="0" cap="none" spc="0" normalizeH="0" baseline="0" noProof="0" dirty="0">
                <a:ln>
                  <a:noFill/>
                </a:ln>
                <a:effectLst/>
                <a:uLnTx/>
                <a:uFillTx/>
                <a:latin typeface="Omnes" panose="02000606040000020004" pitchFamily="50" charset="0"/>
                <a:cs typeface="Calibri"/>
                <a:sym typeface="Arial"/>
              </a:rPr>
              <a:t>... e </a:t>
            </a:r>
            <a:r>
              <a:rPr lang="pt" sz="2800" b="1" dirty="0">
                <a:latin typeface="Omnes" panose="02000606040000020004" pitchFamily="50" charset="0"/>
                <a:cs typeface="Calibri"/>
              </a:rPr>
              <a:t>lideramos em</a:t>
            </a:r>
            <a:r>
              <a:rPr kumimoji="0" lang="pt" sz="2800" b="1" i="0" u="none" strike="noStrike" kern="0" cap="none" spc="0" normalizeH="0" baseline="0" noProof="0" dirty="0">
                <a:ln>
                  <a:noFill/>
                </a:ln>
                <a:effectLst/>
                <a:uLnTx/>
                <a:uFillTx/>
                <a:latin typeface="Omnes" panose="02000606040000020004" pitchFamily="50" charset="0"/>
                <a:cs typeface="Calibri"/>
                <a:sym typeface="Arial"/>
              </a:rPr>
              <a:t> práticas </a:t>
            </a:r>
            <a:r>
              <a:rPr lang="pt" sz="2800" b="1" dirty="0">
                <a:latin typeface="Omnes" panose="02000606040000020004" pitchFamily="50" charset="0"/>
                <a:cs typeface="Calibri"/>
              </a:rPr>
              <a:t>de </a:t>
            </a:r>
            <a:r>
              <a:rPr kumimoji="0" lang="pt" sz="2800" b="1" i="0" u="none" strike="noStrike" kern="0" cap="none" spc="0" normalizeH="0" baseline="0" noProof="0" dirty="0">
                <a:ln>
                  <a:noFill/>
                </a:ln>
                <a:effectLst/>
                <a:uLnTx/>
                <a:uFillTx/>
                <a:latin typeface="Omnes" panose="02000606040000020004" pitchFamily="50" charset="0"/>
                <a:cs typeface="Calibri"/>
                <a:sym typeface="Arial"/>
              </a:rPr>
              <a:t>ESG</a:t>
            </a:r>
            <a:br>
              <a:rPr lang="en-US" sz="2800" b="1" i="0" u="none" strike="noStrike" kern="0" cap="none" spc="0" normalizeH="0" baseline="0" noProof="0" dirty="0">
                <a:ln>
                  <a:noFill/>
                </a:ln>
                <a:effectLst/>
                <a:uLnTx/>
                <a:uFillTx/>
                <a:latin typeface="Omnes" panose="02000606040000020004" pitchFamily="50" charset="0"/>
                <a:cs typeface="Calibri" panose="020F0502020204030204" pitchFamily="34" charset="0"/>
              </a:rPr>
            </a:br>
            <a:endParaRPr lang="en-US" sz="2800" dirty="0">
              <a:latin typeface="Omnes" panose="02000606040000020004" pitchFamily="50" charset="0"/>
            </a:endParaRPr>
          </a:p>
        </p:txBody>
      </p:sp>
      <p:sp>
        <p:nvSpPr>
          <p:cNvPr id="25" name="Rectangle 35">
            <a:extLst>
              <a:ext uri="{FF2B5EF4-FFF2-40B4-BE49-F238E27FC236}">
                <a16:creationId xmlns:a16="http://schemas.microsoft.com/office/drawing/2014/main" id="{79CF358B-4F32-E8F6-0A1A-6BB475C91270}"/>
              </a:ext>
            </a:extLst>
          </p:cNvPr>
          <p:cNvSpPr/>
          <p:nvPr/>
        </p:nvSpPr>
        <p:spPr>
          <a:xfrm flipV="1">
            <a:off x="8912487" y="1076235"/>
            <a:ext cx="2954570" cy="4597730"/>
          </a:xfrm>
          <a:prstGeom prst="rect">
            <a:avLst/>
          </a:prstGeom>
          <a:noFill/>
          <a:ln>
            <a:noFill/>
          </a:ln>
          <a:effectLst>
            <a:outerShdw blurRad="317500" dist="101600" dir="5400000" algn="t" rotWithShape="0">
              <a:prstClr val="black">
                <a:alpha val="25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26" name="Rectangle 20">
            <a:extLst>
              <a:ext uri="{FF2B5EF4-FFF2-40B4-BE49-F238E27FC236}">
                <a16:creationId xmlns:a16="http://schemas.microsoft.com/office/drawing/2014/main" id="{DA77F6CF-2939-41CC-ACD6-E3D9CCAB5455}"/>
              </a:ext>
            </a:extLst>
          </p:cNvPr>
          <p:cNvSpPr/>
          <p:nvPr/>
        </p:nvSpPr>
        <p:spPr>
          <a:xfrm flipV="1">
            <a:off x="340755" y="1076235"/>
            <a:ext cx="2621155" cy="4597730"/>
          </a:xfrm>
          <a:prstGeom prst="rect">
            <a:avLst/>
          </a:prstGeom>
          <a:noFill/>
          <a:ln>
            <a:noFill/>
          </a:ln>
          <a:effectLst>
            <a:outerShdw blurRad="317500" dist="101600" dir="5400000" algn="t" rotWithShape="0">
              <a:prstClr val="black">
                <a:alpha val="25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27" name="CuadroTexto 90">
            <a:extLst>
              <a:ext uri="{FF2B5EF4-FFF2-40B4-BE49-F238E27FC236}">
                <a16:creationId xmlns:a16="http://schemas.microsoft.com/office/drawing/2014/main" id="{354C6BD6-B4B3-4C5C-9C58-830C54D2FEBB}"/>
              </a:ext>
            </a:extLst>
          </p:cNvPr>
          <p:cNvSpPr txBox="1"/>
          <p:nvPr/>
        </p:nvSpPr>
        <p:spPr>
          <a:xfrm>
            <a:off x="995284" y="1723892"/>
            <a:ext cx="2379371" cy="632224"/>
          </a:xfrm>
          <a:prstGeom prst="rect">
            <a:avLst/>
          </a:prstGeom>
          <a:noFill/>
        </p:spPr>
        <p:txBody>
          <a:bodyPr wrap="square" rtlCol="0">
            <a:spAutoFit/>
          </a:bodyPr>
          <a:lstStyle/>
          <a:p>
            <a:pPr marL="171450" marR="0" lvl="0" indent="-171450" algn="l" defTabSz="914400" rtl="0" eaLnBrk="1" fontAlgn="auto" latinLnBrk="0" hangingPunct="1">
              <a:lnSpc>
                <a:spcPts val="1400"/>
              </a:lnSpc>
              <a:spcBef>
                <a:spcPct val="0"/>
              </a:spcBef>
              <a:spcAft>
                <a:spcPct val="0"/>
              </a:spcAft>
              <a:buClr>
                <a:srgbClr val="00A3E0"/>
              </a:buClr>
              <a:buSzPct val="50000"/>
              <a:buFont typeface="Arial" panose="020B0604020202020204" pitchFamily="34" charset="0"/>
              <a:buChar char="•"/>
              <a:tabLst/>
              <a:defRPr/>
            </a:pPr>
            <a:r>
              <a:rPr kumimoji="0" lang="pt" sz="1200" b="1" i="0" u="none" strike="noStrike" kern="1200" cap="none" spc="0" normalizeH="0" baseline="0" noProof="0">
                <a:ln>
                  <a:noFill/>
                </a:ln>
                <a:solidFill>
                  <a:srgbClr val="7F7F7F"/>
                </a:solidFill>
                <a:effectLst/>
                <a:uLnTx/>
                <a:uFillTx/>
                <a:latin typeface="+mn-lt"/>
                <a:cs typeface="Calibri" panose="020F0502020204030204" pitchFamily="34" charset="0"/>
                <a:sym typeface="Arial"/>
              </a:rPr>
              <a:t>Carbono neutro até 2030</a:t>
            </a:r>
          </a:p>
          <a:p>
            <a:pPr marL="171450" marR="0" lvl="0" indent="-171450" algn="l" defTabSz="914400" rtl="0" eaLnBrk="1" fontAlgn="auto" latinLnBrk="0" hangingPunct="1">
              <a:lnSpc>
                <a:spcPts val="1400"/>
              </a:lnSpc>
              <a:spcBef>
                <a:spcPct val="0"/>
              </a:spcBef>
              <a:spcAft>
                <a:spcPct val="0"/>
              </a:spcAft>
              <a:buClr>
                <a:srgbClr val="00A3E0"/>
              </a:buClr>
              <a:buSzPct val="50000"/>
              <a:buFont typeface="Arial" panose="020B0604020202020204" pitchFamily="34" charset="0"/>
              <a:buChar char="•"/>
              <a:tabLst/>
              <a:defRPr/>
            </a:pPr>
            <a:r>
              <a:rPr kumimoji="0" lang="pt" sz="1200" b="1" i="0" u="none" strike="noStrike" kern="1200" cap="none" spc="0" normalizeH="0" baseline="0" noProof="0">
                <a:ln>
                  <a:noFill/>
                </a:ln>
                <a:solidFill>
                  <a:srgbClr val="7F7F7F"/>
                </a:solidFill>
                <a:effectLst/>
                <a:uLnTx/>
                <a:uFillTx/>
                <a:latin typeface="+mn-lt"/>
                <a:cs typeface="Calibri" panose="020F0502020204030204" pitchFamily="34" charset="0"/>
                <a:sym typeface="Arial"/>
              </a:rPr>
              <a:t>Estratégia de Cloud &amp; Atento@Home</a:t>
            </a:r>
            <a:endParaRPr kumimoji="0" lang="en-US" sz="1200" b="1" i="0" u="none" strike="noStrike" kern="0" cap="none" spc="0" normalizeH="0" baseline="0" noProof="0">
              <a:ln>
                <a:noFill/>
              </a:ln>
              <a:solidFill>
                <a:srgbClr val="7F7F7F"/>
              </a:solidFill>
              <a:effectLst/>
              <a:uLnTx/>
              <a:uFillTx/>
              <a:latin typeface="+mn-lt"/>
              <a:cs typeface="Calibri" panose="020F0502020204030204" pitchFamily="34" charset="0"/>
              <a:sym typeface="Arial"/>
            </a:endParaRPr>
          </a:p>
        </p:txBody>
      </p:sp>
      <p:sp>
        <p:nvSpPr>
          <p:cNvPr id="28" name="Rectangle 33">
            <a:extLst>
              <a:ext uri="{FF2B5EF4-FFF2-40B4-BE49-F238E27FC236}">
                <a16:creationId xmlns:a16="http://schemas.microsoft.com/office/drawing/2014/main" id="{632A01F6-300E-431A-8496-3B17FCB039CB}"/>
              </a:ext>
            </a:extLst>
          </p:cNvPr>
          <p:cNvSpPr/>
          <p:nvPr/>
        </p:nvSpPr>
        <p:spPr>
          <a:xfrm flipV="1">
            <a:off x="3219255" y="1076235"/>
            <a:ext cx="2621155" cy="4597730"/>
          </a:xfrm>
          <a:prstGeom prst="rect">
            <a:avLst/>
          </a:prstGeom>
          <a:noFill/>
          <a:ln>
            <a:noFill/>
          </a:ln>
          <a:effectLst>
            <a:outerShdw blurRad="317500" dist="101600" dir="5400000" algn="t" rotWithShape="0">
              <a:prstClr val="black">
                <a:alpha val="25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29" name="Rectangle 35">
            <a:extLst>
              <a:ext uri="{FF2B5EF4-FFF2-40B4-BE49-F238E27FC236}">
                <a16:creationId xmlns:a16="http://schemas.microsoft.com/office/drawing/2014/main" id="{E51F47FA-DF41-4DC7-8600-F8CA4F1C5E1B}"/>
              </a:ext>
            </a:extLst>
          </p:cNvPr>
          <p:cNvSpPr/>
          <p:nvPr/>
        </p:nvSpPr>
        <p:spPr>
          <a:xfrm flipV="1">
            <a:off x="6019132" y="1076235"/>
            <a:ext cx="2621155" cy="4597730"/>
          </a:xfrm>
          <a:prstGeom prst="rect">
            <a:avLst/>
          </a:prstGeom>
          <a:noFill/>
          <a:ln>
            <a:noFill/>
          </a:ln>
          <a:effectLst>
            <a:outerShdw blurRad="317500" dist="101600" dir="5400000" algn="t" rotWithShape="0">
              <a:prstClr val="black">
                <a:alpha val="25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mn-lt"/>
              <a:cs typeface="Arial"/>
              <a:sym typeface="Arial"/>
            </a:endParaRPr>
          </a:p>
        </p:txBody>
      </p:sp>
      <p:sp>
        <p:nvSpPr>
          <p:cNvPr id="30" name="CuadroTexto 98">
            <a:extLst>
              <a:ext uri="{FF2B5EF4-FFF2-40B4-BE49-F238E27FC236}">
                <a16:creationId xmlns:a16="http://schemas.microsoft.com/office/drawing/2014/main" id="{048145B7-C369-44D1-B976-AE79B01C0741}"/>
              </a:ext>
            </a:extLst>
          </p:cNvPr>
          <p:cNvSpPr txBox="1"/>
          <p:nvPr/>
        </p:nvSpPr>
        <p:spPr>
          <a:xfrm>
            <a:off x="3738424" y="1703791"/>
            <a:ext cx="2445643" cy="990015"/>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ts val="1400"/>
              </a:lnSpc>
              <a:spcBef>
                <a:spcPct val="0"/>
              </a:spcBef>
              <a:spcAft>
                <a:spcPct val="0"/>
              </a:spcAft>
              <a:buClr>
                <a:srgbClr val="FF7900"/>
              </a:buClr>
              <a:buSzPct val="50000"/>
              <a:buFont typeface="Arial" panose="020B0604020202020204" pitchFamily="34" charset="0"/>
              <a:buChar char="•"/>
              <a:tabLst/>
              <a:defRPr/>
            </a:pPr>
            <a:r>
              <a:rPr kumimoji="0" lang="pt" sz="1200" b="1" i="0" u="none" strike="noStrike" kern="0" cap="none" spc="0" normalizeH="0" baseline="0" noProof="0" dirty="0">
                <a:ln>
                  <a:noFill/>
                </a:ln>
                <a:solidFill>
                  <a:srgbClr val="7F7F7F"/>
                </a:solidFill>
                <a:effectLst/>
                <a:uLnTx/>
                <a:uFillTx/>
                <a:latin typeface="+mn-lt"/>
                <a:cs typeface="Calibri" panose="020F0502020204030204" pitchFamily="34" charset="0"/>
                <a:sym typeface="Arial"/>
              </a:rPr>
              <a:t>Top Empregador</a:t>
            </a:r>
          </a:p>
          <a:p>
            <a:pPr marL="171450" marR="0" lvl="0" indent="-171450" algn="l" defTabSz="914400" rtl="0" eaLnBrk="1" fontAlgn="auto" latinLnBrk="0" hangingPunct="1">
              <a:lnSpc>
                <a:spcPts val="1400"/>
              </a:lnSpc>
              <a:spcBef>
                <a:spcPct val="0"/>
              </a:spcBef>
              <a:spcAft>
                <a:spcPct val="0"/>
              </a:spcAft>
              <a:buClr>
                <a:srgbClr val="FF7900"/>
              </a:buClr>
              <a:buSzPct val="50000"/>
              <a:buFont typeface="Arial" panose="020B0604020202020204" pitchFamily="34" charset="0"/>
              <a:buChar char="•"/>
              <a:tabLst/>
              <a:defRPr/>
            </a:pPr>
            <a:r>
              <a:rPr kumimoji="0" lang="pt" sz="1200" b="1" i="0" u="none" strike="noStrike" kern="0" cap="none" spc="0" normalizeH="0" baseline="0" noProof="0" dirty="0">
                <a:ln>
                  <a:noFill/>
                </a:ln>
                <a:solidFill>
                  <a:srgbClr val="7F7F7F"/>
                </a:solidFill>
                <a:effectLst/>
                <a:uLnTx/>
                <a:uFillTx/>
                <a:latin typeface="+mn-lt"/>
                <a:cs typeface="Calibri" panose="020F0502020204030204" pitchFamily="34" charset="0"/>
                <a:sym typeface="Arial"/>
              </a:rPr>
              <a:t>Promover a Diversidade e a Igualdade</a:t>
            </a:r>
          </a:p>
          <a:p>
            <a:pPr marL="171450" marR="0" lvl="0" indent="-171450" algn="l" defTabSz="914400" rtl="0" eaLnBrk="1" fontAlgn="auto" latinLnBrk="0" hangingPunct="1">
              <a:lnSpc>
                <a:spcPts val="1400"/>
              </a:lnSpc>
              <a:spcBef>
                <a:spcPct val="0"/>
              </a:spcBef>
              <a:spcAft>
                <a:spcPct val="0"/>
              </a:spcAft>
              <a:buClr>
                <a:srgbClr val="FF7900"/>
              </a:buClr>
              <a:buSzPct val="50000"/>
              <a:buFont typeface="Arial" panose="020B0604020202020204" pitchFamily="34" charset="0"/>
              <a:buChar char="•"/>
              <a:tabLst/>
              <a:defRPr/>
            </a:pPr>
            <a:r>
              <a:rPr kumimoji="0" lang="pt" sz="1200" b="1" i="0" u="none" strike="noStrike" kern="0" cap="none" spc="0" normalizeH="0" baseline="0" noProof="0" dirty="0">
                <a:ln>
                  <a:noFill/>
                </a:ln>
                <a:solidFill>
                  <a:srgbClr val="7F7F7F"/>
                </a:solidFill>
                <a:effectLst/>
                <a:uLnTx/>
                <a:uFillTx/>
                <a:latin typeface="+mn-lt"/>
                <a:cs typeface="Calibri" panose="020F0502020204030204" pitchFamily="34" charset="0"/>
                <a:sym typeface="Arial"/>
              </a:rPr>
              <a:t>Requalificação</a:t>
            </a:r>
          </a:p>
          <a:p>
            <a:pPr marL="171450" indent="-171450">
              <a:lnSpc>
                <a:spcPts val="1400"/>
              </a:lnSpc>
              <a:spcBef>
                <a:spcPct val="0"/>
              </a:spcBef>
              <a:spcAft>
                <a:spcPct val="0"/>
              </a:spcAft>
              <a:buClr>
                <a:srgbClr val="FF7900"/>
              </a:buClr>
              <a:buSzPct val="50000"/>
              <a:buFont typeface="Arial" panose="020B0604020202020204" pitchFamily="34" charset="0"/>
              <a:buChar char="•"/>
              <a:defRPr/>
            </a:pPr>
            <a:r>
              <a:rPr lang="pt" sz="1200" b="1" dirty="0">
                <a:solidFill>
                  <a:srgbClr val="7F7F7F"/>
                </a:solidFill>
                <a:latin typeface="+mn-lt"/>
                <a:cs typeface="Calibri"/>
              </a:rPr>
              <a:t>1º Emprego</a:t>
            </a:r>
            <a:endParaRPr lang="pt" sz="1200" b="1" i="0" u="none" strike="noStrike" kern="0" cap="none" spc="0" normalizeH="0" baseline="0" noProof="0" dirty="0">
              <a:ln>
                <a:noFill/>
              </a:ln>
              <a:solidFill>
                <a:srgbClr val="7F7F7F"/>
              </a:solidFill>
              <a:effectLst/>
              <a:uLnTx/>
              <a:uFillTx/>
              <a:latin typeface="+mn-lt"/>
              <a:cs typeface="Calibri"/>
            </a:endParaRPr>
          </a:p>
        </p:txBody>
      </p:sp>
      <p:sp>
        <p:nvSpPr>
          <p:cNvPr id="31" name="CuadroTexto 110">
            <a:extLst>
              <a:ext uri="{FF2B5EF4-FFF2-40B4-BE49-F238E27FC236}">
                <a16:creationId xmlns:a16="http://schemas.microsoft.com/office/drawing/2014/main" id="{985B7B74-22B7-4D34-B379-C545741329C9}"/>
              </a:ext>
            </a:extLst>
          </p:cNvPr>
          <p:cNvSpPr txBox="1"/>
          <p:nvPr/>
        </p:nvSpPr>
        <p:spPr>
          <a:xfrm>
            <a:off x="6599124" y="1703791"/>
            <a:ext cx="2291507" cy="1274131"/>
          </a:xfrm>
          <a:prstGeom prst="rect">
            <a:avLst/>
          </a:prstGeom>
          <a:noFill/>
        </p:spPr>
        <p:txBody>
          <a:bodyPr wrap="square" rtlCol="0">
            <a:spAutoFit/>
          </a:bodyPr>
          <a:lstStyle/>
          <a:p>
            <a:pPr marL="171450" marR="0" lvl="0" indent="-171450" algn="l" defTabSz="914400" rtl="0" eaLnBrk="1" fontAlgn="auto" latinLnBrk="0" hangingPunct="1">
              <a:lnSpc>
                <a:spcPts val="1400"/>
              </a:lnSpc>
              <a:spcBef>
                <a:spcPct val="0"/>
              </a:spcBef>
              <a:spcAft>
                <a:spcPct val="0"/>
              </a:spcAft>
              <a:buClr>
                <a:srgbClr val="00B2A9"/>
              </a:buClr>
              <a:buSzPct val="50000"/>
              <a:buFont typeface="Arial" panose="020B0604020202020204" pitchFamily="34" charset="0"/>
              <a:buChar char="•"/>
              <a:tabLst/>
              <a:defRPr/>
            </a:pPr>
            <a:r>
              <a:rPr kumimoji="0" lang="pt" sz="1200" b="1" i="0" u="none" strike="noStrike" kern="0" cap="none" spc="0" normalizeH="0" baseline="0" noProof="0">
                <a:ln>
                  <a:noFill/>
                </a:ln>
                <a:solidFill>
                  <a:srgbClr val="7F7F7F"/>
                </a:solidFill>
                <a:effectLst/>
                <a:uLnTx/>
                <a:uFillTx/>
                <a:latin typeface="+mn-lt"/>
                <a:cs typeface="Calibri" panose="020F0502020204030204" pitchFamily="34" charset="0"/>
                <a:sym typeface="Arial"/>
              </a:rPr>
              <a:t>Programa de Parceria</a:t>
            </a:r>
          </a:p>
          <a:p>
            <a:pPr marL="171450" marR="0" lvl="0" indent="-171450" algn="l" defTabSz="914400" rtl="0" eaLnBrk="1" fontAlgn="auto" latinLnBrk="0" hangingPunct="1">
              <a:lnSpc>
                <a:spcPts val="1400"/>
              </a:lnSpc>
              <a:spcBef>
                <a:spcPct val="0"/>
              </a:spcBef>
              <a:spcAft>
                <a:spcPct val="0"/>
              </a:spcAft>
              <a:buClr>
                <a:srgbClr val="00B2A9"/>
              </a:buClr>
              <a:buSzPct val="50000"/>
              <a:buFont typeface="Arial" panose="020B0604020202020204" pitchFamily="34" charset="0"/>
              <a:buChar char="•"/>
              <a:tabLst/>
              <a:defRPr/>
            </a:pPr>
            <a:r>
              <a:rPr kumimoji="0" lang="pt" sz="1200" b="1" i="0" u="none" strike="noStrike" kern="0" cap="none" spc="0" normalizeH="0" baseline="0" noProof="0">
                <a:ln>
                  <a:noFill/>
                </a:ln>
                <a:solidFill>
                  <a:srgbClr val="7F7F7F"/>
                </a:solidFill>
                <a:effectLst/>
                <a:uLnTx/>
                <a:uFillTx/>
                <a:latin typeface="+mn-lt"/>
                <a:cs typeface="Calibri" panose="020F0502020204030204" pitchFamily="34" charset="0"/>
                <a:sym typeface="Arial"/>
              </a:rPr>
              <a:t>Encantar os clientes</a:t>
            </a:r>
          </a:p>
          <a:p>
            <a:pPr marL="171450" marR="0" lvl="0" indent="-171450" algn="l" defTabSz="914400" rtl="0" eaLnBrk="1" fontAlgn="auto" latinLnBrk="0" hangingPunct="1">
              <a:lnSpc>
                <a:spcPts val="1400"/>
              </a:lnSpc>
              <a:spcBef>
                <a:spcPct val="0"/>
              </a:spcBef>
              <a:spcAft>
                <a:spcPct val="0"/>
              </a:spcAft>
              <a:buClr>
                <a:srgbClr val="00B2A9"/>
              </a:buClr>
              <a:buSzPct val="50000"/>
              <a:buFont typeface="Arial" panose="020B0604020202020204" pitchFamily="34" charset="0"/>
              <a:buChar char="•"/>
              <a:tabLst/>
              <a:defRPr/>
            </a:pPr>
            <a:r>
              <a:rPr kumimoji="0" lang="pt" sz="1200" b="1" i="0" u="none" strike="noStrike" kern="0" cap="none" spc="0" normalizeH="0" baseline="0" noProof="0">
                <a:ln>
                  <a:noFill/>
                </a:ln>
                <a:solidFill>
                  <a:srgbClr val="7F7F7F"/>
                </a:solidFill>
                <a:effectLst/>
                <a:uLnTx/>
                <a:uFillTx/>
                <a:latin typeface="+mn-lt"/>
                <a:cs typeface="Calibri" panose="020F0502020204030204" pitchFamily="34" charset="0"/>
                <a:sym typeface="Arial"/>
              </a:rPr>
              <a:t>Compras sustentáveis</a:t>
            </a:r>
          </a:p>
          <a:p>
            <a:pPr marL="171450" marR="0" lvl="0" indent="-171450" algn="l" defTabSz="914400" rtl="0" eaLnBrk="1" fontAlgn="auto" latinLnBrk="0" hangingPunct="1">
              <a:lnSpc>
                <a:spcPts val="1400"/>
              </a:lnSpc>
              <a:spcBef>
                <a:spcPct val="0"/>
              </a:spcBef>
              <a:spcAft>
                <a:spcPct val="0"/>
              </a:spcAft>
              <a:buClr>
                <a:srgbClr val="00B2A9"/>
              </a:buClr>
              <a:buSzPct val="50000"/>
              <a:buFont typeface="Arial" panose="020B0604020202020204" pitchFamily="34" charset="0"/>
              <a:buChar char="•"/>
              <a:tabLst/>
              <a:defRPr/>
            </a:pPr>
            <a:r>
              <a:rPr kumimoji="0" lang="pt" sz="1200" b="1" i="0" u="none" strike="noStrike" kern="0" cap="none" spc="0" normalizeH="0" baseline="0" noProof="0">
                <a:ln>
                  <a:noFill/>
                </a:ln>
                <a:solidFill>
                  <a:srgbClr val="7F7F7F"/>
                </a:solidFill>
                <a:effectLst/>
                <a:uLnTx/>
                <a:uFillTx/>
                <a:latin typeface="+mn-lt"/>
                <a:cs typeface="Calibri" panose="020F0502020204030204" pitchFamily="34" charset="0"/>
                <a:sym typeface="Arial"/>
              </a:rPr>
              <a:t>Inovação</a:t>
            </a:r>
          </a:p>
          <a:p>
            <a:pPr marL="171450" marR="0" lvl="0" indent="-171450" algn="l" defTabSz="914400" rtl="0" eaLnBrk="1" fontAlgn="auto" latinLnBrk="0" hangingPunct="1">
              <a:lnSpc>
                <a:spcPts val="1400"/>
              </a:lnSpc>
              <a:spcBef>
                <a:spcPct val="0"/>
              </a:spcBef>
              <a:spcAft>
                <a:spcPct val="0"/>
              </a:spcAft>
              <a:buClr>
                <a:srgbClr val="000000"/>
              </a:buClr>
              <a:buSzTx/>
              <a:buFont typeface="Arial" panose="020B0604020202020204" pitchFamily="34" charset="0"/>
              <a:buChar char="•"/>
              <a:tabLst/>
              <a:defRPr/>
            </a:pPr>
            <a:endParaRPr kumimoji="0" lang="en-US" sz="1100" b="1" i="0" u="none" strike="noStrike" kern="0" cap="none" spc="0" normalizeH="0" baseline="0" noProof="0">
              <a:ln>
                <a:noFill/>
              </a:ln>
              <a:solidFill>
                <a:srgbClr val="7F7F7F"/>
              </a:solidFill>
              <a:effectLst/>
              <a:uLnTx/>
              <a:uFillTx/>
              <a:latin typeface="+mn-lt"/>
              <a:cs typeface="Calibri" panose="020F0502020204030204" pitchFamily="34" charset="0"/>
              <a:sym typeface="Arial"/>
            </a:endParaRPr>
          </a:p>
          <a:p>
            <a:pPr marL="171450" marR="0" lvl="0" indent="-171450" algn="l" defTabSz="914400" rtl="0" eaLnBrk="1" fontAlgn="auto" latinLnBrk="0" hangingPunct="1">
              <a:lnSpc>
                <a:spcPts val="1100"/>
              </a:lnSpc>
              <a:spcBef>
                <a:spcPct val="0"/>
              </a:spcBef>
              <a:spcAft>
                <a:spcPct val="0"/>
              </a:spcAft>
              <a:buClr>
                <a:srgbClr val="000000"/>
              </a:buClr>
              <a:buSzTx/>
              <a:buFont typeface="Arial" panose="020B0604020202020204" pitchFamily="34" charset="0"/>
              <a:buChar char="•"/>
              <a:tabLst/>
              <a:defRPr/>
            </a:pPr>
            <a:endParaRPr kumimoji="0" lang="en-US" sz="1100" b="1" i="0" u="none" strike="noStrike" kern="0" cap="none" spc="0" normalizeH="0" baseline="0" noProof="0">
              <a:ln>
                <a:noFill/>
              </a:ln>
              <a:solidFill>
                <a:srgbClr val="7F7F7F"/>
              </a:solidFill>
              <a:effectLst/>
              <a:uLnTx/>
              <a:uFillTx/>
              <a:latin typeface="+mn-lt"/>
              <a:cs typeface="Calibri" panose="020F0502020204030204" pitchFamily="34" charset="0"/>
              <a:sym typeface="Arial"/>
            </a:endParaRPr>
          </a:p>
          <a:p>
            <a:pPr marL="171450" marR="0" lvl="0" indent="-171450" algn="l" defTabSz="914400" rtl="0" eaLnBrk="1" fontAlgn="auto" latinLnBrk="0" hangingPunct="1">
              <a:lnSpc>
                <a:spcPts val="1100"/>
              </a:lnSpc>
              <a:spcBef>
                <a:spcPct val="0"/>
              </a:spcBef>
              <a:spcAft>
                <a:spcPct val="0"/>
              </a:spcAft>
              <a:buClr>
                <a:srgbClr val="000000"/>
              </a:buClr>
              <a:buSzTx/>
              <a:buFont typeface="Arial" panose="020B0604020202020204" pitchFamily="34" charset="0"/>
              <a:buChar char="•"/>
              <a:tabLst/>
              <a:defRPr/>
            </a:pPr>
            <a:endParaRPr kumimoji="0" lang="en-US" sz="1100" b="1" i="0" u="none" strike="noStrike" kern="0" cap="none" spc="0" normalizeH="0" baseline="0" noProof="0">
              <a:ln>
                <a:noFill/>
              </a:ln>
              <a:solidFill>
                <a:srgbClr val="7F7F7F"/>
              </a:solidFill>
              <a:effectLst/>
              <a:uLnTx/>
              <a:uFillTx/>
              <a:latin typeface="+mn-lt"/>
              <a:cs typeface="Calibri" panose="020F0502020204030204" pitchFamily="34" charset="0"/>
              <a:sym typeface="Arial"/>
            </a:endParaRPr>
          </a:p>
        </p:txBody>
      </p:sp>
      <p:sp>
        <p:nvSpPr>
          <p:cNvPr id="32" name="Retângulo 1">
            <a:extLst>
              <a:ext uri="{FF2B5EF4-FFF2-40B4-BE49-F238E27FC236}">
                <a16:creationId xmlns:a16="http://schemas.microsoft.com/office/drawing/2014/main" id="{6935C663-EA53-4C2A-A14D-67E697319140}"/>
              </a:ext>
            </a:extLst>
          </p:cNvPr>
          <p:cNvSpPr/>
          <p:nvPr/>
        </p:nvSpPr>
        <p:spPr>
          <a:xfrm>
            <a:off x="3471519" y="3483950"/>
            <a:ext cx="2865244" cy="852541"/>
          </a:xfrm>
          <a:prstGeom prst="rect">
            <a:avLst/>
          </a:prstGeom>
          <a:noFill/>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71450" marR="0" lvl="0" indent="-171450" algn="l" defTabSz="914400" rtl="0" eaLnBrk="1" fontAlgn="auto" latinLnBrk="0" hangingPunct="1">
              <a:lnSpc>
                <a:spcPct val="80000"/>
              </a:lnSpc>
              <a:spcBef>
                <a:spcPct val="0"/>
              </a:spcBef>
              <a:spcAft>
                <a:spcPts val="1152"/>
              </a:spcAft>
              <a:buClr>
                <a:srgbClr val="FF7900"/>
              </a:buClr>
              <a:buSzPct val="50000"/>
              <a:buFont typeface="Arial" panose="020B0604020202020204" pitchFamily="34" charset="0"/>
              <a:buChar char="•"/>
              <a:tabLst/>
              <a:defRPr/>
            </a:pPr>
            <a:r>
              <a:rPr kumimoji="0" lang="pt" sz="1200" i="0" u="none" strike="noStrike" kern="0" cap="none" spc="0" normalizeH="0" baseline="0" noProof="0" dirty="0">
                <a:ln>
                  <a:noFill/>
                </a:ln>
                <a:solidFill>
                  <a:srgbClr val="7F7F7F"/>
                </a:solidFill>
                <a:effectLst/>
                <a:uLnTx/>
                <a:uFillTx/>
                <a:latin typeface="+mn-lt"/>
                <a:cs typeface="Calibri" panose="020F0502020204030204" pitchFamily="34" charset="0"/>
                <a:sym typeface="Arial"/>
              </a:rPr>
              <a:t>+65,6% Feminino (~54,6% dos mgrs.)</a:t>
            </a:r>
          </a:p>
          <a:p>
            <a:pPr marL="171450" marR="0" lvl="0" indent="-171450" algn="l" defTabSz="914400" rtl="0" eaLnBrk="1" fontAlgn="auto" latinLnBrk="0" hangingPunct="1">
              <a:lnSpc>
                <a:spcPct val="80000"/>
              </a:lnSpc>
              <a:spcBef>
                <a:spcPct val="0"/>
              </a:spcBef>
              <a:spcAft>
                <a:spcPts val="1152"/>
              </a:spcAft>
              <a:buClr>
                <a:srgbClr val="FF7900"/>
              </a:buClr>
              <a:buSzPct val="50000"/>
              <a:buFont typeface="Arial" panose="020B0604020202020204" pitchFamily="34" charset="0"/>
              <a:buChar char="•"/>
              <a:tabLst/>
              <a:defRPr/>
            </a:pPr>
            <a:r>
              <a:rPr lang="pt" sz="1200" dirty="0">
                <a:solidFill>
                  <a:srgbClr val="7F7F7F"/>
                </a:solidFill>
                <a:latin typeface="+mn-lt"/>
                <a:cs typeface="Calibri" panose="020F0502020204030204" pitchFamily="34" charset="0"/>
                <a:sym typeface="Arial"/>
              </a:rPr>
              <a:t>~50% Funcionários &lt; 30 anos.</a:t>
            </a:r>
            <a:endParaRPr kumimoji="0" lang="en-US" sz="1200" i="0" u="none" strike="noStrike" kern="1200" cap="none" spc="0" normalizeH="0" baseline="0" noProof="0" dirty="0">
              <a:ln>
                <a:noFill/>
              </a:ln>
              <a:solidFill>
                <a:srgbClr val="7F7F7F"/>
              </a:solidFill>
              <a:effectLst/>
              <a:uLnTx/>
              <a:uFillTx/>
              <a:latin typeface="+mn-lt"/>
              <a:cs typeface="Calibri" panose="020F0502020204030204" pitchFamily="34" charset="0"/>
              <a:sym typeface="Arial"/>
            </a:endParaRPr>
          </a:p>
          <a:p>
            <a:pPr marL="171450" marR="0" lvl="0" indent="-171450" algn="l" defTabSz="914400" rtl="0" eaLnBrk="1" fontAlgn="auto" latinLnBrk="0" hangingPunct="1">
              <a:lnSpc>
                <a:spcPct val="80000"/>
              </a:lnSpc>
              <a:spcBef>
                <a:spcPct val="0"/>
              </a:spcBef>
              <a:spcAft>
                <a:spcPts val="1152"/>
              </a:spcAft>
              <a:buClr>
                <a:srgbClr val="FF7900"/>
              </a:buClr>
              <a:buSzPct val="50000"/>
              <a:buFont typeface="Arial" panose="020B0604020202020204" pitchFamily="34" charset="0"/>
              <a:buChar char="•"/>
              <a:tabLst/>
              <a:defRPr/>
            </a:pPr>
            <a:r>
              <a:rPr kumimoji="0" lang="pt" sz="1200" i="0" u="none" strike="noStrike" kern="0" cap="none" spc="0" normalizeH="0" baseline="0" noProof="0" dirty="0">
                <a:ln>
                  <a:noFill/>
                </a:ln>
                <a:solidFill>
                  <a:srgbClr val="7F7F7F"/>
                </a:solidFill>
                <a:effectLst/>
                <a:uLnTx/>
                <a:uFillTx/>
                <a:latin typeface="+mn-lt"/>
                <a:cs typeface="Calibri" panose="020F0502020204030204" pitchFamily="34" charset="0"/>
                <a:sym typeface="Arial"/>
              </a:rPr>
              <a:t>Plano de Diversidade e Inclusão 2022</a:t>
            </a:r>
          </a:p>
        </p:txBody>
      </p:sp>
      <p:sp>
        <p:nvSpPr>
          <p:cNvPr id="33" name="Retângulo 1">
            <a:extLst>
              <a:ext uri="{FF2B5EF4-FFF2-40B4-BE49-F238E27FC236}">
                <a16:creationId xmlns:a16="http://schemas.microsoft.com/office/drawing/2014/main" id="{57195426-691B-40E7-B338-197850EF6E28}"/>
              </a:ext>
            </a:extLst>
          </p:cNvPr>
          <p:cNvSpPr/>
          <p:nvPr/>
        </p:nvSpPr>
        <p:spPr>
          <a:xfrm>
            <a:off x="908038" y="3483950"/>
            <a:ext cx="2488473" cy="1585370"/>
          </a:xfrm>
          <a:prstGeom prst="rect">
            <a:avLst/>
          </a:prstGeom>
          <a:noFill/>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71450" marR="0" lvl="0" indent="-171450" algn="l" defTabSz="914400" rtl="0" eaLnBrk="1" fontAlgn="auto" latinLnBrk="0" hangingPunct="1">
              <a:lnSpc>
                <a:spcPct val="80000"/>
              </a:lnSpc>
              <a:spcBef>
                <a:spcPct val="0"/>
              </a:spcBef>
              <a:spcAft>
                <a:spcPts val="1152"/>
              </a:spcAft>
              <a:buClr>
                <a:srgbClr val="00A3E0"/>
              </a:buClr>
              <a:buSzPct val="50000"/>
              <a:buFont typeface="Arial" panose="020B0604020202020204" pitchFamily="34" charset="0"/>
              <a:buChar char="•"/>
              <a:tabLst/>
              <a:defRPr/>
            </a:pPr>
            <a:r>
              <a:rPr kumimoji="0" lang="pt" sz="1200" i="0" u="none" strike="noStrike" kern="0" cap="none" spc="0" normalizeH="0" baseline="0" noProof="0">
                <a:ln>
                  <a:noFill/>
                </a:ln>
                <a:solidFill>
                  <a:srgbClr val="7F7F7F"/>
                </a:solidFill>
                <a:effectLst/>
                <a:uLnTx/>
                <a:uFillTx/>
                <a:latin typeface="+mn-lt"/>
                <a:cs typeface="Calibri" panose="020F0502020204030204" pitchFamily="34" charset="0"/>
                <a:sym typeface="Arial"/>
              </a:rPr>
              <a:t>Emissões de GEE: -31,6%</a:t>
            </a:r>
            <a:r>
              <a:rPr kumimoji="0" lang="pt" sz="900" i="0" u="none" strike="noStrike" kern="0" cap="none" spc="0" normalizeH="0" baseline="0" noProof="0">
                <a:ln>
                  <a:noFill/>
                </a:ln>
                <a:solidFill>
                  <a:srgbClr val="7F7F7F"/>
                </a:solidFill>
                <a:effectLst/>
                <a:uLnTx/>
                <a:uFillTx/>
                <a:latin typeface="+mn-lt"/>
                <a:cs typeface="Calibri" panose="020F0502020204030204" pitchFamily="34" charset="0"/>
                <a:sym typeface="Arial"/>
              </a:rPr>
              <a:t>**** </a:t>
            </a:r>
          </a:p>
          <a:p>
            <a:pPr marL="171450" marR="0" lvl="0" indent="-171450" algn="l" defTabSz="914400" rtl="0" eaLnBrk="1" fontAlgn="auto" latinLnBrk="0" hangingPunct="1">
              <a:lnSpc>
                <a:spcPct val="80000"/>
              </a:lnSpc>
              <a:spcBef>
                <a:spcPct val="0"/>
              </a:spcBef>
              <a:spcAft>
                <a:spcPts val="1152"/>
              </a:spcAft>
              <a:buClr>
                <a:srgbClr val="00A3E0"/>
              </a:buClr>
              <a:buSzPct val="50000"/>
              <a:buFont typeface="Arial" panose="020B0604020202020204" pitchFamily="34" charset="0"/>
              <a:buChar char="•"/>
              <a:tabLst/>
              <a:defRPr/>
            </a:pPr>
            <a:r>
              <a:rPr kumimoji="0" lang="pt" sz="1200" i="0" u="none" strike="noStrike" kern="0" cap="none" spc="0" normalizeH="0" baseline="0" noProof="0">
                <a:ln>
                  <a:noFill/>
                </a:ln>
                <a:solidFill>
                  <a:srgbClr val="7F7F7F"/>
                </a:solidFill>
                <a:effectLst/>
                <a:uLnTx/>
                <a:uFillTx/>
                <a:latin typeface="+mn-lt"/>
                <a:cs typeface="Calibri" panose="020F0502020204030204" pitchFamily="34" charset="0"/>
                <a:sym typeface="Arial"/>
              </a:rPr>
              <a:t>Eletricidade: -5% **</a:t>
            </a:r>
          </a:p>
          <a:p>
            <a:pPr marL="171450" marR="0" lvl="0" indent="-171450" algn="l" defTabSz="914400" rtl="0" eaLnBrk="1" fontAlgn="auto" latinLnBrk="0" hangingPunct="1">
              <a:lnSpc>
                <a:spcPct val="80000"/>
              </a:lnSpc>
              <a:spcBef>
                <a:spcPct val="0"/>
              </a:spcBef>
              <a:spcAft>
                <a:spcPts val="1152"/>
              </a:spcAft>
              <a:buClr>
                <a:srgbClr val="00A3E0"/>
              </a:buClr>
              <a:buSzPct val="50000"/>
              <a:buFont typeface="Arial" panose="020B0604020202020204" pitchFamily="34" charset="0"/>
              <a:buChar char="•"/>
              <a:tabLst/>
              <a:defRPr/>
            </a:pPr>
            <a:r>
              <a:rPr lang="pt" sz="1200" kern="0">
                <a:solidFill>
                  <a:srgbClr val="7F7F7F"/>
                </a:solidFill>
                <a:latin typeface="+mn-lt"/>
                <a:cs typeface="Calibri" panose="020F0502020204030204" pitchFamily="34" charset="0"/>
                <a:sym typeface="Arial"/>
              </a:rPr>
              <a:t>Escopo 3: -29% por funcionário WaHa ***</a:t>
            </a:r>
          </a:p>
          <a:p>
            <a:pPr marL="171450" marR="0" lvl="0" indent="-171450" algn="l" defTabSz="914400" rtl="0" eaLnBrk="1" fontAlgn="auto" latinLnBrk="0" hangingPunct="1">
              <a:lnSpc>
                <a:spcPct val="80000"/>
              </a:lnSpc>
              <a:spcBef>
                <a:spcPct val="0"/>
              </a:spcBef>
              <a:spcAft>
                <a:spcPts val="1152"/>
              </a:spcAft>
              <a:buClr>
                <a:srgbClr val="00A3E0"/>
              </a:buClr>
              <a:buSzPct val="50000"/>
              <a:buFont typeface="Arial" panose="020B0604020202020204" pitchFamily="34" charset="0"/>
              <a:buChar char="•"/>
              <a:tabLst/>
              <a:defRPr/>
            </a:pPr>
            <a:r>
              <a:rPr lang="pt" sz="1200" kern="0">
                <a:solidFill>
                  <a:srgbClr val="7F7F7F"/>
                </a:solidFill>
                <a:latin typeface="+mn-lt"/>
                <a:cs typeface="Calibri" panose="020F0502020204030204" pitchFamily="34" charset="0"/>
                <a:sym typeface="Arial"/>
              </a:rPr>
              <a:t>~64% de energia renovável</a:t>
            </a:r>
          </a:p>
          <a:p>
            <a:pPr marL="171450" marR="0" lvl="0" indent="-171450" algn="l" defTabSz="914400" rtl="0" eaLnBrk="1" fontAlgn="auto" latinLnBrk="0" hangingPunct="1">
              <a:lnSpc>
                <a:spcPct val="80000"/>
              </a:lnSpc>
              <a:spcBef>
                <a:spcPct val="0"/>
              </a:spcBef>
              <a:spcAft>
                <a:spcPts val="1152"/>
              </a:spcAft>
              <a:buClr>
                <a:srgbClr val="000000"/>
              </a:buClr>
              <a:buSzTx/>
              <a:buFont typeface="Arial" panose="020B0604020202020204" pitchFamily="34" charset="0"/>
              <a:buChar char="•"/>
              <a:tabLst/>
              <a:defRPr/>
            </a:pPr>
            <a:endParaRPr kumimoji="0" lang="en-US" sz="1100" i="0" u="none" strike="noStrike" kern="0" cap="none" spc="0" normalizeH="0" baseline="0" noProof="0">
              <a:ln>
                <a:noFill/>
              </a:ln>
              <a:solidFill>
                <a:srgbClr val="7F7F7F"/>
              </a:solidFill>
              <a:effectLst/>
              <a:uLnTx/>
              <a:uFillTx/>
              <a:latin typeface="+mn-lt"/>
              <a:cs typeface="Calibri" panose="020F0502020204030204" pitchFamily="34" charset="0"/>
              <a:sym typeface="Arial"/>
            </a:endParaRPr>
          </a:p>
        </p:txBody>
      </p:sp>
      <p:sp>
        <p:nvSpPr>
          <p:cNvPr id="34" name="CuadroTexto 110">
            <a:extLst>
              <a:ext uri="{FF2B5EF4-FFF2-40B4-BE49-F238E27FC236}">
                <a16:creationId xmlns:a16="http://schemas.microsoft.com/office/drawing/2014/main" id="{0C2CCAC4-F6DA-43D7-B5A0-5A02B5952C58}"/>
              </a:ext>
            </a:extLst>
          </p:cNvPr>
          <p:cNvSpPr txBox="1"/>
          <p:nvPr/>
        </p:nvSpPr>
        <p:spPr>
          <a:xfrm>
            <a:off x="6463884" y="3483950"/>
            <a:ext cx="2399532" cy="1899623"/>
          </a:xfrm>
          <a:prstGeom prst="rect">
            <a:avLst/>
          </a:prstGeom>
          <a:noFill/>
        </p:spPr>
        <p:style>
          <a:lnRef idx="0">
            <a:scrgbClr r="0" g="0" b="0"/>
          </a:lnRef>
          <a:fillRef idx="0">
            <a:scrgbClr r="0" g="0" b="0"/>
          </a:fillRef>
          <a:effectRef idx="0">
            <a:scrgbClr r="0" g="0" b="0"/>
          </a:effectRef>
          <a:fontRef idx="major"/>
        </p:style>
        <p:txBody>
          <a:bodyPr wrap="square">
            <a:spAutoFit/>
          </a:bodyPr>
          <a:lstStyle>
            <a:defPPr>
              <a:defRPr lang="es-ES"/>
            </a:defPPr>
            <a:lvl1pPr marL="171450" marR="0" lvl="0" indent="-171450" fontAlgn="auto">
              <a:lnSpc>
                <a:spcPct val="80000"/>
              </a:lnSpc>
              <a:spcBef>
                <a:spcPct val="0"/>
              </a:spcBef>
              <a:spcAft>
                <a:spcPts val="1152"/>
              </a:spcAft>
              <a:buClr>
                <a:srgbClr val="FF7900"/>
              </a:buClr>
              <a:buSzPct val="50000"/>
              <a:buFont typeface="Arial Black" panose="020B0A04020102020204" pitchFamily="34" charset="0"/>
              <a:buChar char="►"/>
              <a:defRPr sz="1200" b="1">
                <a:latin typeface="Calibri" panose="020F0502020204030204" pitchFamily="34" charset="0"/>
                <a:ea typeface="+mj-ea"/>
                <a:cs typeface="Calibri" panose="020F0502020204030204" pitchFamily="34" charset="0"/>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71450" marR="0" lvl="0" indent="-171450" algn="l" defTabSz="914400" rtl="0" eaLnBrk="1" fontAlgn="auto" latinLnBrk="0" hangingPunct="1">
              <a:lnSpc>
                <a:spcPct val="80000"/>
              </a:lnSpc>
              <a:spcBef>
                <a:spcPct val="0"/>
              </a:spcBef>
              <a:spcAft>
                <a:spcPts val="1152"/>
              </a:spcAft>
              <a:buClr>
                <a:srgbClr val="00B2A9"/>
              </a:buClr>
              <a:buSzPct val="50000"/>
              <a:buFont typeface="Arial" panose="020B0604020202020204" pitchFamily="34" charset="0"/>
              <a:buChar char="•"/>
              <a:tabLst/>
              <a:defRPr/>
            </a:pPr>
            <a:r>
              <a:rPr kumimoji="0" lang="pt" sz="1200" b="0" i="0" u="none" strike="noStrike" kern="0" cap="none" spc="0" normalizeH="0" baseline="0" noProof="0">
                <a:ln>
                  <a:noFill/>
                </a:ln>
                <a:solidFill>
                  <a:srgbClr val="7F7F7F"/>
                </a:solidFill>
                <a:effectLst/>
                <a:uLnTx/>
                <a:uFillTx/>
                <a:latin typeface="+mn-lt"/>
                <a:sym typeface="Arial"/>
              </a:rPr>
              <a:t>Novo recorde de NPS (+10pp)</a:t>
            </a:r>
            <a:r>
              <a:rPr kumimoji="0" lang="pt" sz="900" b="0" i="0" u="none" strike="noStrike" kern="0" cap="none" spc="0" normalizeH="0" baseline="0" noProof="0">
                <a:ln>
                  <a:noFill/>
                </a:ln>
                <a:solidFill>
                  <a:srgbClr val="7F7F7F"/>
                </a:solidFill>
                <a:effectLst/>
                <a:uLnTx/>
                <a:uFillTx/>
                <a:latin typeface="+mn-lt"/>
                <a:sym typeface="Arial"/>
              </a:rPr>
              <a:t>*</a:t>
            </a:r>
          </a:p>
          <a:p>
            <a:pPr marL="171450" marR="0" lvl="0" indent="-171450" algn="l" defTabSz="914400" rtl="0" eaLnBrk="1" fontAlgn="auto" latinLnBrk="0" hangingPunct="1">
              <a:lnSpc>
                <a:spcPct val="80000"/>
              </a:lnSpc>
              <a:spcBef>
                <a:spcPct val="0"/>
              </a:spcBef>
              <a:spcAft>
                <a:spcPts val="1152"/>
              </a:spcAft>
              <a:buClr>
                <a:srgbClr val="00B2A9"/>
              </a:buClr>
              <a:buSzPct val="50000"/>
              <a:buFont typeface="Arial" panose="020B0604020202020204" pitchFamily="34" charset="0"/>
              <a:buChar char="•"/>
              <a:tabLst/>
              <a:defRPr/>
            </a:pPr>
            <a:r>
              <a:rPr kumimoji="0" lang="pt" sz="1200" b="0" i="0" u="none" strike="noStrike" kern="0" cap="none" spc="0" normalizeH="0" baseline="0" noProof="0">
                <a:ln>
                  <a:noFill/>
                </a:ln>
                <a:solidFill>
                  <a:srgbClr val="7F7F7F"/>
                </a:solidFill>
                <a:effectLst/>
                <a:uLnTx/>
                <a:uFillTx/>
                <a:latin typeface="+mn-lt"/>
                <a:sym typeface="Arial"/>
              </a:rPr>
              <a:t>ESAT +3pp</a:t>
            </a:r>
            <a:r>
              <a:rPr kumimoji="0" lang="pt" sz="900" b="0" i="0" u="none" strike="noStrike" kern="0" cap="none" spc="0" normalizeH="0" baseline="0" noProof="0">
                <a:ln>
                  <a:noFill/>
                </a:ln>
                <a:solidFill>
                  <a:srgbClr val="7F7F7F"/>
                </a:solidFill>
                <a:effectLst/>
                <a:uLnTx/>
                <a:uFillTx/>
                <a:latin typeface="+mn-lt"/>
                <a:sym typeface="Arial"/>
              </a:rPr>
              <a:t>* </a:t>
            </a:r>
          </a:p>
          <a:p>
            <a:pPr marL="171450" marR="0" lvl="0" indent="-171450" algn="l" defTabSz="914400" rtl="0" eaLnBrk="1" fontAlgn="auto" latinLnBrk="0" hangingPunct="1">
              <a:lnSpc>
                <a:spcPct val="80000"/>
              </a:lnSpc>
              <a:spcBef>
                <a:spcPct val="0"/>
              </a:spcBef>
              <a:spcAft>
                <a:spcPts val="1152"/>
              </a:spcAft>
              <a:buClr>
                <a:srgbClr val="00B2A9"/>
              </a:buClr>
              <a:buSzPct val="50000"/>
              <a:buFont typeface="Arial" panose="020B0604020202020204" pitchFamily="34" charset="0"/>
              <a:buChar char="•"/>
              <a:tabLst/>
              <a:defRPr/>
            </a:pPr>
            <a:r>
              <a:rPr kumimoji="0" lang="pt" sz="1200" b="0" i="0" u="none" strike="noStrike" kern="0" cap="none" spc="0" normalizeH="0" baseline="0" noProof="0">
                <a:ln>
                  <a:noFill/>
                </a:ln>
                <a:solidFill>
                  <a:srgbClr val="7F7F7F"/>
                </a:solidFill>
                <a:effectLst/>
                <a:uLnTx/>
                <a:uFillTx/>
                <a:latin typeface="+mn-lt"/>
                <a:sym typeface="Arial"/>
              </a:rPr>
              <a:t>Programa de Inovação (Externo e Interno)</a:t>
            </a:r>
          </a:p>
          <a:p>
            <a:pPr marL="171450" marR="0" lvl="0" indent="-171450" algn="l" defTabSz="914400" rtl="0" eaLnBrk="1" fontAlgn="auto" latinLnBrk="0" hangingPunct="1">
              <a:lnSpc>
                <a:spcPct val="80000"/>
              </a:lnSpc>
              <a:spcBef>
                <a:spcPct val="0"/>
              </a:spcBef>
              <a:spcAft>
                <a:spcPts val="1152"/>
              </a:spcAft>
              <a:buClr>
                <a:srgbClr val="00B2A9"/>
              </a:buClr>
              <a:buSzPct val="50000"/>
              <a:buFont typeface="Arial" panose="020B0604020202020204" pitchFamily="34" charset="0"/>
              <a:buChar char="•"/>
              <a:tabLst/>
              <a:defRPr/>
            </a:pPr>
            <a:endParaRPr kumimoji="0" lang="en-US" sz="1200" b="0" i="0" u="none" strike="noStrike" kern="0" cap="none" spc="0" normalizeH="0" baseline="0" noProof="0">
              <a:ln>
                <a:noFill/>
              </a:ln>
              <a:solidFill>
                <a:srgbClr val="7F7F7F"/>
              </a:solidFill>
              <a:effectLst/>
              <a:uLnTx/>
              <a:uFillTx/>
              <a:latin typeface="+mn-lt"/>
              <a:sym typeface="Arial"/>
            </a:endParaRPr>
          </a:p>
          <a:p>
            <a:pPr marL="171450" marR="0" lvl="0" indent="-171450" algn="l" defTabSz="914400" rtl="0" eaLnBrk="1" fontAlgn="auto" latinLnBrk="0" hangingPunct="1">
              <a:lnSpc>
                <a:spcPct val="80000"/>
              </a:lnSpc>
              <a:spcBef>
                <a:spcPct val="0"/>
              </a:spcBef>
              <a:spcAft>
                <a:spcPts val="1152"/>
              </a:spcAft>
              <a:buClr>
                <a:srgbClr val="00B2A9"/>
              </a:buClr>
              <a:buSzPct val="50000"/>
              <a:buFont typeface="Arial" panose="020B0604020202020204" pitchFamily="34" charset="0"/>
              <a:buChar char="•"/>
              <a:tabLst/>
              <a:defRPr/>
            </a:pPr>
            <a:endParaRPr kumimoji="0" lang="en-US" sz="1200" b="0" i="0" u="none" strike="noStrike" kern="0" cap="none" spc="0" normalizeH="0" baseline="0" noProof="0">
              <a:ln>
                <a:noFill/>
              </a:ln>
              <a:solidFill>
                <a:srgbClr val="7F7F7F"/>
              </a:solidFill>
              <a:effectLst/>
              <a:uLnTx/>
              <a:uFillTx/>
              <a:latin typeface="+mn-lt"/>
              <a:sym typeface="Arial"/>
            </a:endParaRPr>
          </a:p>
          <a:p>
            <a:pPr marL="171450" marR="0" lvl="0" indent="-171450" algn="l" defTabSz="914400" rtl="0" eaLnBrk="1" fontAlgn="auto" latinLnBrk="0" hangingPunct="1">
              <a:lnSpc>
                <a:spcPct val="80000"/>
              </a:lnSpc>
              <a:spcBef>
                <a:spcPct val="0"/>
              </a:spcBef>
              <a:spcAft>
                <a:spcPts val="1152"/>
              </a:spcAft>
              <a:buClr>
                <a:srgbClr val="00B2A9"/>
              </a:buClr>
              <a:buSzPct val="50000"/>
              <a:buFont typeface="Arial" panose="020B0604020202020204" pitchFamily="34" charset="0"/>
              <a:buChar char="•"/>
              <a:tabLst/>
              <a:defRPr/>
            </a:pPr>
            <a:endParaRPr kumimoji="0" lang="en-US" sz="1200" b="0" i="0" u="none" strike="noStrike" kern="0" cap="none" spc="0" normalizeH="0" baseline="0" noProof="0">
              <a:ln>
                <a:noFill/>
              </a:ln>
              <a:solidFill>
                <a:srgbClr val="7F7F7F"/>
              </a:solidFill>
              <a:effectLst/>
              <a:uLnTx/>
              <a:uFillTx/>
              <a:latin typeface="+mn-lt"/>
              <a:sym typeface="Arial"/>
            </a:endParaRPr>
          </a:p>
        </p:txBody>
      </p:sp>
      <p:sp>
        <p:nvSpPr>
          <p:cNvPr id="35" name="CuadroTexto 36">
            <a:extLst>
              <a:ext uri="{FF2B5EF4-FFF2-40B4-BE49-F238E27FC236}">
                <a16:creationId xmlns:a16="http://schemas.microsoft.com/office/drawing/2014/main" id="{1E7D7224-3EB4-4D12-8CFD-C407AFF68A57}"/>
              </a:ext>
            </a:extLst>
          </p:cNvPr>
          <p:cNvSpPr txBox="1"/>
          <p:nvPr/>
        </p:nvSpPr>
        <p:spPr>
          <a:xfrm>
            <a:off x="824336" y="5561631"/>
            <a:ext cx="3151516" cy="695575"/>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ct val="0"/>
              </a:spcAft>
              <a:buClr>
                <a:srgbClr val="293E6B"/>
              </a:buClr>
              <a:buSzPct val="90000"/>
              <a:buFont typeface="Arial"/>
              <a:buNone/>
              <a:tabLst/>
              <a:defRPr/>
            </a:pPr>
            <a:r>
              <a:rPr kumimoji="0" lang="pt" sz="1050" b="1" i="0" u="none" strike="noStrike" kern="0" cap="none" spc="0" normalizeH="0" baseline="30000" noProof="0">
                <a:ln>
                  <a:noFill/>
                </a:ln>
                <a:solidFill>
                  <a:srgbClr val="FFFFFF">
                    <a:lumMod val="50000"/>
                  </a:srgbClr>
                </a:solidFill>
                <a:effectLst/>
                <a:uLnTx/>
                <a:uFillTx/>
                <a:latin typeface="+mn-lt"/>
                <a:cs typeface="Arial"/>
                <a:sym typeface="Arial"/>
              </a:rPr>
              <a:t>* 2022 </a:t>
            </a:r>
          </a:p>
          <a:p>
            <a:pPr marL="0" marR="0" lvl="0" indent="0" algn="l" defTabSz="914400" rtl="0" eaLnBrk="1" fontAlgn="auto" latinLnBrk="0" hangingPunct="1">
              <a:lnSpc>
                <a:spcPct val="100000"/>
              </a:lnSpc>
              <a:spcBef>
                <a:spcPct val="20000"/>
              </a:spcBef>
              <a:spcAft>
                <a:spcPct val="0"/>
              </a:spcAft>
              <a:buClr>
                <a:srgbClr val="293E6B"/>
              </a:buClr>
              <a:buSzPct val="90000"/>
              <a:buFont typeface="Arial"/>
              <a:buNone/>
              <a:tabLst/>
              <a:defRPr/>
            </a:pPr>
            <a:r>
              <a:rPr kumimoji="0" lang="pt" sz="1050" b="1" i="0" u="none" strike="noStrike" kern="0" cap="none" spc="0" normalizeH="0" baseline="30000" noProof="0">
                <a:ln>
                  <a:noFill/>
                </a:ln>
                <a:solidFill>
                  <a:srgbClr val="FFFFFF">
                    <a:lumMod val="50000"/>
                  </a:srgbClr>
                </a:solidFill>
                <a:effectLst/>
                <a:uLnTx/>
                <a:uFillTx/>
                <a:latin typeface="+mn-lt"/>
                <a:cs typeface="Arial"/>
                <a:sym typeface="Arial"/>
              </a:rPr>
              <a:t>** 22vs21</a:t>
            </a:r>
          </a:p>
          <a:p>
            <a:pPr marL="0" marR="0" lvl="0" indent="0" algn="l" defTabSz="914400" rtl="0" eaLnBrk="1" fontAlgn="auto" latinLnBrk="0" hangingPunct="1">
              <a:lnSpc>
                <a:spcPct val="100000"/>
              </a:lnSpc>
              <a:spcBef>
                <a:spcPct val="20000"/>
              </a:spcBef>
              <a:spcAft>
                <a:spcPct val="0"/>
              </a:spcAft>
              <a:buClr>
                <a:srgbClr val="293E6B"/>
              </a:buClr>
              <a:buSzPct val="90000"/>
              <a:buFont typeface="Arial"/>
              <a:buNone/>
              <a:tabLst/>
              <a:defRPr/>
            </a:pPr>
            <a:r>
              <a:rPr kumimoji="0" lang="pt" sz="1050" b="1" i="0" u="none" strike="noStrike" kern="0" cap="none" spc="0" normalizeH="0" baseline="30000" noProof="0">
                <a:ln>
                  <a:noFill/>
                </a:ln>
                <a:solidFill>
                  <a:srgbClr val="FFFFFF">
                    <a:lumMod val="50000"/>
                  </a:srgbClr>
                </a:solidFill>
                <a:effectLst/>
                <a:uLnTx/>
                <a:uFillTx/>
                <a:latin typeface="+mn-lt"/>
                <a:cs typeface="Arial"/>
                <a:sym typeface="Arial"/>
              </a:rPr>
              <a:t>Escopo 3: redução de deslocamentos devido ao WaHa</a:t>
            </a:r>
            <a:endParaRPr kumimoji="0" lang="en-US" sz="1050" b="1" i="0" u="none" strike="noStrike" kern="0" cap="none" spc="0" normalizeH="0" baseline="30000" noProof="0">
              <a:ln>
                <a:noFill/>
              </a:ln>
              <a:solidFill>
                <a:srgbClr val="FFFFFF">
                  <a:lumMod val="50000"/>
                </a:srgbClr>
              </a:solidFill>
              <a:effectLst/>
              <a:uLnTx/>
              <a:uFillTx/>
              <a:latin typeface="+mn-lt"/>
              <a:cs typeface="Arial"/>
              <a:sym typeface="Arial"/>
            </a:endParaRPr>
          </a:p>
          <a:p>
            <a:pPr marL="0" marR="0" lvl="0" indent="0" algn="l" defTabSz="914400" rtl="0" eaLnBrk="1" fontAlgn="auto" latinLnBrk="0" hangingPunct="1">
              <a:lnSpc>
                <a:spcPct val="100000"/>
              </a:lnSpc>
              <a:spcBef>
                <a:spcPct val="20000"/>
              </a:spcBef>
              <a:spcAft>
                <a:spcPct val="0"/>
              </a:spcAft>
              <a:buClr>
                <a:srgbClr val="293E6B"/>
              </a:buClr>
              <a:buSzPct val="90000"/>
              <a:buFont typeface="Arial"/>
              <a:buNone/>
              <a:tabLst/>
              <a:defRPr/>
            </a:pPr>
            <a:r>
              <a:rPr kumimoji="0" lang="pt" sz="1050" b="1" i="0" u="none" strike="noStrike" kern="0" cap="none" spc="0" normalizeH="0" baseline="30000" noProof="0">
                <a:ln>
                  <a:noFill/>
                </a:ln>
                <a:solidFill>
                  <a:srgbClr val="FFFFFF">
                    <a:lumMod val="50000"/>
                  </a:srgbClr>
                </a:solidFill>
                <a:effectLst/>
                <a:uLnTx/>
                <a:uFillTx/>
                <a:latin typeface="+mn-lt"/>
                <a:cs typeface="Arial"/>
                <a:sym typeface="Arial"/>
              </a:rPr>
              <a:t>22vs20 Escopo 1&amp;2 // Escopo 1: Emissões diretas provenientes de fontes próprias ou controladas pela Atento (Combustíveis e Gases Fluorados)</a:t>
            </a:r>
          </a:p>
        </p:txBody>
      </p:sp>
      <p:pic>
        <p:nvPicPr>
          <p:cNvPr id="38" name="Picture 4" descr="Resultado de imagen de frost and sullivan logo">
            <a:extLst>
              <a:ext uri="{FF2B5EF4-FFF2-40B4-BE49-F238E27FC236}">
                <a16:creationId xmlns:a16="http://schemas.microsoft.com/office/drawing/2014/main" id="{6D217F31-858A-CA31-6F07-D8C0F047D2D4}"/>
              </a:ext>
            </a:extLst>
          </p:cNvPr>
          <p:cNvPicPr>
            <a:picLocks noChangeAspect="1" noChangeArrowheads="1"/>
          </p:cNvPicPr>
          <p:nvPr/>
        </p:nvPicPr>
        <p:blipFill>
          <a:blip r:embed="rId4">
            <a:extLst>
              <a:ext uri="{28A0092B-C50C-407E-A947-70E740481C1C}">
                <a14:useLocalDpi xmlns:a14="http://schemas.microsoft.com/office/drawing/2010/main"/>
              </a:ext>
            </a:extLst>
          </a:blip>
          <a:srcRect t="26331" b="26330"/>
          <a:stretch>
            <a:fillRect/>
          </a:stretch>
        </p:blipFill>
        <p:spPr bwMode="auto">
          <a:xfrm>
            <a:off x="10881912" y="1562058"/>
            <a:ext cx="849382" cy="55975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Resultado de imagen de isg logo">
            <a:extLst>
              <a:ext uri="{FF2B5EF4-FFF2-40B4-BE49-F238E27FC236}">
                <a16:creationId xmlns:a16="http://schemas.microsoft.com/office/drawing/2014/main" id="{B88700D9-F32C-7010-F86B-8E313182CE8B}"/>
              </a:ext>
            </a:extLst>
          </p:cNvPr>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0052608" y="2124596"/>
            <a:ext cx="622772" cy="452251"/>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36">
            <a:extLst>
              <a:ext uri="{FF2B5EF4-FFF2-40B4-BE49-F238E27FC236}">
                <a16:creationId xmlns:a16="http://schemas.microsoft.com/office/drawing/2014/main" id="{C3E5FEE5-2BA4-A07F-2C9A-1B11B5127CC4}"/>
              </a:ext>
            </a:extLst>
          </p:cNvPr>
          <p:cNvSpPr/>
          <p:nvPr/>
        </p:nvSpPr>
        <p:spPr>
          <a:xfrm>
            <a:off x="9533732" y="3286150"/>
            <a:ext cx="1813731" cy="738664"/>
          </a:xfrm>
          <a:prstGeom prst="rect">
            <a:avLst/>
          </a:prstGeom>
        </p:spPr>
        <p:txBody>
          <a:bodyPr wrap="square">
            <a:spAutoFit/>
          </a:body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r>
              <a:rPr kumimoji="0" lang="pt" sz="1400" b="1" i="0" u="none" strike="noStrike" kern="0" cap="none" spc="0" normalizeH="0" baseline="0" noProof="0">
                <a:ln>
                  <a:noFill/>
                </a:ln>
                <a:solidFill>
                  <a:srgbClr val="B7BF10"/>
                </a:solidFill>
                <a:effectLst/>
                <a:uLnTx/>
                <a:uFillTx/>
                <a:latin typeface="+mn-lt"/>
                <a:cs typeface="Calibri" panose="020F0502020204030204" pitchFamily="34" charset="0"/>
                <a:sym typeface="Arial"/>
              </a:rPr>
              <a:t>... E AGÊNCIAS DE CLASSIFICAÇÃO DE RISCO ESG </a:t>
            </a:r>
            <a:endParaRPr kumimoji="0" lang="es-ES" sz="1400" b="1" i="0" u="none" strike="noStrike" kern="0" cap="none" spc="0" normalizeH="0" baseline="0" noProof="0">
              <a:ln>
                <a:noFill/>
              </a:ln>
              <a:solidFill>
                <a:srgbClr val="B7BF10"/>
              </a:solidFill>
              <a:effectLst/>
              <a:uLnTx/>
              <a:uFillTx/>
              <a:latin typeface="+mn-lt"/>
              <a:cs typeface="Calibri" panose="020F0502020204030204" pitchFamily="34" charset="0"/>
              <a:sym typeface="Arial"/>
            </a:endParaRPr>
          </a:p>
        </p:txBody>
      </p:sp>
      <p:pic>
        <p:nvPicPr>
          <p:cNvPr id="42" name="Picture 6" descr="Grupo Volvo nomeado um dos 2020 World' s Melhores locais de trabalho">
            <a:extLst>
              <a:ext uri="{FF2B5EF4-FFF2-40B4-BE49-F238E27FC236}">
                <a16:creationId xmlns:a16="http://schemas.microsoft.com/office/drawing/2014/main" id="{EF135905-8ABF-AA42-938C-FD3D6951C80C}"/>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3975851" y="4482001"/>
            <a:ext cx="748146" cy="711314"/>
          </a:xfrm>
          <a:prstGeom prst="ellipse">
            <a:avLst/>
          </a:prstGeom>
          <a:noFill/>
          <a:extLst>
            <a:ext uri="{909E8E84-426E-40DD-AFC4-6F175D3DCCD1}">
              <a14:hiddenFill xmlns:a14="http://schemas.microsoft.com/office/drawing/2010/main">
                <a:solidFill>
                  <a:srgbClr val="FFFFFF"/>
                </a:solidFill>
              </a14:hiddenFill>
            </a:ext>
          </a:extLst>
        </p:spPr>
      </p:pic>
      <p:sp>
        <p:nvSpPr>
          <p:cNvPr id="53" name="Rectangle 27">
            <a:extLst>
              <a:ext uri="{FF2B5EF4-FFF2-40B4-BE49-F238E27FC236}">
                <a16:creationId xmlns:a16="http://schemas.microsoft.com/office/drawing/2014/main" id="{81343DF6-DBDB-445C-8BCC-126D110BA4CD}"/>
              </a:ext>
            </a:extLst>
          </p:cNvPr>
          <p:cNvSpPr/>
          <p:nvPr/>
        </p:nvSpPr>
        <p:spPr>
          <a:xfrm>
            <a:off x="1249738" y="949255"/>
            <a:ext cx="1530539" cy="523220"/>
          </a:xfrm>
          <a:prstGeom prst="rect">
            <a:avLst/>
          </a:prstGeom>
          <a:solidFill>
            <a:schemeClr val="bg1"/>
          </a:solidFill>
        </p:spPr>
        <p:txBody>
          <a:bodyPr wrap="square" lIns="91440" tIns="45720" rIns="91440" bIns="45720" anchor="t">
            <a:spAutoFit/>
          </a:body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r>
              <a:rPr kumimoji="0" lang="pt" sz="1400" b="1" i="0" u="none" strike="noStrike" kern="0" cap="none" spc="0" normalizeH="0" baseline="0" noProof="0">
                <a:ln>
                  <a:noFill/>
                </a:ln>
                <a:solidFill>
                  <a:srgbClr val="00A3E0"/>
                </a:solidFill>
                <a:effectLst/>
                <a:uLnTx/>
                <a:uFillTx/>
                <a:latin typeface="+mn-lt"/>
                <a:cs typeface="Calibri" panose="020F0502020204030204" pitchFamily="34" charset="0"/>
                <a:sym typeface="Arial"/>
              </a:rPr>
              <a:t>ATENTO </a:t>
            </a:r>
          </a:p>
          <a:p>
            <a:pPr algn="ctr">
              <a:spcBef>
                <a:spcPct val="0"/>
              </a:spcBef>
              <a:spcAft>
                <a:spcPct val="0"/>
              </a:spcAft>
              <a:defRPr/>
            </a:pPr>
            <a:r>
              <a:rPr lang="pt" b="1">
                <a:solidFill>
                  <a:srgbClr val="00A3E0"/>
                </a:solidFill>
                <a:latin typeface="+mn-lt"/>
                <a:cs typeface="Calibri"/>
              </a:rPr>
              <a:t>NO MUNDO</a:t>
            </a:r>
            <a:endParaRPr lang="pt" sz="1400" b="1" i="0" u="none" strike="noStrike" kern="0" cap="none" spc="0" normalizeH="0" baseline="0" noProof="0" dirty="0">
              <a:ln>
                <a:noFill/>
              </a:ln>
              <a:solidFill>
                <a:srgbClr val="00A3E0"/>
              </a:solidFill>
              <a:effectLst/>
              <a:uLnTx/>
              <a:uFillTx/>
              <a:latin typeface="+mn-lt"/>
              <a:cs typeface="Calibri"/>
            </a:endParaRPr>
          </a:p>
        </p:txBody>
      </p:sp>
      <p:sp>
        <p:nvSpPr>
          <p:cNvPr id="55" name="Rectangle 34">
            <a:extLst>
              <a:ext uri="{FF2B5EF4-FFF2-40B4-BE49-F238E27FC236}">
                <a16:creationId xmlns:a16="http://schemas.microsoft.com/office/drawing/2014/main" id="{455902DB-8960-4B22-81DC-6D3F6A1371D0}"/>
              </a:ext>
            </a:extLst>
          </p:cNvPr>
          <p:cNvSpPr/>
          <p:nvPr/>
        </p:nvSpPr>
        <p:spPr>
          <a:xfrm>
            <a:off x="4039309" y="790906"/>
            <a:ext cx="1539524" cy="920701"/>
          </a:xfrm>
          <a:prstGeom prst="rect">
            <a:avLst/>
          </a:prstGeom>
          <a:solidFill>
            <a:schemeClr val="bg1"/>
          </a:solidFill>
        </p:spPr>
        <p:txBody>
          <a:bodyPr wrap="square" lIns="91440" tIns="45720" rIns="91440" bIns="45720" anchor="t">
            <a:spAutoFit/>
          </a:bodyPr>
          <a:lstStyle/>
          <a:p>
            <a:pPr algn="ctr">
              <a:defRPr/>
            </a:pPr>
            <a:r>
              <a:rPr lang="pt" b="1">
                <a:solidFill>
                  <a:srgbClr val="FF7900"/>
                </a:solidFill>
                <a:latin typeface="+mn-lt"/>
                <a:ea typeface="Calibri"/>
                <a:cs typeface="Calibri"/>
              </a:rPr>
              <a:t>ATENÇÃO À DIVERSIDADE E INCLUSÃO</a:t>
            </a:r>
            <a:endParaRPr lang="pt-BR">
              <a:latin typeface="+mn-lt"/>
            </a:endParaRPr>
          </a:p>
          <a:p>
            <a:pPr marL="0" marR="0" lvl="0" indent="0" algn="ctr" defTabSz="914400">
              <a:lnSpc>
                <a:spcPts val="1400"/>
              </a:lnSpc>
              <a:spcBef>
                <a:spcPct val="0"/>
              </a:spcBef>
              <a:spcAft>
                <a:spcPct val="0"/>
              </a:spcAft>
              <a:buSzTx/>
              <a:buFont typeface="Arial"/>
              <a:buNone/>
              <a:tabLst/>
              <a:defRPr/>
            </a:pPr>
            <a:endParaRPr lang="pt" b="1" dirty="0">
              <a:solidFill>
                <a:srgbClr val="FF7900"/>
              </a:solidFill>
              <a:latin typeface="+mn-lt"/>
              <a:cs typeface="Calibri"/>
            </a:endParaRPr>
          </a:p>
        </p:txBody>
      </p:sp>
      <p:sp>
        <p:nvSpPr>
          <p:cNvPr id="60" name="Rectangle 36">
            <a:extLst>
              <a:ext uri="{FF2B5EF4-FFF2-40B4-BE49-F238E27FC236}">
                <a16:creationId xmlns:a16="http://schemas.microsoft.com/office/drawing/2014/main" id="{49A94F0D-7808-4A47-A2B9-969EC123B458}"/>
              </a:ext>
            </a:extLst>
          </p:cNvPr>
          <p:cNvSpPr/>
          <p:nvPr/>
        </p:nvSpPr>
        <p:spPr>
          <a:xfrm>
            <a:off x="6928736" y="902221"/>
            <a:ext cx="1485782" cy="523220"/>
          </a:xfrm>
          <a:prstGeom prst="rect">
            <a:avLst/>
          </a:prstGeom>
          <a:solidFill>
            <a:schemeClr val="bg1"/>
          </a:solidFill>
        </p:spPr>
        <p:txBody>
          <a:bodyPr wrap="square" lIns="91440" tIns="45720" rIns="91440" bIns="45720" anchor="t">
            <a:spAutoFit/>
          </a:bodyPr>
          <a:lstStyle/>
          <a:p>
            <a:pPr algn="ctr">
              <a:defRPr/>
            </a:pPr>
            <a:r>
              <a:rPr lang="pt" b="1">
                <a:solidFill>
                  <a:srgbClr val="00B2A9"/>
                </a:solidFill>
                <a:latin typeface="+mn-lt"/>
                <a:ea typeface="Calibri"/>
                <a:cs typeface="Calibri"/>
              </a:rPr>
              <a:t>GOVERNANÇA</a:t>
            </a:r>
            <a:endParaRPr lang="pt">
              <a:latin typeface="+mn-lt"/>
              <a:ea typeface="Calibri"/>
              <a:cs typeface="Calibri"/>
            </a:endParaRPr>
          </a:p>
          <a:p>
            <a:pPr algn="ctr">
              <a:spcBef>
                <a:spcPct val="0"/>
              </a:spcBef>
              <a:spcAft>
                <a:spcPct val="0"/>
              </a:spcAft>
              <a:defRPr/>
            </a:pPr>
            <a:r>
              <a:rPr kumimoji="0" lang="pt" sz="1400" b="1" i="0" u="none" strike="noStrike" kern="0" cap="none" spc="0" normalizeH="0" baseline="0" noProof="0">
                <a:ln>
                  <a:noFill/>
                </a:ln>
                <a:solidFill>
                  <a:srgbClr val="00B2A9"/>
                </a:solidFill>
                <a:effectLst/>
                <a:uLnTx/>
                <a:uFillTx/>
                <a:latin typeface="+mn-lt"/>
                <a:cs typeface="Calibri"/>
                <a:sym typeface="Arial"/>
              </a:rPr>
              <a:t>SUSTENTÁVEL</a:t>
            </a:r>
            <a:r>
              <a:rPr lang="pt" b="1">
                <a:solidFill>
                  <a:srgbClr val="00B2A9"/>
                </a:solidFill>
                <a:latin typeface="+mn-lt"/>
                <a:cs typeface="Calibri"/>
              </a:rPr>
              <a:t> </a:t>
            </a:r>
            <a:endParaRPr kumimoji="0" lang="es-ES" sz="1400" b="1" i="0" u="none" strike="noStrike" kern="0" cap="none" spc="0" normalizeH="0" baseline="0" noProof="0">
              <a:ln>
                <a:noFill/>
              </a:ln>
              <a:solidFill>
                <a:srgbClr val="00B2A9"/>
              </a:solidFill>
              <a:effectLst/>
              <a:uLnTx/>
              <a:uFillTx/>
              <a:latin typeface="+mn-lt"/>
              <a:cs typeface="Calibri" panose="020F0502020204030204" pitchFamily="34" charset="0"/>
              <a:sym typeface="Arial"/>
            </a:endParaRPr>
          </a:p>
        </p:txBody>
      </p:sp>
      <p:sp>
        <p:nvSpPr>
          <p:cNvPr id="61" name="Rectangle 36">
            <a:extLst>
              <a:ext uri="{FF2B5EF4-FFF2-40B4-BE49-F238E27FC236}">
                <a16:creationId xmlns:a16="http://schemas.microsoft.com/office/drawing/2014/main" id="{5F296E97-AFE5-B554-FD6D-191C530AEB20}"/>
              </a:ext>
            </a:extLst>
          </p:cNvPr>
          <p:cNvSpPr/>
          <p:nvPr/>
        </p:nvSpPr>
        <p:spPr>
          <a:xfrm>
            <a:off x="9172062" y="803197"/>
            <a:ext cx="2566728" cy="523220"/>
          </a:xfrm>
          <a:prstGeom prst="rect">
            <a:avLst/>
          </a:prstGeom>
          <a:solidFill>
            <a:schemeClr val="bg1"/>
          </a:solidFill>
        </p:spPr>
        <p:txBody>
          <a:bodyPr wrap="none" lIns="91440" tIns="45720" rIns="91440" bIns="45720" anchor="t">
            <a:spAutoFit/>
          </a:bodyPr>
          <a:lstStyle/>
          <a:p>
            <a:pPr algn="ctr">
              <a:defRPr/>
            </a:pPr>
            <a:r>
              <a:rPr lang="pt" b="1">
                <a:solidFill>
                  <a:srgbClr val="B7BF10"/>
                </a:solidFill>
                <a:latin typeface="+mn-lt"/>
                <a:ea typeface="Calibri"/>
                <a:cs typeface="Calibri"/>
              </a:rPr>
              <a:t>AVALIADA COMO LÍDER </a:t>
            </a:r>
            <a:endParaRPr lang="pt-BR">
              <a:latin typeface="+mn-lt"/>
              <a:ea typeface="Calibri"/>
            </a:endParaRPr>
          </a:p>
          <a:p>
            <a:pPr algn="ctr">
              <a:defRPr/>
            </a:pPr>
            <a:r>
              <a:rPr lang="pt" b="1">
                <a:solidFill>
                  <a:srgbClr val="B7BF10"/>
                </a:solidFill>
                <a:latin typeface="+mn-lt"/>
                <a:ea typeface="Calibri"/>
                <a:cs typeface="Calibri"/>
              </a:rPr>
              <a:t>POR ANALISTAS DE MERCADO…</a:t>
            </a:r>
            <a:endParaRPr lang="pt-BR">
              <a:latin typeface="+mn-lt"/>
            </a:endParaRPr>
          </a:p>
        </p:txBody>
      </p:sp>
      <p:pic>
        <p:nvPicPr>
          <p:cNvPr id="62" name="Picture 2" descr="Resultado de imagen de logo gartner">
            <a:extLst>
              <a:ext uri="{FF2B5EF4-FFF2-40B4-BE49-F238E27FC236}">
                <a16:creationId xmlns:a16="http://schemas.microsoft.com/office/drawing/2014/main" id="{DD9C2C89-95B4-5C63-A18F-463E7C24D304}"/>
              </a:ext>
            </a:extLst>
          </p:cNvPr>
          <p:cNvPicPr>
            <a:picLocks noChangeAspect="1" noChangeArrowheads="1"/>
          </p:cNvPicPr>
          <p:nvPr/>
        </p:nvPicPr>
        <p:blipFill>
          <a:blip r:embed="rId7">
            <a:extLst>
              <a:ext uri="{28A0092B-C50C-407E-A947-70E740481C1C}">
                <a14:useLocalDpi xmlns:a14="http://schemas.microsoft.com/office/drawing/2010/main"/>
              </a:ext>
            </a:extLst>
          </a:blip>
          <a:srcRect t="1" r="11245" b="-9793"/>
          <a:stretch>
            <a:fillRect/>
          </a:stretch>
        </p:blipFill>
        <p:spPr bwMode="auto">
          <a:xfrm>
            <a:off x="9252154" y="1565684"/>
            <a:ext cx="1029944" cy="606462"/>
          </a:xfrm>
          <a:prstGeom prst="rect">
            <a:avLst/>
          </a:prstGeom>
          <a:noFill/>
          <a:extLst>
            <a:ext uri="{909E8E84-426E-40DD-AFC4-6F175D3DCCD1}">
              <a14:hiddenFill xmlns:a14="http://schemas.microsoft.com/office/drawing/2010/main">
                <a:solidFill>
                  <a:srgbClr val="FFFFFF"/>
                </a:solidFill>
              </a14:hiddenFill>
            </a:ext>
          </a:extLst>
        </p:spPr>
      </p:pic>
      <p:sp>
        <p:nvSpPr>
          <p:cNvPr id="63" name="Rounded Rectangle 62">
            <a:extLst>
              <a:ext uri="{FF2B5EF4-FFF2-40B4-BE49-F238E27FC236}">
                <a16:creationId xmlns:a16="http://schemas.microsoft.com/office/drawing/2014/main" id="{4189F9BB-5F84-1A4F-8778-BF30F868BE47}"/>
              </a:ext>
            </a:extLst>
          </p:cNvPr>
          <p:cNvSpPr/>
          <p:nvPr/>
        </p:nvSpPr>
        <p:spPr>
          <a:xfrm>
            <a:off x="606094" y="2806445"/>
            <a:ext cx="11459259" cy="399442"/>
          </a:xfrm>
          <a:prstGeom prst="roundRect">
            <a:avLst>
              <a:gd name="adj" fmla="val 50000"/>
            </a:avLst>
          </a:prstGeom>
          <a:solidFill>
            <a:srgbClr val="00B2A9"/>
          </a:solidFill>
          <a:ln>
            <a:noFill/>
          </a:ln>
        </p:spPr>
        <p:txBody>
          <a:bodyPr vert="horz" lIns="91440" tIns="45720" rIns="91440" bIns="45720" rtlCol="0" anchor="ctr">
            <a:noAutofit/>
          </a:bodyPr>
          <a:lstStyle/>
          <a:p>
            <a:pPr algn="ctr">
              <a:lnSpc>
                <a:spcPct val="90000"/>
              </a:lnSpc>
              <a:spcBef>
                <a:spcPct val="0"/>
              </a:spcBef>
              <a:spcAft>
                <a:spcPct val="0"/>
              </a:spcAft>
              <a:defRPr/>
            </a:pPr>
            <a:r>
              <a:rPr lang="pt" sz="1600" b="1">
                <a:solidFill>
                  <a:srgbClr val="FFFFFF"/>
                </a:solidFill>
                <a:latin typeface="+mn-lt"/>
                <a:cs typeface="Calibri"/>
              </a:rPr>
              <a:t>SUPERAMOS NOSSOS CONCORRENTES</a:t>
            </a:r>
            <a:endParaRPr lang="pt" sz="1600" b="1" i="0" u="none" strike="noStrike" kern="0" cap="none" spc="0" normalizeH="0" baseline="0" noProof="0" dirty="0">
              <a:ln>
                <a:noFill/>
              </a:ln>
              <a:solidFill>
                <a:srgbClr val="FFFFFF"/>
              </a:solidFill>
              <a:effectLst/>
              <a:uLnTx/>
              <a:uFillTx/>
              <a:latin typeface="+mn-lt"/>
              <a:cs typeface="Calibri" panose="020F0502020204030204" pitchFamily="34" charset="0"/>
            </a:endParaRPr>
          </a:p>
        </p:txBody>
      </p:sp>
      <p:sp>
        <p:nvSpPr>
          <p:cNvPr id="5" name="CuadroTexto 4">
            <a:extLst>
              <a:ext uri="{FF2B5EF4-FFF2-40B4-BE49-F238E27FC236}">
                <a16:creationId xmlns:a16="http://schemas.microsoft.com/office/drawing/2014/main" id="{CFFB0261-C37C-086D-B31E-B317FEEA15A3}"/>
              </a:ext>
            </a:extLst>
          </p:cNvPr>
          <p:cNvSpPr txBox="1"/>
          <p:nvPr/>
        </p:nvSpPr>
        <p:spPr>
          <a:xfrm>
            <a:off x="9128721" y="5697234"/>
            <a:ext cx="2722381" cy="507831"/>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r>
              <a:rPr kumimoji="0" lang="pt" sz="900" b="0" i="0" u="none" strike="noStrike" kern="0" cap="none" spc="0" normalizeH="0" baseline="0" noProof="0">
                <a:ln>
                  <a:noFill/>
                </a:ln>
                <a:solidFill>
                  <a:srgbClr val="000000"/>
                </a:solidFill>
                <a:effectLst/>
                <a:uLnTx/>
                <a:uFillTx/>
                <a:latin typeface="+mn-lt"/>
                <a:cs typeface="Arial"/>
                <a:sym typeface="Arial"/>
                <a:hlinkClick r:id="rId8"/>
              </a:rPr>
              <a:t>https://www.sustainalytics.com/esg-rating/atento-sa/1270802233</a:t>
            </a:r>
            <a:endParaRPr kumimoji="0" lang="es-ES" sz="900" b="0" i="0" u="none" strike="noStrike" kern="0" cap="none" spc="0" normalizeH="0" baseline="0" noProof="0">
              <a:ln>
                <a:noFill/>
              </a:ln>
              <a:solidFill>
                <a:srgbClr val="000000"/>
              </a:solidFill>
              <a:effectLst/>
              <a:uLnTx/>
              <a:uFillTx/>
              <a:latin typeface="+mn-lt"/>
              <a:cs typeface="Arial"/>
              <a:sym typeface="Arial"/>
            </a:endParaRPr>
          </a:p>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endParaRPr kumimoji="0" lang="es-ES" sz="900" b="0" i="0" u="none" strike="noStrike" kern="0" cap="none" spc="0" normalizeH="0" baseline="0" noProof="0">
              <a:ln>
                <a:noFill/>
              </a:ln>
              <a:solidFill>
                <a:srgbClr val="000000"/>
              </a:solidFill>
              <a:effectLst/>
              <a:uLnTx/>
              <a:uFillTx/>
              <a:latin typeface="+mn-lt"/>
              <a:cs typeface="Arial"/>
              <a:sym typeface="Arial"/>
            </a:endParaRPr>
          </a:p>
        </p:txBody>
      </p:sp>
      <p:pic>
        <p:nvPicPr>
          <p:cNvPr id="1026" name="Picture 2" descr="Atento Next - Español - Atento Next">
            <a:extLst>
              <a:ext uri="{FF2B5EF4-FFF2-40B4-BE49-F238E27FC236}">
                <a16:creationId xmlns:a16="http://schemas.microsoft.com/office/drawing/2014/main" id="{6C1D5095-A8EE-59DC-3114-AE3076AA0349}"/>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517806" y="4548345"/>
            <a:ext cx="896712" cy="319573"/>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o 6">
            <a:extLst>
              <a:ext uri="{FF2B5EF4-FFF2-40B4-BE49-F238E27FC236}">
                <a16:creationId xmlns:a16="http://schemas.microsoft.com/office/drawing/2014/main" id="{D9669460-7C52-47EA-5B32-7988FD5A8751}"/>
              </a:ext>
            </a:extLst>
          </p:cNvPr>
          <p:cNvGrpSpPr/>
          <p:nvPr/>
        </p:nvGrpSpPr>
        <p:grpSpPr>
          <a:xfrm>
            <a:off x="9225832" y="3733594"/>
            <a:ext cx="2503793" cy="1684489"/>
            <a:chOff x="9114630" y="3633235"/>
            <a:chExt cx="2503793" cy="1684489"/>
          </a:xfrm>
        </p:grpSpPr>
        <p:pic>
          <p:nvPicPr>
            <p:cNvPr id="8" name="Imagen 12">
              <a:extLst>
                <a:ext uri="{FF2B5EF4-FFF2-40B4-BE49-F238E27FC236}">
                  <a16:creationId xmlns:a16="http://schemas.microsoft.com/office/drawing/2014/main" id="{5C2C45F5-073F-1704-4B9D-9DBA818DB534}"/>
                </a:ext>
              </a:extLst>
            </p:cNvPr>
            <p:cNvPicPr>
              <a:picLocks noChangeAspect="1"/>
            </p:cNvPicPr>
            <p:nvPr/>
          </p:nvPicPr>
          <p:blipFill>
            <a:blip r:embed="rId10"/>
            <a:stretch>
              <a:fillRect/>
            </a:stretch>
          </p:blipFill>
          <p:spPr>
            <a:xfrm>
              <a:off x="9114630" y="3633235"/>
              <a:ext cx="2503793" cy="1684489"/>
            </a:xfrm>
            <a:prstGeom prst="rect">
              <a:avLst/>
            </a:prstGeom>
          </p:spPr>
        </p:pic>
        <p:sp>
          <p:nvSpPr>
            <p:cNvPr id="9" name="Título 3">
              <a:extLst>
                <a:ext uri="{FF2B5EF4-FFF2-40B4-BE49-F238E27FC236}">
                  <a16:creationId xmlns:a16="http://schemas.microsoft.com/office/drawing/2014/main" id="{47BA32A1-30E6-BFC8-307A-6CE564CF9D6E}"/>
                </a:ext>
              </a:extLst>
            </p:cNvPr>
            <p:cNvSpPr txBox="1">
              <a:spLocks/>
            </p:cNvSpPr>
            <p:nvPr>
              <p:custDataLst>
                <p:tags r:id="rId1"/>
              </p:custDataLst>
            </p:nvPr>
          </p:nvSpPr>
          <p:spPr>
            <a:xfrm>
              <a:off x="9187019" y="3926265"/>
              <a:ext cx="1785961" cy="588387"/>
            </a:xfrm>
            <a:prstGeom prst="rect">
              <a:avLst/>
            </a:prstGeom>
            <a:solidFill>
              <a:schemeClr val="bg1"/>
            </a:solidFill>
          </p:spPr>
          <p:txBody>
            <a:bodyPr vert="horz" lIns="91440" tIns="45720" rIns="91440" bIns="45720" rtlCol="0" anchor="t" anchorCtr="0">
              <a:noAutofit/>
            </a:bodyPr>
            <a:lstStyle>
              <a:defPPr>
                <a:defRPr lang="es-ES"/>
              </a:defPPr>
              <a:lvl1pPr marR="0" lvl="0" indent="0" fontAlgn="auto">
                <a:lnSpc>
                  <a:spcPct val="90000"/>
                </a:lnSpc>
                <a:spcBef>
                  <a:spcPct val="0"/>
                </a:spcBef>
                <a:spcAft>
                  <a:spcPct val="0"/>
                </a:spcAft>
                <a:buClrTx/>
                <a:buSzTx/>
                <a:buFontTx/>
                <a:buNone/>
                <a:tabLst/>
                <a:defRPr kumimoji="0" sz="2800" b="1" i="0" u="none" strike="noStrike" cap="none" spc="0" normalizeH="0" baseline="0">
                  <a:ln>
                    <a:noFill/>
                  </a:ln>
                  <a:solidFill>
                    <a:srgbClr val="00B2BA"/>
                  </a:solidFill>
                  <a:effectLst/>
                  <a:uLnTx/>
                  <a:uFillTx/>
                  <a:latin typeface="Omnes SemiBold" panose="02000000000000000000" pitchFamily="50" charset="0"/>
                  <a:cs typeface="Calibri" panose="020F0502020204030204" pitchFamily="34" charset="0"/>
                </a:defRPr>
              </a:lvl1pPr>
            </a:lstStyle>
            <a:p>
              <a:r>
                <a:rPr lang="pt" sz="4800">
                  <a:solidFill>
                    <a:srgbClr val="00B2A9"/>
                  </a:solidFill>
                  <a:latin typeface="+mn-lt"/>
                </a:rPr>
                <a:t>10.5</a:t>
              </a:r>
            </a:p>
          </p:txBody>
        </p:sp>
      </p:grpSp>
      <p:pic>
        <p:nvPicPr>
          <p:cNvPr id="18" name="Imagen 17">
            <a:extLst>
              <a:ext uri="{FF2B5EF4-FFF2-40B4-BE49-F238E27FC236}">
                <a16:creationId xmlns:a16="http://schemas.microsoft.com/office/drawing/2014/main" id="{0A41481F-7347-791E-9746-E5326F83020C}"/>
              </a:ext>
            </a:extLst>
          </p:cNvPr>
          <p:cNvPicPr>
            <a:picLocks noChangeAspect="1"/>
          </p:cNvPicPr>
          <p:nvPr/>
        </p:nvPicPr>
        <p:blipFill>
          <a:blip r:embed="rId11"/>
          <a:stretch>
            <a:fillRect/>
          </a:stretch>
        </p:blipFill>
        <p:spPr>
          <a:xfrm>
            <a:off x="4817069" y="4490103"/>
            <a:ext cx="975579" cy="711314"/>
          </a:xfrm>
          <a:prstGeom prst="rect">
            <a:avLst/>
          </a:prstGeom>
        </p:spPr>
      </p:pic>
      <p:pic>
        <p:nvPicPr>
          <p:cNvPr id="10" name="Imagen 16" descr="Gesto de toque duplo estrutura de tópicos">
            <a:hlinkClick r:id="" action="ppaction://noaction"/>
            <a:extLst>
              <a:ext uri="{FF2B5EF4-FFF2-40B4-BE49-F238E27FC236}">
                <a16:creationId xmlns:a16="http://schemas.microsoft.com/office/drawing/2014/main" id="{265188AE-A412-522C-C539-957440A2C4D6}"/>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2937802" y="1257594"/>
            <a:ext cx="371069" cy="371069"/>
          </a:xfrm>
          <a:prstGeom prst="rect">
            <a:avLst/>
          </a:prstGeom>
        </p:spPr>
      </p:pic>
      <p:pic>
        <p:nvPicPr>
          <p:cNvPr id="11" name="Imagen 16" descr="Gesto de toque duplo estrutura de tópicos">
            <a:hlinkClick r:id="" action="ppaction://noaction"/>
            <a:extLst>
              <a:ext uri="{FF2B5EF4-FFF2-40B4-BE49-F238E27FC236}">
                <a16:creationId xmlns:a16="http://schemas.microsoft.com/office/drawing/2014/main" id="{9C556898-E2BF-AC15-6A16-D07C44FE94CA}"/>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5766122" y="1257594"/>
            <a:ext cx="371069" cy="371069"/>
          </a:xfrm>
          <a:prstGeom prst="rect">
            <a:avLst/>
          </a:prstGeom>
        </p:spPr>
      </p:pic>
      <p:pic>
        <p:nvPicPr>
          <p:cNvPr id="12" name="Imagen 16" descr="Gesto de toque duplo estrutura de tópicos">
            <a:hlinkClick r:id="" action="ppaction://noaction"/>
            <a:extLst>
              <a:ext uri="{FF2B5EF4-FFF2-40B4-BE49-F238E27FC236}">
                <a16:creationId xmlns:a16="http://schemas.microsoft.com/office/drawing/2014/main" id="{74D3B708-875A-52F6-9D5D-DF24658F36C3}"/>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8586135" y="1256935"/>
            <a:ext cx="371069" cy="371069"/>
          </a:xfrm>
          <a:prstGeom prst="rect">
            <a:avLst/>
          </a:prstGeom>
        </p:spPr>
      </p:pic>
      <p:pic>
        <p:nvPicPr>
          <p:cNvPr id="4" name="Picture 3">
            <a:hlinkClick r:id="rId18"/>
            <a:extLst>
              <a:ext uri="{FF2B5EF4-FFF2-40B4-BE49-F238E27FC236}">
                <a16:creationId xmlns:a16="http://schemas.microsoft.com/office/drawing/2014/main" id="{FCF8EAAD-5639-9C04-4330-B15BE9C9AE22}"/>
              </a:ext>
            </a:extLst>
          </p:cNvPr>
          <p:cNvPicPr>
            <a:picLocks noChangeAspect="1"/>
          </p:cNvPicPr>
          <p:nvPr/>
        </p:nvPicPr>
        <p:blipFill>
          <a:blip r:embed="rId19"/>
          <a:stretch>
            <a:fillRect/>
          </a:stretch>
        </p:blipFill>
        <p:spPr>
          <a:xfrm>
            <a:off x="4179318" y="5590432"/>
            <a:ext cx="614633" cy="614633"/>
          </a:xfrm>
          <a:prstGeom prst="rect">
            <a:avLst/>
          </a:prstGeom>
        </p:spPr>
      </p:pic>
      <p:sp>
        <p:nvSpPr>
          <p:cNvPr id="13" name="CuadroTexto 98">
            <a:extLst>
              <a:ext uri="{FF2B5EF4-FFF2-40B4-BE49-F238E27FC236}">
                <a16:creationId xmlns:a16="http://schemas.microsoft.com/office/drawing/2014/main" id="{848C3967-32EC-5769-8CA5-1A0C137DC0F2}"/>
              </a:ext>
            </a:extLst>
          </p:cNvPr>
          <p:cNvSpPr txBox="1"/>
          <p:nvPr/>
        </p:nvSpPr>
        <p:spPr>
          <a:xfrm>
            <a:off x="4829720" y="5668605"/>
            <a:ext cx="2954570" cy="451406"/>
          </a:xfrm>
          <a:prstGeom prst="rect">
            <a:avLst/>
          </a:prstGeom>
          <a:noFill/>
        </p:spPr>
        <p:txBody>
          <a:bodyPr wrap="square" rtlCol="0">
            <a:spAutoFit/>
          </a:bodyPr>
          <a:lstStyle/>
          <a:p>
            <a:pPr marR="0" lvl="0" algn="l" defTabSz="914400" rtl="0" eaLnBrk="1" fontAlgn="auto" latinLnBrk="0" hangingPunct="1">
              <a:lnSpc>
                <a:spcPts val="1400"/>
              </a:lnSpc>
              <a:spcBef>
                <a:spcPct val="0"/>
              </a:spcBef>
              <a:spcAft>
                <a:spcPct val="0"/>
              </a:spcAft>
              <a:buClr>
                <a:srgbClr val="FF7900"/>
              </a:buClr>
              <a:buSzPct val="50000"/>
              <a:tabLst/>
              <a:defRPr/>
            </a:pPr>
            <a:r>
              <a:rPr kumimoji="0" lang="pt" sz="1200" i="0" u="none" strike="noStrike" kern="0" cap="none" spc="0" normalizeH="0" baseline="0" noProof="0" dirty="0">
                <a:ln>
                  <a:noFill/>
                </a:ln>
                <a:solidFill>
                  <a:srgbClr val="7F7F7F"/>
                </a:solidFill>
                <a:effectLst/>
                <a:uLnTx/>
                <a:uFillTx/>
                <a:latin typeface="+mn-lt"/>
                <a:cs typeface="Calibri" panose="020F0502020204030204" pitchFamily="34" charset="0"/>
                <a:sym typeface="Arial"/>
              </a:rPr>
              <a:t>Digitalize-o para assistir a um vídeo sobre nossos programas de diversidade</a:t>
            </a:r>
            <a:endParaRPr kumimoji="0" lang="en-US" sz="1100" b="1" i="0" u="none" strike="noStrike" kern="0" cap="none" spc="0" normalizeH="0" baseline="0" noProof="0" dirty="0">
              <a:ln>
                <a:noFill/>
              </a:ln>
              <a:solidFill>
                <a:srgbClr val="7F7F7F"/>
              </a:solidFill>
              <a:effectLst/>
              <a:uLnTx/>
              <a:uFillTx/>
              <a:latin typeface="+mn-lt"/>
              <a:cs typeface="Calibri" panose="020F0502020204030204" pitchFamily="34" charset="0"/>
              <a:sym typeface="Arial"/>
            </a:endParaRPr>
          </a:p>
        </p:txBody>
      </p:sp>
      <p:sp>
        <p:nvSpPr>
          <p:cNvPr id="3" name="CaixaDeTexto 2">
            <a:extLst>
              <a:ext uri="{FF2B5EF4-FFF2-40B4-BE49-F238E27FC236}">
                <a16:creationId xmlns:a16="http://schemas.microsoft.com/office/drawing/2014/main" id="{72E5A28C-6AE6-08F0-FA93-A7B4293C4AC0}"/>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Por que Atento?</a:t>
            </a:r>
          </a:p>
        </p:txBody>
      </p:sp>
    </p:spTree>
    <p:extLst>
      <p:ext uri="{BB962C8B-B14F-4D97-AF65-F5344CB8AC3E}">
        <p14:creationId xmlns:p14="http://schemas.microsoft.com/office/powerpoint/2010/main" val="1910649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B7EAA7-F9F4-E79C-41C7-E1A1C4BE721A}"/>
              </a:ext>
            </a:extLst>
          </p:cNvPr>
          <p:cNvSpPr>
            <a:spLocks noGrp="1"/>
          </p:cNvSpPr>
          <p:nvPr>
            <p:ph type="title"/>
          </p:nvPr>
        </p:nvSpPr>
        <p:spPr>
          <a:prstGeom prst="rect">
            <a:avLst/>
          </a:prstGeom>
        </p:spPr>
        <p:txBody>
          <a:bodyPr lIns="91440" tIns="45720" rIns="91440" bIns="45720" anchor="t">
            <a:noAutofit/>
          </a:bodyPr>
          <a:lstStyle/>
          <a:p>
            <a:r>
              <a:rPr kumimoji="0" lang="pt-BR" sz="2800" b="1" i="0" u="none" strike="noStrike" kern="0" cap="none" spc="0" normalizeH="0" baseline="0" noProof="0" dirty="0">
                <a:ln>
                  <a:noFill/>
                </a:ln>
                <a:effectLst/>
                <a:uLnTx/>
                <a:uFillTx/>
                <a:latin typeface="Omnes" panose="02000606040000020004" pitchFamily="50" charset="0"/>
                <a:cs typeface="Calibri"/>
                <a:sym typeface="Arial"/>
              </a:rPr>
              <a:t>Minha Jornada</a:t>
            </a:r>
            <a:endParaRPr lang="en-US" sz="2800" dirty="0">
              <a:latin typeface="Omnes" panose="02000606040000020004" pitchFamily="50" charset="0"/>
            </a:endParaRPr>
          </a:p>
        </p:txBody>
      </p:sp>
      <p:sp>
        <p:nvSpPr>
          <p:cNvPr id="3" name="CaixaDeTexto 2">
            <a:extLst>
              <a:ext uri="{FF2B5EF4-FFF2-40B4-BE49-F238E27FC236}">
                <a16:creationId xmlns:a16="http://schemas.microsoft.com/office/drawing/2014/main" id="{72E5A28C-6AE6-08F0-FA93-A7B4293C4AC0}"/>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Maisa Lima</a:t>
            </a:r>
          </a:p>
        </p:txBody>
      </p:sp>
      <p:pic>
        <p:nvPicPr>
          <p:cNvPr id="6" name="Imagem 5">
            <a:extLst>
              <a:ext uri="{FF2B5EF4-FFF2-40B4-BE49-F238E27FC236}">
                <a16:creationId xmlns:a16="http://schemas.microsoft.com/office/drawing/2014/main" id="{8097AFA2-72B0-F8FF-8C36-8E8548CB6FB8}"/>
              </a:ext>
            </a:extLst>
          </p:cNvPr>
          <p:cNvPicPr>
            <a:picLocks noChangeAspect="1"/>
          </p:cNvPicPr>
          <p:nvPr/>
        </p:nvPicPr>
        <p:blipFill rotWithShape="1">
          <a:blip r:embed="rId3"/>
          <a:srcRect l="2778" t="21852" r="7532" b="33704"/>
          <a:stretch/>
        </p:blipFill>
        <p:spPr>
          <a:xfrm>
            <a:off x="7152673" y="1905000"/>
            <a:ext cx="4613275" cy="3048000"/>
          </a:xfrm>
          <a:prstGeom prst="rect">
            <a:avLst/>
          </a:prstGeom>
        </p:spPr>
      </p:pic>
      <p:sp>
        <p:nvSpPr>
          <p:cNvPr id="15" name="TextBox 7">
            <a:extLst>
              <a:ext uri="{FF2B5EF4-FFF2-40B4-BE49-F238E27FC236}">
                <a16:creationId xmlns:a16="http://schemas.microsoft.com/office/drawing/2014/main" id="{33DF9566-A718-EDDE-29EE-96F21D207532}"/>
              </a:ext>
            </a:extLst>
          </p:cNvPr>
          <p:cNvSpPr txBox="1">
            <a:spLocks noChangeArrowheads="1"/>
          </p:cNvSpPr>
          <p:nvPr/>
        </p:nvSpPr>
        <p:spPr bwMode="auto">
          <a:xfrm>
            <a:off x="582287" y="1131342"/>
            <a:ext cx="6381147" cy="50167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a:defRPr sz="1200" b="1">
                <a:solidFill>
                  <a:schemeClr val="accent1">
                    <a:lumMod val="50000"/>
                  </a:schemeClr>
                </a:solidFill>
                <a:latin typeface="Calibri" charset="0"/>
                <a:ea typeface="ＭＳ Ｐゴシック" charset="0"/>
                <a:cs typeface="Calibri" charset="0"/>
              </a:defRPr>
            </a:lvl1pPr>
            <a:lvl2pPr marL="742950" indent="-285750" eaLnBrk="0" hangingPunct="0">
              <a:defRPr sz="2400">
                <a:latin typeface="Calibri" charset="0"/>
                <a:ea typeface="ＭＳ Ｐゴシック" charset="0"/>
              </a:defRPr>
            </a:lvl2pPr>
            <a:lvl3pPr marL="1143000" indent="-228600" eaLnBrk="0" hangingPunct="0">
              <a:defRPr sz="2400">
                <a:latin typeface="Calibri" charset="0"/>
                <a:ea typeface="ＭＳ Ｐゴシック" charset="0"/>
              </a:defRPr>
            </a:lvl3pPr>
            <a:lvl4pPr marL="1600200" indent="-228600" eaLnBrk="0" hangingPunct="0">
              <a:defRPr sz="2400">
                <a:latin typeface="Calibri" charset="0"/>
                <a:ea typeface="ＭＳ Ｐゴシック" charset="0"/>
              </a:defRPr>
            </a:lvl4pPr>
            <a:lvl5pPr marL="2057400" indent="-228600" eaLnBrk="0" hangingPunct="0">
              <a:defRPr sz="2400">
                <a:latin typeface="Calibri" charset="0"/>
                <a:ea typeface="ＭＳ Ｐゴシック" charset="0"/>
              </a:defRPr>
            </a:lvl5pPr>
            <a:lvl6pPr marL="2514600" indent="-228600" eaLnBrk="0" fontAlgn="base" hangingPunct="0">
              <a:spcBef>
                <a:spcPct val="0"/>
              </a:spcBef>
              <a:spcAft>
                <a:spcPct val="0"/>
              </a:spcAft>
              <a:defRPr sz="2400">
                <a:latin typeface="Calibri" charset="0"/>
                <a:ea typeface="ＭＳ Ｐゴシック" charset="0"/>
              </a:defRPr>
            </a:lvl6pPr>
            <a:lvl7pPr marL="2971800" indent="-228600" eaLnBrk="0" fontAlgn="base" hangingPunct="0">
              <a:spcBef>
                <a:spcPct val="0"/>
              </a:spcBef>
              <a:spcAft>
                <a:spcPct val="0"/>
              </a:spcAft>
              <a:defRPr sz="2400">
                <a:latin typeface="Calibri" charset="0"/>
                <a:ea typeface="ＭＳ Ｐゴシック" charset="0"/>
              </a:defRPr>
            </a:lvl7pPr>
            <a:lvl8pPr marL="3429000" indent="-228600" eaLnBrk="0" fontAlgn="base" hangingPunct="0">
              <a:spcBef>
                <a:spcPct val="0"/>
              </a:spcBef>
              <a:spcAft>
                <a:spcPct val="0"/>
              </a:spcAft>
              <a:defRPr sz="2400">
                <a:latin typeface="Calibri" charset="0"/>
                <a:ea typeface="ＭＳ Ｐゴシック" charset="0"/>
              </a:defRPr>
            </a:lvl8pPr>
            <a:lvl9pPr marL="3886200" indent="-228600" eaLnBrk="0" fontAlgn="base" hangingPunct="0">
              <a:spcBef>
                <a:spcPct val="0"/>
              </a:spcBef>
              <a:spcAft>
                <a:spcPct val="0"/>
              </a:spcAft>
              <a:defRPr sz="2400">
                <a:latin typeface="Calibri" charset="0"/>
                <a:ea typeface="ＭＳ Ｐゴシック" charset="0"/>
              </a:defRPr>
            </a:lvl9pPr>
          </a:lstStyle>
          <a:p>
            <a:r>
              <a:rPr lang="pt-BR" sz="1600" b="0" dirty="0">
                <a:solidFill>
                  <a:srgbClr val="00B2A9"/>
                </a:solidFill>
              </a:rPr>
              <a:t>Superintendente de </a:t>
            </a:r>
            <a:r>
              <a:rPr lang="pt-BR" sz="1600" dirty="0">
                <a:solidFill>
                  <a:srgbClr val="00B2A9"/>
                </a:solidFill>
              </a:rPr>
              <a:t>Processos e Certificações</a:t>
            </a:r>
          </a:p>
          <a:p>
            <a:endParaRPr lang="pt-BR" sz="1600" b="0" dirty="0">
              <a:solidFill>
                <a:srgbClr val="00B2A9"/>
              </a:solidFill>
            </a:endParaRPr>
          </a:p>
          <a:p>
            <a:r>
              <a:rPr lang="pt-BR" sz="1600" b="0" dirty="0">
                <a:solidFill>
                  <a:srgbClr val="00B2A9"/>
                </a:solidFill>
              </a:rPr>
              <a:t>Graduada em </a:t>
            </a:r>
            <a:r>
              <a:rPr lang="pt-BR" sz="1600" dirty="0">
                <a:solidFill>
                  <a:srgbClr val="00B2A9"/>
                </a:solidFill>
              </a:rPr>
              <a:t>Ciências Biológicas </a:t>
            </a:r>
            <a:r>
              <a:rPr lang="pt-BR" sz="1600" b="0" dirty="0">
                <a:solidFill>
                  <a:srgbClr val="00B2A9"/>
                </a:solidFill>
              </a:rPr>
              <a:t>pela UERJ</a:t>
            </a:r>
          </a:p>
          <a:p>
            <a:r>
              <a:rPr lang="pt-BR" sz="1600" b="0" dirty="0">
                <a:solidFill>
                  <a:srgbClr val="00B2A9"/>
                </a:solidFill>
              </a:rPr>
              <a:t>Pós Graduada em </a:t>
            </a:r>
            <a:r>
              <a:rPr lang="pt-BR" sz="1600" dirty="0">
                <a:solidFill>
                  <a:srgbClr val="00B2A9"/>
                </a:solidFill>
              </a:rPr>
              <a:t>Gestão de Processos de Negócios </a:t>
            </a:r>
            <a:r>
              <a:rPr lang="pt-BR" sz="1600" b="0" dirty="0">
                <a:solidFill>
                  <a:srgbClr val="00B2A9"/>
                </a:solidFill>
              </a:rPr>
              <a:t>pela COPPE/UFRJ</a:t>
            </a:r>
          </a:p>
          <a:p>
            <a:r>
              <a:rPr lang="pt-BR" sz="1600" b="0" dirty="0">
                <a:solidFill>
                  <a:srgbClr val="00B2A9"/>
                </a:solidFill>
              </a:rPr>
              <a:t>Certificada em </a:t>
            </a:r>
            <a:r>
              <a:rPr lang="pt-BR" sz="1600" dirty="0">
                <a:solidFill>
                  <a:srgbClr val="00B2A9"/>
                </a:solidFill>
              </a:rPr>
              <a:t>BPM Masterclass </a:t>
            </a:r>
            <a:r>
              <a:rPr lang="pt-BR" sz="1600" b="0" dirty="0">
                <a:solidFill>
                  <a:srgbClr val="00B2A9"/>
                </a:solidFill>
              </a:rPr>
              <a:t>pela FIAP</a:t>
            </a:r>
          </a:p>
          <a:p>
            <a:r>
              <a:rPr lang="pt-BR" sz="1600" b="0" dirty="0">
                <a:solidFill>
                  <a:srgbClr val="00B2A9"/>
                </a:solidFill>
              </a:rPr>
              <a:t>Pós-graduada em </a:t>
            </a:r>
            <a:r>
              <a:rPr lang="pt-BR" sz="1600" dirty="0">
                <a:solidFill>
                  <a:srgbClr val="00B2A9"/>
                </a:solidFill>
              </a:rPr>
              <a:t>Sistema de Gestão Integrada </a:t>
            </a:r>
            <a:r>
              <a:rPr lang="pt-BR" sz="1600" b="0" dirty="0">
                <a:solidFill>
                  <a:srgbClr val="00B2A9"/>
                </a:solidFill>
              </a:rPr>
              <a:t>pelo UNYLEYA – EAD</a:t>
            </a:r>
          </a:p>
          <a:p>
            <a:r>
              <a:rPr lang="pt-BR" sz="1600" b="0" dirty="0">
                <a:solidFill>
                  <a:srgbClr val="00B2A9"/>
                </a:solidFill>
              </a:rPr>
              <a:t>Pós-graduada em </a:t>
            </a:r>
            <a:r>
              <a:rPr lang="pt-BR" sz="1600" dirty="0">
                <a:solidFill>
                  <a:srgbClr val="00B2A9"/>
                </a:solidFill>
              </a:rPr>
              <a:t>Gestão Ambiental em Empresas </a:t>
            </a:r>
            <a:r>
              <a:rPr lang="pt-BR" sz="1600" b="0" dirty="0">
                <a:solidFill>
                  <a:srgbClr val="00B2A9"/>
                </a:solidFill>
              </a:rPr>
              <a:t>UNYLEYA – EAD</a:t>
            </a:r>
          </a:p>
          <a:p>
            <a:r>
              <a:rPr lang="pt-BR" sz="1600" b="0" dirty="0">
                <a:solidFill>
                  <a:srgbClr val="00B2A9"/>
                </a:solidFill>
              </a:rPr>
              <a:t>Pós-graduada em </a:t>
            </a:r>
            <a:r>
              <a:rPr lang="pt-BR" sz="1600" dirty="0">
                <a:solidFill>
                  <a:srgbClr val="00B2A9"/>
                </a:solidFill>
              </a:rPr>
              <a:t>ESG e Sustentabilidade Empresarial </a:t>
            </a:r>
            <a:r>
              <a:rPr lang="pt-BR" sz="1600" b="0" dirty="0">
                <a:solidFill>
                  <a:srgbClr val="00B2A9"/>
                </a:solidFill>
              </a:rPr>
              <a:t>Anhanguera – EAD</a:t>
            </a:r>
          </a:p>
          <a:p>
            <a:r>
              <a:rPr lang="pt-BR" sz="1600" b="0" dirty="0">
                <a:solidFill>
                  <a:srgbClr val="00B2A9"/>
                </a:solidFill>
              </a:rPr>
              <a:t>Cursando MBA em </a:t>
            </a:r>
            <a:r>
              <a:rPr lang="pt-BR" sz="1600" dirty="0">
                <a:solidFill>
                  <a:srgbClr val="00B2A9"/>
                </a:solidFill>
              </a:rPr>
              <a:t>Gestão de Desempenho e Indicadores </a:t>
            </a:r>
            <a:r>
              <a:rPr lang="pt-BR" sz="1600" b="0" dirty="0">
                <a:solidFill>
                  <a:srgbClr val="00B2A9"/>
                </a:solidFill>
              </a:rPr>
              <a:t>– Anhanguera</a:t>
            </a:r>
          </a:p>
          <a:p>
            <a:r>
              <a:rPr lang="pt-BR" sz="1600" b="0" dirty="0">
                <a:solidFill>
                  <a:srgbClr val="00B2A9"/>
                </a:solidFill>
              </a:rPr>
              <a:t>Formação em </a:t>
            </a:r>
            <a:r>
              <a:rPr lang="pt-BR" sz="1600" dirty="0">
                <a:solidFill>
                  <a:srgbClr val="00B2A9"/>
                </a:solidFill>
              </a:rPr>
              <a:t>Educação Financeira Profissional </a:t>
            </a:r>
            <a:r>
              <a:rPr lang="pt-BR" sz="1600" b="0" dirty="0">
                <a:solidFill>
                  <a:srgbClr val="00B2A9"/>
                </a:solidFill>
              </a:rPr>
              <a:t>- </a:t>
            </a:r>
            <a:r>
              <a:rPr lang="pt-BR" sz="1600" b="0" dirty="0" err="1">
                <a:solidFill>
                  <a:srgbClr val="00B2A9"/>
                </a:solidFill>
              </a:rPr>
              <a:t>UBrasilia</a:t>
            </a:r>
            <a:endParaRPr lang="pt-BR" sz="1600" b="0" dirty="0">
              <a:solidFill>
                <a:srgbClr val="00B2A9"/>
              </a:solidFill>
            </a:endParaRPr>
          </a:p>
          <a:p>
            <a:endParaRPr lang="pt-BR" sz="1600" b="0" dirty="0">
              <a:solidFill>
                <a:srgbClr val="00B2A9"/>
              </a:solidFill>
            </a:endParaRPr>
          </a:p>
          <a:p>
            <a:r>
              <a:rPr lang="pt-BR" sz="1600" dirty="0">
                <a:solidFill>
                  <a:srgbClr val="00B2A9"/>
                </a:solidFill>
              </a:rPr>
              <a:t>18 anos na Atento</a:t>
            </a:r>
          </a:p>
          <a:p>
            <a:r>
              <a:rPr lang="pt-BR" sz="1600" b="0" dirty="0">
                <a:solidFill>
                  <a:srgbClr val="00B2A9"/>
                </a:solidFill>
              </a:rPr>
              <a:t>	</a:t>
            </a:r>
            <a:r>
              <a:rPr lang="pt-BR" sz="1600" dirty="0">
                <a:solidFill>
                  <a:srgbClr val="00B2A9"/>
                </a:solidFill>
              </a:rPr>
              <a:t>16 anos na área de Processos</a:t>
            </a:r>
          </a:p>
          <a:p>
            <a:endParaRPr lang="pt-BR" sz="1600" b="0" dirty="0">
              <a:solidFill>
                <a:srgbClr val="00B2A9"/>
              </a:solidFill>
            </a:endParaRPr>
          </a:p>
          <a:p>
            <a:r>
              <a:rPr lang="pt-BR" sz="1600" b="0" dirty="0">
                <a:solidFill>
                  <a:srgbClr val="00B2A9"/>
                </a:solidFill>
              </a:rPr>
              <a:t>24 anos em Qualidade e Certificações</a:t>
            </a:r>
          </a:p>
          <a:p>
            <a:endParaRPr lang="pt-BR" sz="1600" b="0" dirty="0">
              <a:solidFill>
                <a:srgbClr val="00B2A9"/>
              </a:solidFill>
            </a:endParaRPr>
          </a:p>
          <a:p>
            <a:r>
              <a:rPr lang="pt-BR" sz="1600" b="0" dirty="0" err="1">
                <a:solidFill>
                  <a:srgbClr val="00B2A9"/>
                </a:solidFill>
              </a:rPr>
              <a:t>Linkedin</a:t>
            </a:r>
            <a:r>
              <a:rPr lang="pt-BR" sz="1600" b="0" dirty="0">
                <a:solidFill>
                  <a:srgbClr val="00B2A9"/>
                </a:solidFill>
              </a:rPr>
              <a:t>: Maisa Lima</a:t>
            </a:r>
          </a:p>
          <a:p>
            <a:r>
              <a:rPr lang="pt-BR" sz="1600" b="0" dirty="0">
                <a:solidFill>
                  <a:srgbClr val="00B2A9"/>
                </a:solidFill>
                <a:hlinkClick r:id="rId4">
                  <a:extLst>
                    <a:ext uri="{A12FA001-AC4F-418D-AE19-62706E023703}">
                      <ahyp:hlinkClr xmlns:ahyp="http://schemas.microsoft.com/office/drawing/2018/hyperlinkcolor" val="tx"/>
                    </a:ext>
                  </a:extLst>
                </a:hlinkClick>
              </a:rPr>
              <a:t>maisa.lima@atento.com</a:t>
            </a:r>
            <a:endParaRPr lang="pt-BR" sz="1600" b="0" dirty="0">
              <a:solidFill>
                <a:srgbClr val="00B2A9"/>
              </a:solidFill>
            </a:endParaRPr>
          </a:p>
          <a:p>
            <a:r>
              <a:rPr lang="pt-BR" sz="1600" b="0" dirty="0">
                <a:solidFill>
                  <a:srgbClr val="00B2A9"/>
                </a:solidFill>
              </a:rPr>
              <a:t>IG: @maisac.lima</a:t>
            </a:r>
          </a:p>
          <a:p>
            <a:endParaRPr lang="pt-BR" sz="1600" b="0" dirty="0">
              <a:solidFill>
                <a:srgbClr val="00B2A9"/>
              </a:solidFill>
            </a:endParaRPr>
          </a:p>
        </p:txBody>
      </p:sp>
      <p:pic>
        <p:nvPicPr>
          <p:cNvPr id="16" name="Imagem 15" descr="Mulher posando para foto&#10;&#10;Descrição gerada automaticamente">
            <a:extLst>
              <a:ext uri="{FF2B5EF4-FFF2-40B4-BE49-F238E27FC236}">
                <a16:creationId xmlns:a16="http://schemas.microsoft.com/office/drawing/2014/main" id="{4DEC2854-503B-293E-0807-BBD4704372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76758" y="830263"/>
            <a:ext cx="4779953" cy="53178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11236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B7EAA7-F9F4-E79C-41C7-E1A1C4BE721A}"/>
              </a:ext>
            </a:extLst>
          </p:cNvPr>
          <p:cNvSpPr>
            <a:spLocks noGrp="1"/>
          </p:cNvSpPr>
          <p:nvPr>
            <p:ph type="title"/>
          </p:nvPr>
        </p:nvSpPr>
        <p:spPr>
          <a:prstGeom prst="rect">
            <a:avLst/>
          </a:prstGeom>
        </p:spPr>
        <p:txBody>
          <a:bodyPr lIns="91440" tIns="45720" rIns="91440" bIns="45720" anchor="t">
            <a:noAutofit/>
          </a:bodyPr>
          <a:lstStyle/>
          <a:p>
            <a:r>
              <a:rPr kumimoji="0" lang="pt-BR" sz="2800" b="1" i="0" u="none" strike="noStrike" kern="0" cap="none" spc="0" normalizeH="0" baseline="0" noProof="0">
                <a:ln>
                  <a:noFill/>
                </a:ln>
                <a:effectLst/>
                <a:uLnTx/>
                <a:uFillTx/>
                <a:latin typeface="Omnes" panose="02000606040000020004" pitchFamily="50" charset="0"/>
                <a:cs typeface="Calibri"/>
                <a:sym typeface="Arial"/>
              </a:rPr>
              <a:t>Eu e Ele</a:t>
            </a:r>
            <a:endParaRPr lang="en-US" sz="2800" dirty="0">
              <a:latin typeface="Omnes" panose="02000606040000020004" pitchFamily="50" charset="0"/>
            </a:endParaRPr>
          </a:p>
        </p:txBody>
      </p:sp>
      <p:sp>
        <p:nvSpPr>
          <p:cNvPr id="3" name="CaixaDeTexto 2">
            <a:extLst>
              <a:ext uri="{FF2B5EF4-FFF2-40B4-BE49-F238E27FC236}">
                <a16:creationId xmlns:a16="http://schemas.microsoft.com/office/drawing/2014/main" id="{72E5A28C-6AE6-08F0-FA93-A7B4293C4AC0}"/>
              </a:ext>
            </a:extLst>
          </p:cNvPr>
          <p:cNvSpPr txBox="1"/>
          <p:nvPr/>
        </p:nvSpPr>
        <p:spPr>
          <a:xfrm rot="16200000">
            <a:off x="-1431559" y="1530153"/>
            <a:ext cx="3368084" cy="307777"/>
          </a:xfrm>
          <a:prstGeom prst="rect">
            <a:avLst/>
          </a:prstGeom>
          <a:noFill/>
        </p:spPr>
        <p:txBody>
          <a:bodyPr wrap="square" rtlCol="0">
            <a:spAutoFit/>
          </a:bodyPr>
          <a:lstStyle/>
          <a:p>
            <a:pPr algn="ctr"/>
            <a:r>
              <a:rPr lang="pt-BR" dirty="0">
                <a:solidFill>
                  <a:schemeClr val="bg1"/>
                </a:solidFill>
                <a:latin typeface="+mn-lt"/>
              </a:rPr>
              <a:t>Maisa Lima</a:t>
            </a:r>
          </a:p>
        </p:txBody>
      </p:sp>
      <p:pic>
        <p:nvPicPr>
          <p:cNvPr id="4" name="Imagem 3">
            <a:extLst>
              <a:ext uri="{FF2B5EF4-FFF2-40B4-BE49-F238E27FC236}">
                <a16:creationId xmlns:a16="http://schemas.microsoft.com/office/drawing/2014/main" id="{240A9B27-C0AA-2C92-211F-4957AA167EE9}"/>
              </a:ext>
            </a:extLst>
          </p:cNvPr>
          <p:cNvPicPr>
            <a:picLocks noChangeAspect="1"/>
          </p:cNvPicPr>
          <p:nvPr/>
        </p:nvPicPr>
        <p:blipFill>
          <a:blip r:embed="rId3"/>
          <a:stretch>
            <a:fillRect/>
          </a:stretch>
        </p:blipFill>
        <p:spPr>
          <a:xfrm>
            <a:off x="943049" y="1308346"/>
            <a:ext cx="3116939" cy="3211974"/>
          </a:xfrm>
          <a:prstGeom prst="rect">
            <a:avLst/>
          </a:prstGeom>
          <a:ln>
            <a:noFill/>
          </a:ln>
          <a:effectLst>
            <a:softEdge rad="112500"/>
          </a:effectLst>
        </p:spPr>
      </p:pic>
      <p:pic>
        <p:nvPicPr>
          <p:cNvPr id="5" name="Imagem 4">
            <a:extLst>
              <a:ext uri="{FF2B5EF4-FFF2-40B4-BE49-F238E27FC236}">
                <a16:creationId xmlns:a16="http://schemas.microsoft.com/office/drawing/2014/main" id="{FD07177C-4C7B-707F-5078-43B113B51D95}"/>
              </a:ext>
            </a:extLst>
          </p:cNvPr>
          <p:cNvPicPr>
            <a:picLocks noChangeAspect="1"/>
          </p:cNvPicPr>
          <p:nvPr/>
        </p:nvPicPr>
        <p:blipFill>
          <a:blip r:embed="rId4"/>
          <a:stretch>
            <a:fillRect/>
          </a:stretch>
        </p:blipFill>
        <p:spPr>
          <a:xfrm>
            <a:off x="4476537" y="2613937"/>
            <a:ext cx="3415033" cy="3415033"/>
          </a:xfrm>
          <a:prstGeom prst="rect">
            <a:avLst/>
          </a:prstGeom>
          <a:ln>
            <a:noFill/>
          </a:ln>
          <a:effectLst>
            <a:softEdge rad="112500"/>
          </a:effectLst>
        </p:spPr>
      </p:pic>
      <p:pic>
        <p:nvPicPr>
          <p:cNvPr id="7" name="Imagem 6">
            <a:extLst>
              <a:ext uri="{FF2B5EF4-FFF2-40B4-BE49-F238E27FC236}">
                <a16:creationId xmlns:a16="http://schemas.microsoft.com/office/drawing/2014/main" id="{3DAF622A-9497-6EB9-1246-65BDAC96D9E1}"/>
              </a:ext>
            </a:extLst>
          </p:cNvPr>
          <p:cNvPicPr>
            <a:picLocks noChangeAspect="1"/>
          </p:cNvPicPr>
          <p:nvPr/>
        </p:nvPicPr>
        <p:blipFill>
          <a:blip r:embed="rId5"/>
          <a:stretch>
            <a:fillRect/>
          </a:stretch>
        </p:blipFill>
        <p:spPr>
          <a:xfrm>
            <a:off x="8627054" y="1204514"/>
            <a:ext cx="3116940" cy="3116940"/>
          </a:xfrm>
          <a:prstGeom prst="rect">
            <a:avLst/>
          </a:prstGeom>
          <a:ln>
            <a:noFill/>
          </a:ln>
          <a:effectLst>
            <a:softEdge rad="112500"/>
          </a:effectLst>
        </p:spPr>
      </p:pic>
    </p:spTree>
    <p:extLst>
      <p:ext uri="{BB962C8B-B14F-4D97-AF65-F5344CB8AC3E}">
        <p14:creationId xmlns:p14="http://schemas.microsoft.com/office/powerpoint/2010/main" val="1442272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ector recto 6">
            <a:extLst>
              <a:ext uri="{FF2B5EF4-FFF2-40B4-BE49-F238E27FC236}">
                <a16:creationId xmlns:a16="http://schemas.microsoft.com/office/drawing/2014/main" id="{508B9625-C399-4D91-9B5E-3B3BCBC63B23}"/>
              </a:ext>
            </a:extLst>
          </p:cNvPr>
          <p:cNvCxnSpPr>
            <a:cxnSpLocks/>
          </p:cNvCxnSpPr>
          <p:nvPr/>
        </p:nvCxnSpPr>
        <p:spPr>
          <a:xfrm flipV="1">
            <a:off x="6704804" y="1893082"/>
            <a:ext cx="507600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 name="Agrupar 5">
            <a:extLst>
              <a:ext uri="{FF2B5EF4-FFF2-40B4-BE49-F238E27FC236}">
                <a16:creationId xmlns:a16="http://schemas.microsoft.com/office/drawing/2014/main" id="{70F99A9C-C03A-4E27-8926-CF4D16347233}"/>
              </a:ext>
            </a:extLst>
          </p:cNvPr>
          <p:cNvGrpSpPr/>
          <p:nvPr/>
        </p:nvGrpSpPr>
        <p:grpSpPr>
          <a:xfrm>
            <a:off x="6704804" y="1220181"/>
            <a:ext cx="582211" cy="734268"/>
            <a:chOff x="6518063" y="5144600"/>
            <a:chExt cx="582211" cy="734268"/>
          </a:xfrm>
        </p:grpSpPr>
        <p:grpSp>
          <p:nvGrpSpPr>
            <p:cNvPr id="14" name="Grupo 13">
              <a:extLst>
                <a:ext uri="{FF2B5EF4-FFF2-40B4-BE49-F238E27FC236}">
                  <a16:creationId xmlns:a16="http://schemas.microsoft.com/office/drawing/2014/main" id="{95170C17-6B89-4468-A1D4-F2F69B206AC0}"/>
                </a:ext>
              </a:extLst>
            </p:cNvPr>
            <p:cNvGrpSpPr/>
            <p:nvPr/>
          </p:nvGrpSpPr>
          <p:grpSpPr>
            <a:xfrm>
              <a:off x="6707092" y="5662868"/>
              <a:ext cx="216000" cy="216000"/>
              <a:chOff x="7280822" y="3602598"/>
              <a:chExt cx="216000" cy="216000"/>
            </a:xfrm>
          </p:grpSpPr>
          <p:sp>
            <p:nvSpPr>
              <p:cNvPr id="15" name="Elipse 14">
                <a:extLst>
                  <a:ext uri="{FF2B5EF4-FFF2-40B4-BE49-F238E27FC236}">
                    <a16:creationId xmlns:a16="http://schemas.microsoft.com/office/drawing/2014/main" id="{76B0691A-9F47-47C1-8583-6AE7A9E7573F}"/>
                  </a:ext>
                </a:extLst>
              </p:cNvPr>
              <p:cNvSpPr/>
              <p:nvPr/>
            </p:nvSpPr>
            <p:spPr>
              <a:xfrm>
                <a:off x="7280822" y="3602598"/>
                <a:ext cx="216000" cy="216000"/>
              </a:xfrm>
              <a:prstGeom prst="ellipse">
                <a:avLst/>
              </a:prstGeom>
              <a:solidFill>
                <a:schemeClr val="bg1"/>
              </a:solidFill>
              <a:ln>
                <a:solidFill>
                  <a:srgbClr val="014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Elipse 15">
                <a:extLst>
                  <a:ext uri="{FF2B5EF4-FFF2-40B4-BE49-F238E27FC236}">
                    <a16:creationId xmlns:a16="http://schemas.microsoft.com/office/drawing/2014/main" id="{1E6CCFA9-AF0F-475A-A791-572A9C0CD885}"/>
                  </a:ext>
                </a:extLst>
              </p:cNvPr>
              <p:cNvSpPr/>
              <p:nvPr/>
            </p:nvSpPr>
            <p:spPr>
              <a:xfrm>
                <a:off x="7315199" y="3636974"/>
                <a:ext cx="144000" cy="144000"/>
              </a:xfrm>
              <a:prstGeom prst="ellipse">
                <a:avLst/>
              </a:prstGeom>
              <a:solidFill>
                <a:srgbClr val="01426A"/>
              </a:solidFill>
              <a:ln>
                <a:solidFill>
                  <a:srgbClr val="014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20" name="CuadroTexto 19">
              <a:extLst>
                <a:ext uri="{FF2B5EF4-FFF2-40B4-BE49-F238E27FC236}">
                  <a16:creationId xmlns:a16="http://schemas.microsoft.com/office/drawing/2014/main" id="{363857E5-B0E2-4E42-AE62-CC36562C5C59}"/>
                </a:ext>
              </a:extLst>
            </p:cNvPr>
            <p:cNvSpPr txBox="1"/>
            <p:nvPr/>
          </p:nvSpPr>
          <p:spPr>
            <a:xfrm>
              <a:off x="6518063" y="5144600"/>
              <a:ext cx="582211" cy="307777"/>
            </a:xfrm>
            <a:prstGeom prst="rect">
              <a:avLst/>
            </a:prstGeom>
            <a:noFill/>
          </p:spPr>
          <p:txBody>
            <a:bodyPr wrap="none" rtlCol="0">
              <a:spAutoFit/>
            </a:bodyPr>
            <a:lstStyle/>
            <a:p>
              <a:r>
                <a:rPr lang="es-ES" sz="1400" b="1" dirty="0">
                  <a:solidFill>
                    <a:srgbClr val="01426A"/>
                  </a:solidFill>
                  <a:latin typeface="Arial" panose="020B0604020202020204" pitchFamily="34" charset="0"/>
                  <a:cs typeface="Arial" panose="020B0604020202020204" pitchFamily="34" charset="0"/>
                </a:rPr>
                <a:t>2019</a:t>
              </a:r>
            </a:p>
          </p:txBody>
        </p:sp>
      </p:grpSp>
      <p:grpSp>
        <p:nvGrpSpPr>
          <p:cNvPr id="9" name="Agrupar 8">
            <a:extLst>
              <a:ext uri="{FF2B5EF4-FFF2-40B4-BE49-F238E27FC236}">
                <a16:creationId xmlns:a16="http://schemas.microsoft.com/office/drawing/2014/main" id="{41CF3FDC-F743-4877-96CC-F0BE9CE3720A}"/>
              </a:ext>
            </a:extLst>
          </p:cNvPr>
          <p:cNvGrpSpPr/>
          <p:nvPr/>
        </p:nvGrpSpPr>
        <p:grpSpPr>
          <a:xfrm>
            <a:off x="7561732" y="1220181"/>
            <a:ext cx="582211" cy="744324"/>
            <a:chOff x="7380635" y="5144600"/>
            <a:chExt cx="582211" cy="744324"/>
          </a:xfrm>
        </p:grpSpPr>
        <p:grpSp>
          <p:nvGrpSpPr>
            <p:cNvPr id="11" name="Grupo 10">
              <a:extLst>
                <a:ext uri="{FF2B5EF4-FFF2-40B4-BE49-F238E27FC236}">
                  <a16:creationId xmlns:a16="http://schemas.microsoft.com/office/drawing/2014/main" id="{02EE2C19-18E3-4220-8C94-B70DA3558824}"/>
                </a:ext>
              </a:extLst>
            </p:cNvPr>
            <p:cNvGrpSpPr/>
            <p:nvPr/>
          </p:nvGrpSpPr>
          <p:grpSpPr>
            <a:xfrm>
              <a:off x="7561403" y="5672924"/>
              <a:ext cx="216000" cy="216000"/>
              <a:chOff x="7280822" y="3602598"/>
              <a:chExt cx="216000" cy="216000"/>
            </a:xfrm>
          </p:grpSpPr>
          <p:sp>
            <p:nvSpPr>
              <p:cNvPr id="12" name="Elipse 11">
                <a:extLst>
                  <a:ext uri="{FF2B5EF4-FFF2-40B4-BE49-F238E27FC236}">
                    <a16:creationId xmlns:a16="http://schemas.microsoft.com/office/drawing/2014/main" id="{172F50A3-F259-4431-A635-86E90D11E9F7}"/>
                  </a:ext>
                </a:extLst>
              </p:cNvPr>
              <p:cNvSpPr/>
              <p:nvPr/>
            </p:nvSpPr>
            <p:spPr>
              <a:xfrm>
                <a:off x="7280822" y="3602598"/>
                <a:ext cx="216000" cy="216000"/>
              </a:xfrm>
              <a:prstGeom prst="ellipse">
                <a:avLst/>
              </a:prstGeom>
              <a:solidFill>
                <a:schemeClr val="bg1"/>
              </a:solid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Elipse 12">
                <a:extLst>
                  <a:ext uri="{FF2B5EF4-FFF2-40B4-BE49-F238E27FC236}">
                    <a16:creationId xmlns:a16="http://schemas.microsoft.com/office/drawing/2014/main" id="{3A388AE9-9410-4272-808E-4F409212CAEE}"/>
                  </a:ext>
                </a:extLst>
              </p:cNvPr>
              <p:cNvSpPr/>
              <p:nvPr/>
            </p:nvSpPr>
            <p:spPr>
              <a:xfrm>
                <a:off x="7315199" y="3636974"/>
                <a:ext cx="144000" cy="144000"/>
              </a:xfrm>
              <a:prstGeom prst="ellipse">
                <a:avLst/>
              </a:prstGeom>
              <a:solidFill>
                <a:srgbClr val="3D9CCB"/>
              </a:solidFill>
              <a:ln>
                <a:solidFill>
                  <a:srgbClr val="007D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21" name="CuadroTexto 20">
              <a:extLst>
                <a:ext uri="{FF2B5EF4-FFF2-40B4-BE49-F238E27FC236}">
                  <a16:creationId xmlns:a16="http://schemas.microsoft.com/office/drawing/2014/main" id="{9D51B97E-CC8B-40AD-821A-502342AA0BCE}"/>
                </a:ext>
              </a:extLst>
            </p:cNvPr>
            <p:cNvSpPr txBox="1"/>
            <p:nvPr/>
          </p:nvSpPr>
          <p:spPr>
            <a:xfrm>
              <a:off x="7380635" y="5144600"/>
              <a:ext cx="582211" cy="307777"/>
            </a:xfrm>
            <a:prstGeom prst="rect">
              <a:avLst/>
            </a:prstGeom>
            <a:noFill/>
          </p:spPr>
          <p:txBody>
            <a:bodyPr wrap="none" rtlCol="0">
              <a:spAutoFit/>
            </a:bodyPr>
            <a:lstStyle>
              <a:defPPr>
                <a:defRPr lang="pt-BR"/>
              </a:defPPr>
              <a:lvl1pPr>
                <a:defRPr sz="1600">
                  <a:solidFill>
                    <a:schemeClr val="accent1">
                      <a:lumMod val="50000"/>
                    </a:schemeClr>
                  </a:solidFill>
                </a:defRPr>
              </a:lvl1pPr>
            </a:lstStyle>
            <a:p>
              <a:r>
                <a:rPr lang="es-ES" sz="1400" b="1" dirty="0">
                  <a:solidFill>
                    <a:srgbClr val="007DBA"/>
                  </a:solidFill>
                  <a:latin typeface="Arial" panose="020B0604020202020204" pitchFamily="34" charset="0"/>
                  <a:cs typeface="Arial" panose="020B0604020202020204" pitchFamily="34" charset="0"/>
                </a:rPr>
                <a:t>2020</a:t>
              </a:r>
            </a:p>
          </p:txBody>
        </p:sp>
      </p:grpSp>
      <p:grpSp>
        <p:nvGrpSpPr>
          <p:cNvPr id="10" name="Agrupar 9">
            <a:extLst>
              <a:ext uri="{FF2B5EF4-FFF2-40B4-BE49-F238E27FC236}">
                <a16:creationId xmlns:a16="http://schemas.microsoft.com/office/drawing/2014/main" id="{6CC8C7B1-65D4-4809-8C38-51E1855D8EC4}"/>
              </a:ext>
            </a:extLst>
          </p:cNvPr>
          <p:cNvGrpSpPr/>
          <p:nvPr/>
        </p:nvGrpSpPr>
        <p:grpSpPr>
          <a:xfrm>
            <a:off x="8418660" y="1220181"/>
            <a:ext cx="582211" cy="751822"/>
            <a:chOff x="8243207" y="5144600"/>
            <a:chExt cx="582211" cy="751822"/>
          </a:xfrm>
        </p:grpSpPr>
        <p:grpSp>
          <p:nvGrpSpPr>
            <p:cNvPr id="17" name="Grupo 16">
              <a:extLst>
                <a:ext uri="{FF2B5EF4-FFF2-40B4-BE49-F238E27FC236}">
                  <a16:creationId xmlns:a16="http://schemas.microsoft.com/office/drawing/2014/main" id="{A4486B77-A6FC-4DAC-BE46-61E9B4BCEFA8}"/>
                </a:ext>
              </a:extLst>
            </p:cNvPr>
            <p:cNvGrpSpPr/>
            <p:nvPr/>
          </p:nvGrpSpPr>
          <p:grpSpPr>
            <a:xfrm>
              <a:off x="8415508" y="5680422"/>
              <a:ext cx="216000" cy="216000"/>
              <a:chOff x="7280822" y="3602598"/>
              <a:chExt cx="216000" cy="216000"/>
            </a:xfrm>
          </p:grpSpPr>
          <p:sp>
            <p:nvSpPr>
              <p:cNvPr id="18" name="Elipse 17">
                <a:extLst>
                  <a:ext uri="{FF2B5EF4-FFF2-40B4-BE49-F238E27FC236}">
                    <a16:creationId xmlns:a16="http://schemas.microsoft.com/office/drawing/2014/main" id="{24492BBF-7E00-49C3-9E81-8137785C36B3}"/>
                  </a:ext>
                </a:extLst>
              </p:cNvPr>
              <p:cNvSpPr/>
              <p:nvPr/>
            </p:nvSpPr>
            <p:spPr>
              <a:xfrm>
                <a:off x="7280822" y="3602598"/>
                <a:ext cx="216000" cy="216000"/>
              </a:xfrm>
              <a:prstGeom prst="ellipse">
                <a:avLst/>
              </a:prstGeom>
              <a:solidFill>
                <a:schemeClr val="bg1"/>
              </a:solidFill>
              <a:ln>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Elipse 18">
                <a:extLst>
                  <a:ext uri="{FF2B5EF4-FFF2-40B4-BE49-F238E27FC236}">
                    <a16:creationId xmlns:a16="http://schemas.microsoft.com/office/drawing/2014/main" id="{F35BAA77-23D1-4B4F-84E2-59F9CAB2F5F3}"/>
                  </a:ext>
                </a:extLst>
              </p:cNvPr>
              <p:cNvSpPr/>
              <p:nvPr/>
            </p:nvSpPr>
            <p:spPr>
              <a:xfrm>
                <a:off x="7315199" y="3636974"/>
                <a:ext cx="144000" cy="144000"/>
              </a:xfrm>
              <a:prstGeom prst="ellipse">
                <a:avLst/>
              </a:prstGeom>
              <a:solidFill>
                <a:srgbClr val="00A3E0"/>
              </a:solidFill>
              <a:ln>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22" name="CuadroTexto 21">
              <a:extLst>
                <a:ext uri="{FF2B5EF4-FFF2-40B4-BE49-F238E27FC236}">
                  <a16:creationId xmlns:a16="http://schemas.microsoft.com/office/drawing/2014/main" id="{FF804414-6D13-4957-814E-DADCD302F531}"/>
                </a:ext>
              </a:extLst>
            </p:cNvPr>
            <p:cNvSpPr txBox="1"/>
            <p:nvPr/>
          </p:nvSpPr>
          <p:spPr>
            <a:xfrm>
              <a:off x="8243207" y="5144600"/>
              <a:ext cx="582211" cy="307777"/>
            </a:xfrm>
            <a:prstGeom prst="rect">
              <a:avLst/>
            </a:prstGeom>
            <a:noFill/>
          </p:spPr>
          <p:txBody>
            <a:bodyPr wrap="none" rtlCol="0">
              <a:spAutoFit/>
            </a:bodyPr>
            <a:lstStyle/>
            <a:p>
              <a:r>
                <a:rPr lang="es-ES" sz="1400" b="1" dirty="0">
                  <a:solidFill>
                    <a:srgbClr val="00A3E0"/>
                  </a:solidFill>
                  <a:latin typeface="Arial" panose="020B0604020202020204" pitchFamily="34" charset="0"/>
                  <a:cs typeface="Arial" panose="020B0604020202020204" pitchFamily="34" charset="0"/>
                </a:rPr>
                <a:t>2021</a:t>
              </a:r>
            </a:p>
          </p:txBody>
        </p:sp>
      </p:grpSp>
      <p:sp>
        <p:nvSpPr>
          <p:cNvPr id="2" name="Rectángulo 1">
            <a:extLst>
              <a:ext uri="{FF2B5EF4-FFF2-40B4-BE49-F238E27FC236}">
                <a16:creationId xmlns:a16="http://schemas.microsoft.com/office/drawing/2014/main" id="{2730FA61-D6E0-417D-8730-5FD48BFD35D7}"/>
              </a:ext>
            </a:extLst>
          </p:cNvPr>
          <p:cNvSpPr/>
          <p:nvPr/>
        </p:nvSpPr>
        <p:spPr>
          <a:xfrm>
            <a:off x="6599093" y="3306503"/>
            <a:ext cx="5126870" cy="523220"/>
          </a:xfrm>
          <a:prstGeom prst="rect">
            <a:avLst/>
          </a:prstGeom>
        </p:spPr>
        <p:txBody>
          <a:bodyPr wrap="square">
            <a:spAutoFit/>
          </a:bodyPr>
          <a:lstStyle/>
          <a:p>
            <a:r>
              <a:rPr lang="pt-BR" sz="1400" dirty="0">
                <a:solidFill>
                  <a:srgbClr val="00A3E0"/>
                </a:solidFill>
                <a:latin typeface="Arial" panose="020B0604020202020204" pitchFamily="34" charset="0"/>
                <a:cs typeface="Arial" panose="020B0604020202020204" pitchFamily="34" charset="0"/>
              </a:rPr>
              <a:t>+ </a:t>
            </a:r>
            <a:r>
              <a:rPr lang="pt-BR" sz="1400" b="1" dirty="0">
                <a:solidFill>
                  <a:srgbClr val="00A3E0"/>
                </a:solidFill>
                <a:latin typeface="Arial" panose="020B0604020202020204" pitchFamily="34" charset="0"/>
                <a:cs typeface="Arial" panose="020B0604020202020204" pitchFamily="34" charset="0"/>
              </a:rPr>
              <a:t>80</a:t>
            </a:r>
            <a:r>
              <a:rPr lang="pt-BR" sz="1400" dirty="0">
                <a:solidFill>
                  <a:srgbClr val="00A3E0"/>
                </a:solidFill>
                <a:latin typeface="Arial" panose="020B0604020202020204" pitchFamily="34" charset="0"/>
                <a:cs typeface="Arial" panose="020B0604020202020204" pitchFamily="34" charset="0"/>
              </a:rPr>
              <a:t> processos – 1 Processo em outros países (RH) +  </a:t>
            </a:r>
            <a:r>
              <a:rPr lang="pt-BR" sz="1400" dirty="0" err="1">
                <a:solidFill>
                  <a:srgbClr val="00A3E0"/>
                </a:solidFill>
                <a:latin typeface="Arial" panose="020B0604020202020204" pitchFamily="34" charset="0"/>
                <a:cs typeface="Arial" panose="020B0604020202020204" pitchFamily="34" charset="0"/>
              </a:rPr>
              <a:t>End</a:t>
            </a:r>
            <a:r>
              <a:rPr lang="pt-BR" sz="1400" dirty="0">
                <a:solidFill>
                  <a:srgbClr val="00A3E0"/>
                </a:solidFill>
                <a:latin typeface="Arial" panose="020B0604020202020204" pitchFamily="34" charset="0"/>
                <a:cs typeface="Arial" panose="020B0604020202020204" pitchFamily="34" charset="0"/>
              </a:rPr>
              <a:t> to </a:t>
            </a:r>
            <a:r>
              <a:rPr lang="pt-BR" sz="1400" dirty="0" err="1">
                <a:solidFill>
                  <a:srgbClr val="00A3E0"/>
                </a:solidFill>
                <a:latin typeface="Arial" panose="020B0604020202020204" pitchFamily="34" charset="0"/>
                <a:cs typeface="Arial" panose="020B0604020202020204" pitchFamily="34" charset="0"/>
              </a:rPr>
              <a:t>End</a:t>
            </a:r>
            <a:r>
              <a:rPr lang="pt-BR" sz="1400" dirty="0">
                <a:solidFill>
                  <a:srgbClr val="00A3E0"/>
                </a:solidFill>
                <a:latin typeface="Arial" panose="020B0604020202020204" pitchFamily="34" charset="0"/>
                <a:cs typeface="Arial" panose="020B0604020202020204" pitchFamily="34" charset="0"/>
              </a:rPr>
              <a:t> Global + IPT BR</a:t>
            </a:r>
            <a:endParaRPr lang="pt-BR" dirty="0">
              <a:solidFill>
                <a:srgbClr val="00A3E0"/>
              </a:solidFill>
              <a:latin typeface="Arial" panose="020B0604020202020204" pitchFamily="34" charset="0"/>
              <a:cs typeface="Arial" panose="020B0604020202020204" pitchFamily="34" charset="0"/>
            </a:endParaRPr>
          </a:p>
        </p:txBody>
      </p:sp>
      <p:sp>
        <p:nvSpPr>
          <p:cNvPr id="32" name="Título 3">
            <a:extLst>
              <a:ext uri="{FF2B5EF4-FFF2-40B4-BE49-F238E27FC236}">
                <a16:creationId xmlns:a16="http://schemas.microsoft.com/office/drawing/2014/main" id="{27BE92D7-E7A8-4D01-A609-6D02EBF89D27}"/>
              </a:ext>
            </a:extLst>
          </p:cNvPr>
          <p:cNvSpPr txBox="1">
            <a:spLocks/>
          </p:cNvSpPr>
          <p:nvPr/>
        </p:nvSpPr>
        <p:spPr>
          <a:xfrm>
            <a:off x="6570002" y="618238"/>
            <a:ext cx="4309033" cy="89981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800" b="1" dirty="0">
                <a:solidFill>
                  <a:srgbClr val="00B2BA"/>
                </a:solidFill>
                <a:latin typeface="Omnes" panose="02000506040000020004" pitchFamily="2" charset="0"/>
                <a:ea typeface="+mn-ea"/>
                <a:cs typeface="+mn-cs"/>
              </a:rPr>
              <a:t>Histórico SIGA (BPMS)</a:t>
            </a:r>
            <a:endParaRPr lang="pt-BR" sz="2800" b="1" dirty="0">
              <a:solidFill>
                <a:srgbClr val="00B2BA"/>
              </a:solidFill>
              <a:latin typeface="Omnes SemiBold" panose="02000000000000000000" pitchFamily="50" charset="0"/>
              <a:ea typeface="+mn-ea"/>
              <a:cs typeface="+mn-cs"/>
            </a:endParaRPr>
          </a:p>
        </p:txBody>
      </p:sp>
      <p:sp>
        <p:nvSpPr>
          <p:cNvPr id="23" name="Rectángulo 1">
            <a:extLst>
              <a:ext uri="{FF2B5EF4-FFF2-40B4-BE49-F238E27FC236}">
                <a16:creationId xmlns:a16="http://schemas.microsoft.com/office/drawing/2014/main" id="{6E5FFACD-CC77-DA7B-F941-2AA0B59F40D9}"/>
              </a:ext>
            </a:extLst>
          </p:cNvPr>
          <p:cNvSpPr/>
          <p:nvPr/>
        </p:nvSpPr>
        <p:spPr>
          <a:xfrm>
            <a:off x="6599093" y="2214355"/>
            <a:ext cx="5126870" cy="523220"/>
          </a:xfrm>
          <a:prstGeom prst="rect">
            <a:avLst/>
          </a:prstGeom>
        </p:spPr>
        <p:txBody>
          <a:bodyPr wrap="square">
            <a:spAutoFit/>
          </a:bodyPr>
          <a:lstStyle/>
          <a:p>
            <a:r>
              <a:rPr lang="pt-BR" sz="1400" dirty="0">
                <a:solidFill>
                  <a:srgbClr val="01426A"/>
                </a:solidFill>
                <a:latin typeface="Arial" panose="020B0604020202020204" pitchFamily="34" charset="0"/>
                <a:cs typeface="Arial" panose="020B0604020202020204" pitchFamily="34" charset="0"/>
              </a:rPr>
              <a:t>Compra da ferramenta, mapeamento dos primeiros 4 processos, capacitação equipe interna</a:t>
            </a:r>
            <a:endParaRPr lang="pt-BR" sz="1600" dirty="0">
              <a:solidFill>
                <a:srgbClr val="01426A"/>
              </a:solidFill>
              <a:latin typeface="Arial" panose="020B0604020202020204" pitchFamily="34" charset="0"/>
              <a:cs typeface="Arial" panose="020B0604020202020204" pitchFamily="34" charset="0"/>
            </a:endParaRPr>
          </a:p>
        </p:txBody>
      </p:sp>
      <p:sp>
        <p:nvSpPr>
          <p:cNvPr id="24" name="Rectángulo 1">
            <a:extLst>
              <a:ext uri="{FF2B5EF4-FFF2-40B4-BE49-F238E27FC236}">
                <a16:creationId xmlns:a16="http://schemas.microsoft.com/office/drawing/2014/main" id="{EF347192-A471-74D1-BB54-9010B8F39BDF}"/>
              </a:ext>
            </a:extLst>
          </p:cNvPr>
          <p:cNvSpPr/>
          <p:nvPr/>
        </p:nvSpPr>
        <p:spPr>
          <a:xfrm>
            <a:off x="6599093" y="2854900"/>
            <a:ext cx="5126870" cy="307777"/>
          </a:xfrm>
          <a:prstGeom prst="rect">
            <a:avLst/>
          </a:prstGeom>
        </p:spPr>
        <p:txBody>
          <a:bodyPr wrap="square">
            <a:spAutoFit/>
          </a:bodyPr>
          <a:lstStyle/>
          <a:p>
            <a:r>
              <a:rPr lang="pt-BR" sz="1400" dirty="0">
                <a:solidFill>
                  <a:srgbClr val="007DBA"/>
                </a:solidFill>
                <a:latin typeface="Arial" panose="020B0604020202020204" pitchFamily="34" charset="0"/>
                <a:cs typeface="Arial" panose="020B0604020202020204" pitchFamily="34" charset="0"/>
              </a:rPr>
              <a:t>+ </a:t>
            </a:r>
            <a:r>
              <a:rPr lang="pt-BR" sz="1400" b="1" dirty="0">
                <a:solidFill>
                  <a:srgbClr val="007DBA"/>
                </a:solidFill>
                <a:latin typeface="Arial" panose="020B0604020202020204" pitchFamily="34" charset="0"/>
                <a:cs typeface="Arial" panose="020B0604020202020204" pitchFamily="34" charset="0"/>
              </a:rPr>
              <a:t>13</a:t>
            </a:r>
            <a:r>
              <a:rPr lang="pt-BR" sz="1400" dirty="0">
                <a:solidFill>
                  <a:srgbClr val="007DBA"/>
                </a:solidFill>
                <a:latin typeface="Arial" panose="020B0604020202020204" pitchFamily="34" charset="0"/>
                <a:cs typeface="Arial" panose="020B0604020202020204" pitchFamily="34" charset="0"/>
              </a:rPr>
              <a:t> processos (Saída e retorno de HO) e 45 áreas envolvidas</a:t>
            </a:r>
          </a:p>
        </p:txBody>
      </p:sp>
      <p:grpSp>
        <p:nvGrpSpPr>
          <p:cNvPr id="39" name="Agrupar 38">
            <a:extLst>
              <a:ext uri="{FF2B5EF4-FFF2-40B4-BE49-F238E27FC236}">
                <a16:creationId xmlns:a16="http://schemas.microsoft.com/office/drawing/2014/main" id="{3474D982-BF68-4958-B3FF-63E66CB154B9}"/>
              </a:ext>
            </a:extLst>
          </p:cNvPr>
          <p:cNvGrpSpPr/>
          <p:nvPr/>
        </p:nvGrpSpPr>
        <p:grpSpPr>
          <a:xfrm>
            <a:off x="9275588" y="1220181"/>
            <a:ext cx="582211" cy="758450"/>
            <a:chOff x="9105779" y="5144600"/>
            <a:chExt cx="582211" cy="758450"/>
          </a:xfrm>
        </p:grpSpPr>
        <p:grpSp>
          <p:nvGrpSpPr>
            <p:cNvPr id="25" name="Grupo 16">
              <a:extLst>
                <a:ext uri="{FF2B5EF4-FFF2-40B4-BE49-F238E27FC236}">
                  <a16:creationId xmlns:a16="http://schemas.microsoft.com/office/drawing/2014/main" id="{D1EB497C-B5FA-47D7-8FF1-D8EC6A6DD7BD}"/>
                </a:ext>
              </a:extLst>
            </p:cNvPr>
            <p:cNvGrpSpPr/>
            <p:nvPr/>
          </p:nvGrpSpPr>
          <p:grpSpPr>
            <a:xfrm>
              <a:off x="9300169" y="5687050"/>
              <a:ext cx="216000" cy="216000"/>
              <a:chOff x="7280822" y="3602598"/>
              <a:chExt cx="216000" cy="216000"/>
            </a:xfrm>
          </p:grpSpPr>
          <p:sp>
            <p:nvSpPr>
              <p:cNvPr id="26" name="Elipse 25">
                <a:extLst>
                  <a:ext uri="{FF2B5EF4-FFF2-40B4-BE49-F238E27FC236}">
                    <a16:creationId xmlns:a16="http://schemas.microsoft.com/office/drawing/2014/main" id="{E15AD7FA-12C4-4FF0-A7E3-3E12393F7CD6}"/>
                  </a:ext>
                </a:extLst>
              </p:cNvPr>
              <p:cNvSpPr/>
              <p:nvPr/>
            </p:nvSpPr>
            <p:spPr>
              <a:xfrm>
                <a:off x="7280822" y="3602598"/>
                <a:ext cx="216000" cy="216000"/>
              </a:xfrm>
              <a:prstGeom prst="ellipse">
                <a:avLst/>
              </a:prstGeom>
              <a:solidFill>
                <a:schemeClr val="bg1"/>
              </a:solidFill>
              <a:ln>
                <a:solidFill>
                  <a:srgbClr val="1CAC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0C6EA8"/>
                  </a:solidFill>
                  <a:highlight>
                    <a:srgbClr val="0C6EA8"/>
                  </a:highlight>
                </a:endParaRPr>
              </a:p>
            </p:txBody>
          </p:sp>
          <p:sp>
            <p:nvSpPr>
              <p:cNvPr id="27" name="Elipse 26">
                <a:extLst>
                  <a:ext uri="{FF2B5EF4-FFF2-40B4-BE49-F238E27FC236}">
                    <a16:creationId xmlns:a16="http://schemas.microsoft.com/office/drawing/2014/main" id="{525008DA-F178-4BC5-8D2A-DD674811BBB1}"/>
                  </a:ext>
                </a:extLst>
              </p:cNvPr>
              <p:cNvSpPr/>
              <p:nvPr/>
            </p:nvSpPr>
            <p:spPr>
              <a:xfrm>
                <a:off x="7315199" y="3636974"/>
                <a:ext cx="144000" cy="144000"/>
              </a:xfrm>
              <a:prstGeom prst="ellipse">
                <a:avLst/>
              </a:prstGeom>
              <a:solidFill>
                <a:srgbClr val="00B2A9"/>
              </a:solidFill>
              <a:ln>
                <a:solidFill>
                  <a:srgbClr val="1CAC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0C6EA8"/>
                  </a:solidFill>
                  <a:highlight>
                    <a:srgbClr val="0C6EA8"/>
                  </a:highlight>
                </a:endParaRPr>
              </a:p>
            </p:txBody>
          </p:sp>
        </p:grpSp>
        <p:sp>
          <p:nvSpPr>
            <p:cNvPr id="28" name="CuadroTexto 21">
              <a:extLst>
                <a:ext uri="{FF2B5EF4-FFF2-40B4-BE49-F238E27FC236}">
                  <a16:creationId xmlns:a16="http://schemas.microsoft.com/office/drawing/2014/main" id="{BF4D525A-2EE5-404E-8EAB-DA7F69AB87EF}"/>
                </a:ext>
              </a:extLst>
            </p:cNvPr>
            <p:cNvSpPr txBox="1"/>
            <p:nvPr/>
          </p:nvSpPr>
          <p:spPr>
            <a:xfrm>
              <a:off x="9105779" y="5144600"/>
              <a:ext cx="582211" cy="307777"/>
            </a:xfrm>
            <a:prstGeom prst="rect">
              <a:avLst/>
            </a:prstGeom>
            <a:noFill/>
          </p:spPr>
          <p:txBody>
            <a:bodyPr wrap="none" rtlCol="0">
              <a:spAutoFit/>
            </a:bodyPr>
            <a:lstStyle/>
            <a:p>
              <a:r>
                <a:rPr lang="es-ES" sz="1400" b="1" dirty="0">
                  <a:solidFill>
                    <a:srgbClr val="00B2A9"/>
                  </a:solidFill>
                  <a:latin typeface="Arial" panose="020B0604020202020204" pitchFamily="34" charset="0"/>
                  <a:cs typeface="Arial" panose="020B0604020202020204" pitchFamily="34" charset="0"/>
                </a:rPr>
                <a:t>2022</a:t>
              </a:r>
            </a:p>
          </p:txBody>
        </p:sp>
      </p:grpSp>
      <p:sp>
        <p:nvSpPr>
          <p:cNvPr id="29" name="Rectángulo 1">
            <a:extLst>
              <a:ext uri="{FF2B5EF4-FFF2-40B4-BE49-F238E27FC236}">
                <a16:creationId xmlns:a16="http://schemas.microsoft.com/office/drawing/2014/main" id="{4C4AAFC8-4049-425E-92B8-2BE83345011D}"/>
              </a:ext>
            </a:extLst>
          </p:cNvPr>
          <p:cNvSpPr/>
          <p:nvPr/>
        </p:nvSpPr>
        <p:spPr>
          <a:xfrm>
            <a:off x="6599093" y="3894036"/>
            <a:ext cx="5126870" cy="523220"/>
          </a:xfrm>
          <a:prstGeom prst="rect">
            <a:avLst/>
          </a:prstGeom>
        </p:spPr>
        <p:txBody>
          <a:bodyPr wrap="square">
            <a:spAutoFit/>
          </a:bodyPr>
          <a:lstStyle/>
          <a:p>
            <a:r>
              <a:rPr lang="pt-BR" sz="1400" dirty="0">
                <a:solidFill>
                  <a:srgbClr val="00B2A9"/>
                </a:solidFill>
                <a:latin typeface="Arial" panose="020B0604020202020204" pitchFamily="34" charset="0"/>
                <a:cs typeface="Arial" panose="020B0604020202020204" pitchFamily="34" charset="0"/>
              </a:rPr>
              <a:t>+ </a:t>
            </a:r>
            <a:r>
              <a:rPr lang="pt-BR" sz="1400" b="1" dirty="0">
                <a:solidFill>
                  <a:srgbClr val="00B2A9"/>
                </a:solidFill>
                <a:latin typeface="Arial" panose="020B0604020202020204" pitchFamily="34" charset="0"/>
                <a:cs typeface="Arial" panose="020B0604020202020204" pitchFamily="34" charset="0"/>
              </a:rPr>
              <a:t>193</a:t>
            </a:r>
            <a:r>
              <a:rPr lang="pt-BR" sz="1400" dirty="0">
                <a:solidFill>
                  <a:srgbClr val="00B2A9"/>
                </a:solidFill>
                <a:latin typeface="Arial" panose="020B0604020202020204" pitchFamily="34" charset="0"/>
                <a:cs typeface="Arial" panose="020B0604020202020204" pitchFamily="34" charset="0"/>
              </a:rPr>
              <a:t> processos – Substituição dos Service Desk não TI, auditorias de clientes e não conformidades</a:t>
            </a:r>
            <a:endParaRPr lang="pt-BR" dirty="0">
              <a:solidFill>
                <a:srgbClr val="00B2A9"/>
              </a:solidFill>
              <a:latin typeface="Arial" panose="020B0604020202020204" pitchFamily="34" charset="0"/>
              <a:cs typeface="Arial" panose="020B0604020202020204" pitchFamily="34" charset="0"/>
            </a:endParaRPr>
          </a:p>
        </p:txBody>
      </p:sp>
      <p:sp>
        <p:nvSpPr>
          <p:cNvPr id="35" name="Rectángulo 1">
            <a:extLst>
              <a:ext uri="{FF2B5EF4-FFF2-40B4-BE49-F238E27FC236}">
                <a16:creationId xmlns:a16="http://schemas.microsoft.com/office/drawing/2014/main" id="{AB960B9D-6683-4B15-8690-262900D32A7F}"/>
              </a:ext>
            </a:extLst>
          </p:cNvPr>
          <p:cNvSpPr/>
          <p:nvPr/>
        </p:nvSpPr>
        <p:spPr>
          <a:xfrm>
            <a:off x="6599093" y="4547834"/>
            <a:ext cx="5126870" cy="954107"/>
          </a:xfrm>
          <a:prstGeom prst="rect">
            <a:avLst/>
          </a:prstGeom>
        </p:spPr>
        <p:txBody>
          <a:bodyPr wrap="square">
            <a:spAutoFit/>
          </a:bodyPr>
          <a:lstStyle/>
          <a:p>
            <a:r>
              <a:rPr lang="pt-BR" sz="1400" dirty="0">
                <a:solidFill>
                  <a:srgbClr val="FF7950"/>
                </a:solidFill>
                <a:latin typeface="Arial" panose="020B0604020202020204" pitchFamily="34" charset="0"/>
                <a:cs typeface="Arial" panose="020B0604020202020204" pitchFamily="34" charset="0"/>
              </a:rPr>
              <a:t>+ </a:t>
            </a:r>
            <a:r>
              <a:rPr lang="pt-BR" sz="1400" b="1" dirty="0">
                <a:solidFill>
                  <a:srgbClr val="FF7950"/>
                </a:solidFill>
                <a:latin typeface="Arial" panose="020B0604020202020204" pitchFamily="34" charset="0"/>
                <a:cs typeface="Arial" panose="020B0604020202020204" pitchFamily="34" charset="0"/>
              </a:rPr>
              <a:t>93</a:t>
            </a:r>
            <a:r>
              <a:rPr lang="pt-BR" sz="1400" dirty="0">
                <a:solidFill>
                  <a:srgbClr val="FF7950"/>
                </a:solidFill>
                <a:latin typeface="Arial" panose="020B0604020202020204" pitchFamily="34" charset="0"/>
                <a:cs typeface="Arial" panose="020B0604020202020204" pitchFamily="34" charset="0"/>
              </a:rPr>
              <a:t> (total 383) processos – Substituição dos sistemas Controle de projetos e </a:t>
            </a:r>
            <a:r>
              <a:rPr lang="pt-BR" sz="1400" b="1" dirty="0">
                <a:solidFill>
                  <a:srgbClr val="FF7950"/>
                </a:solidFill>
                <a:latin typeface="Arial" panose="020B0604020202020204" pitchFamily="34" charset="0"/>
                <a:cs typeface="Arial" panose="020B0604020202020204" pitchFamily="34" charset="0"/>
              </a:rPr>
              <a:t>Controle de laudos</a:t>
            </a:r>
            <a:r>
              <a:rPr lang="pt-BR" sz="1400" dirty="0">
                <a:solidFill>
                  <a:srgbClr val="FF7950"/>
                </a:solidFill>
                <a:latin typeface="Arial" panose="020B0604020202020204" pitchFamily="34" charset="0"/>
                <a:cs typeface="Arial" panose="020B0604020202020204" pitchFamily="34" charset="0"/>
              </a:rPr>
              <a:t>, não conformidades para MEX, 4 processos para Filipinas e 3 RH USNS.  9.300 usuários em 14 países</a:t>
            </a:r>
            <a:endParaRPr lang="pt-BR" dirty="0">
              <a:solidFill>
                <a:srgbClr val="FF7950"/>
              </a:solidFill>
              <a:latin typeface="Arial" panose="020B0604020202020204" pitchFamily="34" charset="0"/>
              <a:cs typeface="Arial" panose="020B0604020202020204" pitchFamily="34" charset="0"/>
            </a:endParaRPr>
          </a:p>
        </p:txBody>
      </p:sp>
      <p:grpSp>
        <p:nvGrpSpPr>
          <p:cNvPr id="40" name="Agrupar 39">
            <a:extLst>
              <a:ext uri="{FF2B5EF4-FFF2-40B4-BE49-F238E27FC236}">
                <a16:creationId xmlns:a16="http://schemas.microsoft.com/office/drawing/2014/main" id="{848C9E76-9961-44EA-985D-033686506E3C}"/>
              </a:ext>
            </a:extLst>
          </p:cNvPr>
          <p:cNvGrpSpPr/>
          <p:nvPr/>
        </p:nvGrpSpPr>
        <p:grpSpPr>
          <a:xfrm>
            <a:off x="10132516" y="1220181"/>
            <a:ext cx="582211" cy="771702"/>
            <a:chOff x="9968350" y="5144600"/>
            <a:chExt cx="582211" cy="771702"/>
          </a:xfrm>
        </p:grpSpPr>
        <p:sp>
          <p:nvSpPr>
            <p:cNvPr id="34" name="CuadroTexto 21">
              <a:extLst>
                <a:ext uri="{FF2B5EF4-FFF2-40B4-BE49-F238E27FC236}">
                  <a16:creationId xmlns:a16="http://schemas.microsoft.com/office/drawing/2014/main" id="{C4814443-E6B0-4073-9940-058A120A5FFA}"/>
                </a:ext>
              </a:extLst>
            </p:cNvPr>
            <p:cNvSpPr txBox="1"/>
            <p:nvPr/>
          </p:nvSpPr>
          <p:spPr>
            <a:xfrm>
              <a:off x="9968350" y="5144600"/>
              <a:ext cx="582211" cy="307777"/>
            </a:xfrm>
            <a:prstGeom prst="rect">
              <a:avLst/>
            </a:prstGeom>
            <a:noFill/>
          </p:spPr>
          <p:txBody>
            <a:bodyPr wrap="none" rtlCol="0">
              <a:spAutoFit/>
            </a:bodyPr>
            <a:lstStyle/>
            <a:p>
              <a:r>
                <a:rPr lang="es-ES" sz="1400" b="1" dirty="0">
                  <a:solidFill>
                    <a:srgbClr val="FF7950"/>
                  </a:solidFill>
                  <a:latin typeface="Arial" panose="020B0604020202020204" pitchFamily="34" charset="0"/>
                  <a:cs typeface="Arial" panose="020B0604020202020204" pitchFamily="34" charset="0"/>
                </a:rPr>
                <a:t>2023</a:t>
              </a:r>
            </a:p>
          </p:txBody>
        </p:sp>
        <p:grpSp>
          <p:nvGrpSpPr>
            <p:cNvPr id="36" name="Grupo 16">
              <a:extLst>
                <a:ext uri="{FF2B5EF4-FFF2-40B4-BE49-F238E27FC236}">
                  <a16:creationId xmlns:a16="http://schemas.microsoft.com/office/drawing/2014/main" id="{9D932661-E4D2-42F0-B41F-F6EC1A2183AA}"/>
                </a:ext>
              </a:extLst>
            </p:cNvPr>
            <p:cNvGrpSpPr/>
            <p:nvPr/>
          </p:nvGrpSpPr>
          <p:grpSpPr>
            <a:xfrm>
              <a:off x="10129561" y="5700302"/>
              <a:ext cx="216000" cy="216000"/>
              <a:chOff x="7280822" y="3602598"/>
              <a:chExt cx="216000" cy="216000"/>
            </a:xfrm>
          </p:grpSpPr>
          <p:sp>
            <p:nvSpPr>
              <p:cNvPr id="37" name="Elipse 36">
                <a:extLst>
                  <a:ext uri="{FF2B5EF4-FFF2-40B4-BE49-F238E27FC236}">
                    <a16:creationId xmlns:a16="http://schemas.microsoft.com/office/drawing/2014/main" id="{CFD0D588-6563-417E-9F70-D5824BAFBBC2}"/>
                  </a:ext>
                </a:extLst>
              </p:cNvPr>
              <p:cNvSpPr/>
              <p:nvPr/>
            </p:nvSpPr>
            <p:spPr>
              <a:xfrm>
                <a:off x="7280822" y="3602598"/>
                <a:ext cx="216000" cy="216000"/>
              </a:xfrm>
              <a:prstGeom prst="ellipse">
                <a:avLst/>
              </a:prstGeom>
              <a:solidFill>
                <a:schemeClr val="bg1"/>
              </a:solidFill>
              <a:ln>
                <a:solidFill>
                  <a:srgbClr val="FF8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Elipse 37">
                <a:extLst>
                  <a:ext uri="{FF2B5EF4-FFF2-40B4-BE49-F238E27FC236}">
                    <a16:creationId xmlns:a16="http://schemas.microsoft.com/office/drawing/2014/main" id="{4136A911-B5C0-4DA0-AF66-8F96672858D2}"/>
                  </a:ext>
                </a:extLst>
              </p:cNvPr>
              <p:cNvSpPr/>
              <p:nvPr/>
            </p:nvSpPr>
            <p:spPr>
              <a:xfrm>
                <a:off x="7315199" y="3636974"/>
                <a:ext cx="144000" cy="144000"/>
              </a:xfrm>
              <a:prstGeom prst="ellipse">
                <a:avLst/>
              </a:prstGeom>
              <a:solidFill>
                <a:srgbClr val="FF8300"/>
              </a:solidFill>
              <a:ln>
                <a:solidFill>
                  <a:srgbClr val="FF8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grpSp>
      <p:sp>
        <p:nvSpPr>
          <p:cNvPr id="3" name="Rectángulo 1">
            <a:extLst>
              <a:ext uri="{FF2B5EF4-FFF2-40B4-BE49-F238E27FC236}">
                <a16:creationId xmlns:a16="http://schemas.microsoft.com/office/drawing/2014/main" id="{84F754E9-8EC3-7534-C880-ECF3C3C70426}"/>
              </a:ext>
            </a:extLst>
          </p:cNvPr>
          <p:cNvSpPr/>
          <p:nvPr/>
        </p:nvSpPr>
        <p:spPr>
          <a:xfrm>
            <a:off x="6599093" y="5649860"/>
            <a:ext cx="5126870" cy="307777"/>
          </a:xfrm>
          <a:prstGeom prst="rect">
            <a:avLst/>
          </a:prstGeom>
        </p:spPr>
        <p:txBody>
          <a:bodyPr wrap="square">
            <a:spAutoFit/>
          </a:bodyPr>
          <a:lstStyle/>
          <a:p>
            <a:r>
              <a:rPr lang="pt-BR" sz="1400" dirty="0">
                <a:solidFill>
                  <a:schemeClr val="bg1">
                    <a:lumMod val="50000"/>
                  </a:schemeClr>
                </a:solidFill>
                <a:latin typeface="Arial" panose="020B0604020202020204" pitchFamily="34" charset="0"/>
                <a:cs typeface="Arial" panose="020B0604020202020204" pitchFamily="34" charset="0"/>
              </a:rPr>
              <a:t>+ </a:t>
            </a:r>
            <a:r>
              <a:rPr lang="pt-BR" sz="1400" b="1" dirty="0">
                <a:solidFill>
                  <a:schemeClr val="bg1">
                    <a:lumMod val="50000"/>
                  </a:schemeClr>
                </a:solidFill>
                <a:latin typeface="Arial" panose="020B0604020202020204" pitchFamily="34" charset="0"/>
                <a:cs typeface="Arial" panose="020B0604020202020204" pitchFamily="34" charset="0"/>
              </a:rPr>
              <a:t>24</a:t>
            </a:r>
            <a:r>
              <a:rPr lang="pt-BR" sz="1400" dirty="0">
                <a:solidFill>
                  <a:schemeClr val="bg1">
                    <a:lumMod val="50000"/>
                  </a:schemeClr>
                </a:solidFill>
                <a:latin typeface="Arial" panose="020B0604020202020204" pitchFamily="34" charset="0"/>
                <a:cs typeface="Arial" panose="020B0604020202020204" pitchFamily="34" charset="0"/>
              </a:rPr>
              <a:t> Novos = 407 – RH, Planejamento, MIS e outros.</a:t>
            </a:r>
            <a:endParaRPr lang="pt-BR" dirty="0">
              <a:solidFill>
                <a:schemeClr val="bg1">
                  <a:lumMod val="50000"/>
                </a:schemeClr>
              </a:solidFill>
              <a:latin typeface="Arial" panose="020B0604020202020204" pitchFamily="34" charset="0"/>
              <a:cs typeface="Arial" panose="020B0604020202020204" pitchFamily="34" charset="0"/>
            </a:endParaRPr>
          </a:p>
        </p:txBody>
      </p:sp>
      <p:grpSp>
        <p:nvGrpSpPr>
          <p:cNvPr id="4" name="Agrupar 3">
            <a:extLst>
              <a:ext uri="{FF2B5EF4-FFF2-40B4-BE49-F238E27FC236}">
                <a16:creationId xmlns:a16="http://schemas.microsoft.com/office/drawing/2014/main" id="{5388C8DB-F44E-B3C0-C5FE-81626BEDEA17}"/>
              </a:ext>
            </a:extLst>
          </p:cNvPr>
          <p:cNvGrpSpPr/>
          <p:nvPr/>
        </p:nvGrpSpPr>
        <p:grpSpPr>
          <a:xfrm>
            <a:off x="10950893" y="1220181"/>
            <a:ext cx="582211" cy="771702"/>
            <a:chOff x="9968350" y="5144600"/>
            <a:chExt cx="582211" cy="771702"/>
          </a:xfrm>
        </p:grpSpPr>
        <p:sp>
          <p:nvSpPr>
            <p:cNvPr id="5" name="CuadroTexto 21">
              <a:extLst>
                <a:ext uri="{FF2B5EF4-FFF2-40B4-BE49-F238E27FC236}">
                  <a16:creationId xmlns:a16="http://schemas.microsoft.com/office/drawing/2014/main" id="{90E8ABB4-2A58-1342-5116-C2674C80B677}"/>
                </a:ext>
              </a:extLst>
            </p:cNvPr>
            <p:cNvSpPr txBox="1"/>
            <p:nvPr/>
          </p:nvSpPr>
          <p:spPr>
            <a:xfrm>
              <a:off x="9968350" y="5144600"/>
              <a:ext cx="582211" cy="307777"/>
            </a:xfrm>
            <a:prstGeom prst="rect">
              <a:avLst/>
            </a:prstGeom>
            <a:noFill/>
          </p:spPr>
          <p:txBody>
            <a:bodyPr wrap="none" rtlCol="0">
              <a:spAutoFit/>
            </a:bodyPr>
            <a:lstStyle/>
            <a:p>
              <a:r>
                <a:rPr lang="es-ES" sz="1400" b="1" dirty="0">
                  <a:solidFill>
                    <a:srgbClr val="9D9D9D"/>
                  </a:solidFill>
                  <a:latin typeface="Arial" panose="020B0604020202020204" pitchFamily="34" charset="0"/>
                  <a:cs typeface="Arial" panose="020B0604020202020204" pitchFamily="34" charset="0"/>
                </a:rPr>
                <a:t>2024</a:t>
              </a:r>
            </a:p>
          </p:txBody>
        </p:sp>
        <p:grpSp>
          <p:nvGrpSpPr>
            <p:cNvPr id="8" name="Grupo 16">
              <a:extLst>
                <a:ext uri="{FF2B5EF4-FFF2-40B4-BE49-F238E27FC236}">
                  <a16:creationId xmlns:a16="http://schemas.microsoft.com/office/drawing/2014/main" id="{BA868E9C-9174-5F4D-0F4D-EEF7ED589587}"/>
                </a:ext>
              </a:extLst>
            </p:cNvPr>
            <p:cNvGrpSpPr/>
            <p:nvPr/>
          </p:nvGrpSpPr>
          <p:grpSpPr>
            <a:xfrm>
              <a:off x="10129561" y="5700302"/>
              <a:ext cx="216000" cy="216000"/>
              <a:chOff x="7280822" y="3602598"/>
              <a:chExt cx="216000" cy="216000"/>
            </a:xfrm>
          </p:grpSpPr>
          <p:sp>
            <p:nvSpPr>
              <p:cNvPr id="30" name="Elipse 29">
                <a:extLst>
                  <a:ext uri="{FF2B5EF4-FFF2-40B4-BE49-F238E27FC236}">
                    <a16:creationId xmlns:a16="http://schemas.microsoft.com/office/drawing/2014/main" id="{73C02353-8C0A-F950-4E82-41DE7608E44E}"/>
                  </a:ext>
                </a:extLst>
              </p:cNvPr>
              <p:cNvSpPr/>
              <p:nvPr/>
            </p:nvSpPr>
            <p:spPr>
              <a:xfrm>
                <a:off x="7280822" y="3602598"/>
                <a:ext cx="216000" cy="216000"/>
              </a:xfrm>
              <a:prstGeom prst="ellipse">
                <a:avLst/>
              </a:prstGeom>
              <a:solidFill>
                <a:schemeClr val="bg1"/>
              </a:solidFill>
              <a:ln>
                <a:solidFill>
                  <a:srgbClr val="9D9D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9D9D9D"/>
                  </a:solidFill>
                </a:endParaRPr>
              </a:p>
            </p:txBody>
          </p:sp>
          <p:sp>
            <p:nvSpPr>
              <p:cNvPr id="31" name="Elipse 30">
                <a:extLst>
                  <a:ext uri="{FF2B5EF4-FFF2-40B4-BE49-F238E27FC236}">
                    <a16:creationId xmlns:a16="http://schemas.microsoft.com/office/drawing/2014/main" id="{07A7600C-D65B-C47B-E3E3-71DEDD4F829D}"/>
                  </a:ext>
                </a:extLst>
              </p:cNvPr>
              <p:cNvSpPr/>
              <p:nvPr/>
            </p:nvSpPr>
            <p:spPr>
              <a:xfrm>
                <a:off x="7315199" y="3636974"/>
                <a:ext cx="144000" cy="144000"/>
              </a:xfrm>
              <a:prstGeom prst="ellipse">
                <a:avLst/>
              </a:prstGeom>
              <a:solidFill>
                <a:srgbClr val="9D9D9D"/>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rgbClr val="9D9D9D"/>
                  </a:solidFill>
                </a:endParaRPr>
              </a:p>
            </p:txBody>
          </p:sp>
        </p:grpSp>
      </p:grpSp>
    </p:spTree>
    <p:extLst>
      <p:ext uri="{BB962C8B-B14F-4D97-AF65-F5344CB8AC3E}">
        <p14:creationId xmlns:p14="http://schemas.microsoft.com/office/powerpoint/2010/main" val="82569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3" grpId="0"/>
      <p:bldP spid="24" grpId="0"/>
      <p:bldP spid="29" grpId="0"/>
      <p:bldP spid="35"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REVIOUSTEXTLENGTH" val="30"/>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Personalizada 1">
      <a:majorFont>
        <a:latin typeface="Omnes Semi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A8DA453C9A5D489614B93AA321A0F4" ma:contentTypeVersion="6" ma:contentTypeDescription="Create a new document." ma:contentTypeScope="" ma:versionID="e56ffb6291443e8ea60bde660bf91c1c">
  <xsd:schema xmlns:xsd="http://www.w3.org/2001/XMLSchema" xmlns:xs="http://www.w3.org/2001/XMLSchema" xmlns:p="http://schemas.microsoft.com/office/2006/metadata/properties" xmlns:ns2="c95ef820-b379-4b21-a5e3-4a2bb557dda4" xmlns:ns3="d2105484-6470-4cf9-b95b-4ecccc9b6944" targetNamespace="http://schemas.microsoft.com/office/2006/metadata/properties" ma:root="true" ma:fieldsID="c92b2b2c5537e28c11089f29ed095e93" ns2:_="" ns3:_="">
    <xsd:import namespace="c95ef820-b379-4b21-a5e3-4a2bb557dda4"/>
    <xsd:import namespace="d2105484-6470-4cf9-b95b-4ecccc9b69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5ef820-b379-4b21-a5e3-4a2bb557dd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105484-6470-4cf9-b95b-4ecccc9b694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2105484-6470-4cf9-b95b-4ecccc9b6944">
      <UserInfo>
        <DisplayName>Geraldine Totesaut</DisplayName>
        <AccountId>33</AccountId>
        <AccountType/>
      </UserInfo>
      <UserInfo>
        <DisplayName>Silvia Castilla Abruña</DisplayName>
        <AccountId>39</AccountId>
        <AccountType/>
      </UserInfo>
      <UserInfo>
        <DisplayName>Miguel Jose Lopez Estrada</DisplayName>
        <AccountId>40</AccountId>
        <AccountType/>
      </UserInfo>
      <UserInfo>
        <DisplayName>RUBEN RIVERA CORTES</DisplayName>
        <AccountId>41</AccountId>
        <AccountType/>
      </UserInfo>
      <UserInfo>
        <DisplayName>Marta Ramos Rodríguez</DisplayName>
        <AccountId>42</AccountId>
        <AccountType/>
      </UserInfo>
      <UserInfo>
        <DisplayName>Julio Cesar Villagran Juarez</DisplayName>
        <AccountId>43</AccountId>
        <AccountType/>
      </UserInfo>
      <UserInfo>
        <DisplayName>Alexandre Martins Gomes</DisplayName>
        <AccountId>17</AccountId>
        <AccountType/>
      </UserInfo>
      <UserInfo>
        <DisplayName>Keka Yoshida</DisplayName>
        <AccountId>44</AccountId>
        <AccountType/>
      </UserInfo>
      <UserInfo>
        <DisplayName>Elisson Moura Souza</DisplayName>
        <AccountId>45</AccountId>
        <AccountType/>
      </UserInfo>
      <UserInfo>
        <DisplayName>Pedro Arias Feria</DisplayName>
        <AccountId>47</AccountId>
        <AccountType/>
      </UserInfo>
      <UserInfo>
        <DisplayName>Luis Morales Muñoz</DisplayName>
        <AccountId>48</AccountId>
        <AccountType/>
      </UserInfo>
      <UserInfo>
        <DisplayName>Alexandra Vicuña Leon</DisplayName>
        <AccountId>49</AccountId>
        <AccountType/>
      </UserInfo>
      <UserInfo>
        <DisplayName>Monica Villarroel Escribano</DisplayName>
        <AccountId>50</AccountId>
        <AccountType/>
      </UserInfo>
      <UserInfo>
        <DisplayName>Diego Fernando Baron Vasquez</DisplayName>
        <AccountId>51</AccountId>
        <AccountType/>
      </UserInfo>
      <UserInfo>
        <DisplayName>Eduardo Albo Genofre</DisplayName>
        <AccountId>52</AccountId>
        <AccountType/>
      </UserInfo>
      <UserInfo>
        <DisplayName>Vitor Cardoso Tenorio Da Silva</DisplayName>
        <AccountId>53</AccountId>
        <AccountType/>
      </UserInfo>
      <UserInfo>
        <DisplayName>Ernesto Medina Hernandez</DisplayName>
        <AccountId>54</AccountId>
        <AccountType/>
      </UserInfo>
      <UserInfo>
        <DisplayName>Dimitrius Rogerio de Oliveira</DisplayName>
        <AccountId>13</AccountId>
        <AccountType/>
      </UserInfo>
      <UserInfo>
        <DisplayName>Mónica Rey Amado</DisplayName>
        <AccountId>55</AccountId>
        <AccountType/>
      </UserInfo>
      <UserInfo>
        <DisplayName>Fili Ledezma Soto</DisplayName>
        <AccountId>58</AccountId>
        <AccountType/>
      </UserInfo>
      <UserInfo>
        <DisplayName>Gerardo Denin Gonzalez Dos Santos</DisplayName>
        <AccountId>59</AccountId>
        <AccountType/>
      </UserInfo>
      <UserInfo>
        <DisplayName>Milagros Maria Ancieta Gamero</DisplayName>
        <AccountId>60</AccountId>
        <AccountType/>
      </UserInfo>
      <UserInfo>
        <DisplayName>Igor da Silva Vieira</DisplayName>
        <AccountId>34</AccountId>
        <AccountType/>
      </UserInfo>
      <UserInfo>
        <DisplayName>Daniela Luiza de Assis Couto</DisplayName>
        <AccountId>64</AccountId>
        <AccountType/>
      </UserInfo>
      <UserInfo>
        <DisplayName>Josh  Ashby</DisplayName>
        <AccountId>65</AccountId>
        <AccountType/>
      </UserInfo>
    </SharedWithUsers>
  </documentManagement>
</p:properties>
</file>

<file path=customXml/itemProps1.xml><?xml version="1.0" encoding="utf-8"?>
<ds:datastoreItem xmlns:ds="http://schemas.openxmlformats.org/officeDocument/2006/customXml" ds:itemID="{E9D614F0-EBE6-4BB7-9B8E-11945E6C9006}">
  <ds:schemaRefs>
    <ds:schemaRef ds:uri="c95ef820-b379-4b21-a5e3-4a2bb557dda4"/>
    <ds:schemaRef ds:uri="d2105484-6470-4cf9-b95b-4ecccc9b69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957A64D-5A3F-4830-9BF1-C24A170CF1FD}">
  <ds:schemaRefs>
    <ds:schemaRef ds:uri="http://schemas.microsoft.com/sharepoint/v3/contenttype/forms"/>
  </ds:schemaRefs>
</ds:datastoreItem>
</file>

<file path=customXml/itemProps3.xml><?xml version="1.0" encoding="utf-8"?>
<ds:datastoreItem xmlns:ds="http://schemas.openxmlformats.org/officeDocument/2006/customXml" ds:itemID="{CC0AE649-B682-43C3-B334-CDF61D7E55A6}">
  <ds:schemaRefs>
    <ds:schemaRef ds:uri="c95ef820-b379-4b21-a5e3-4a2bb557dda4"/>
    <ds:schemaRef ds:uri="d2105484-6470-4cf9-b95b-4ecccc9b69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1096</TotalTime>
  <Words>8074</Words>
  <Application>Microsoft Office PowerPoint</Application>
  <PresentationFormat>Widescreen</PresentationFormat>
  <Paragraphs>617</Paragraphs>
  <Slides>18</Slides>
  <Notes>15</Notes>
  <HiddenSlides>0</HiddenSlides>
  <MMClips>0</MMClips>
  <ScaleCrop>false</ScaleCrop>
  <HeadingPairs>
    <vt:vector size="10" baseType="variant">
      <vt:variant>
        <vt:lpstr>Fontes usadas</vt:lpstr>
      </vt:variant>
      <vt:variant>
        <vt:i4>6</vt:i4>
      </vt:variant>
      <vt:variant>
        <vt:lpstr>Tema</vt:lpstr>
      </vt:variant>
      <vt:variant>
        <vt:i4>2</vt:i4>
      </vt:variant>
      <vt:variant>
        <vt:lpstr>Servidores OLE inseridos</vt:lpstr>
      </vt:variant>
      <vt:variant>
        <vt:i4>1</vt:i4>
      </vt:variant>
      <vt:variant>
        <vt:lpstr>Títulos de slides</vt:lpstr>
      </vt:variant>
      <vt:variant>
        <vt:i4>18</vt:i4>
      </vt:variant>
      <vt:variant>
        <vt:lpstr>Apresentações personalizadas</vt:lpstr>
      </vt:variant>
      <vt:variant>
        <vt:i4>8</vt:i4>
      </vt:variant>
    </vt:vector>
  </HeadingPairs>
  <TitlesOfParts>
    <vt:vector size="35" baseType="lpstr">
      <vt:lpstr>Arial</vt:lpstr>
      <vt:lpstr>Calibri</vt:lpstr>
      <vt:lpstr>Omnes</vt:lpstr>
      <vt:lpstr>Omnes SemiBold</vt:lpstr>
      <vt:lpstr>Times New Roman</vt:lpstr>
      <vt:lpstr>Wingdings</vt:lpstr>
      <vt:lpstr>Tema de Office</vt:lpstr>
      <vt:lpstr>Tema do Office</vt:lpstr>
      <vt:lpstr>think-cell Slide</vt:lpstr>
      <vt:lpstr>Apresentação do PowerPoint</vt:lpstr>
      <vt:lpstr>Atento em resumo</vt:lpstr>
      <vt:lpstr>Missão e Valores</vt:lpstr>
      <vt:lpstr>com várias certificações </vt:lpstr>
      <vt:lpstr>Globalmente, temos ampla experiência em importantes indústrias </vt:lpstr>
      <vt:lpstr>... e lideramos em práticas de ESG </vt:lpstr>
      <vt:lpstr>Minha Jornada</vt:lpstr>
      <vt:lpstr>Eu e Ele</vt:lpstr>
      <vt:lpstr>Apresentação do PowerPoint</vt:lpstr>
      <vt:lpstr>Apresentação do PowerPoint</vt:lpstr>
      <vt:lpstr>Situação Atual</vt:lpstr>
      <vt:lpstr>Desafio</vt:lpstr>
      <vt:lpstr>Migração de sistema com automação</vt:lpstr>
      <vt:lpstr>Migração de sistema com automação</vt:lpstr>
      <vt:lpstr>Funcionalidades utilizadas</vt:lpstr>
      <vt:lpstr>Conquistas</vt:lpstr>
      <vt:lpstr>Para encerrar</vt:lpstr>
      <vt:lpstr>Apresentação do PowerPoint</vt:lpstr>
      <vt:lpstr>Back-office</vt:lpstr>
      <vt:lpstr>Integrated Multichannel</vt:lpstr>
      <vt:lpstr>Inside Sales</vt:lpstr>
      <vt:lpstr>Capabilities</vt:lpstr>
      <vt:lpstr>Colombia</vt:lpstr>
      <vt:lpstr>Guatemala</vt:lpstr>
      <vt:lpstr>Mexico</vt:lpstr>
      <vt:lpstr>Ending sou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ugenia del Peso</dc:creator>
  <cp:lastModifiedBy>Maisa da Cruz Lima</cp:lastModifiedBy>
  <cp:revision>374</cp:revision>
  <cp:lastPrinted>2024-02-09T10:55:56Z</cp:lastPrinted>
  <dcterms:created xsi:type="dcterms:W3CDTF">2020-07-08T10:24:27Z</dcterms:created>
  <dcterms:modified xsi:type="dcterms:W3CDTF">2024-08-07T21:2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A8DA453C9A5D489614B93AA321A0F4</vt:lpwstr>
  </property>
</Properties>
</file>